
<file path=[Content_Types].xml><?xml version="1.0" encoding="utf-8"?>
<Types xmlns="http://schemas.openxmlformats.org/package/2006/content-types">
  <Default Extension="bin" ContentType="application/vnd.openxmlformats-officedocument.oleObject"/>
  <Default Extension="jfif" ContentType="image/jpeg"/>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6.xml" ContentType="application/vnd.openxmlformats-officedocument.theme+xml"/>
  <Override PartName="/ppt/slideLayouts/slideLayout24.xml" ContentType="application/vnd.openxmlformats-officedocument.presentationml.slideLayout+xml"/>
  <Override PartName="/ppt/theme/theme7.xml" ContentType="application/vnd.openxmlformats-officedocument.theme+xml"/>
  <Override PartName="/ppt/slideLayouts/slideLayout25.xml" ContentType="application/vnd.openxmlformats-officedocument.presentationml.slideLayout+xml"/>
  <Override PartName="/ppt/theme/theme8.xml" ContentType="application/vnd.openxmlformats-officedocument.theme+xml"/>
  <Override PartName="/ppt/slideLayouts/slideLayout26.xml" ContentType="application/vnd.openxmlformats-officedocument.presentationml.slideLayout+xml"/>
  <Override PartName="/ppt/theme/theme9.xml" ContentType="application/vnd.openxmlformats-officedocument.theme+xml"/>
  <Override PartName="/ppt/slideLayouts/slideLayout27.xml" ContentType="application/vnd.openxmlformats-officedocument.presentationml.slideLayout+xml"/>
  <Override PartName="/ppt/theme/theme10.xml" ContentType="application/vnd.openxmlformats-officedocument.theme+xml"/>
  <Override PartName="/ppt/slideLayouts/slideLayout28.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12.xml" ContentType="application/vnd.openxmlformats-officedocument.theme+xml"/>
  <Override PartName="/ppt/slideLayouts/slideLayout31.xml" ContentType="application/vnd.openxmlformats-officedocument.presentationml.slideLayout+xml"/>
  <Override PartName="/ppt/theme/theme13.xml" ContentType="application/vnd.openxmlformats-officedocument.theme+xml"/>
  <Override PartName="/ppt/slideLayouts/slideLayout32.xml" ContentType="application/vnd.openxmlformats-officedocument.presentationml.slideLayout+xml"/>
  <Override PartName="/ppt/theme/theme1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5.xml" ContentType="application/vnd.openxmlformats-officedocument.theme+xml"/>
  <Override PartName="/ppt/slideLayouts/slideLayout37.xml" ContentType="application/vnd.openxmlformats-officedocument.presentationml.slideLayout+xml"/>
  <Override PartName="/ppt/theme/theme16.xml" ContentType="application/vnd.openxmlformats-officedocument.theme+xml"/>
  <Override PartName="/ppt/slideLayouts/slideLayout38.xml" ContentType="application/vnd.openxmlformats-officedocument.presentationml.slideLayout+xml"/>
  <Override PartName="/ppt/theme/theme17.xml" ContentType="application/vnd.openxmlformats-officedocument.theme+xml"/>
  <Override PartName="/ppt/slideLayouts/slideLayout39.xml" ContentType="application/vnd.openxmlformats-officedocument.presentationml.slideLayout+xml"/>
  <Override PartName="/ppt/theme/theme18.xml" ContentType="application/vnd.openxmlformats-officedocument.theme+xml"/>
  <Override PartName="/ppt/slideLayouts/slideLayout40.xml" ContentType="application/vnd.openxmlformats-officedocument.presentationml.slideLayout+xml"/>
  <Override PartName="/ppt/theme/theme19.xml" ContentType="application/vnd.openxmlformats-officedocument.theme+xml"/>
  <Override PartName="/ppt/slideLayouts/slideLayout41.xml" ContentType="application/vnd.openxmlformats-officedocument.presentationml.slideLayout+xml"/>
  <Override PartName="/ppt/theme/theme20.xml" ContentType="application/vnd.openxmlformats-officedocument.theme+xml"/>
  <Override PartName="/ppt/slideLayouts/slideLayout42.xml" ContentType="application/vnd.openxmlformats-officedocument.presentationml.slideLayout+xml"/>
  <Override PartName="/ppt/theme/theme21.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2.xml" ContentType="application/vnd.openxmlformats-officedocument.theme+xml"/>
  <Override PartName="/ppt/slideLayouts/slideLayout47.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media/image24.jpg" ContentType="image/jpeg"/>
  <Override PartName="/ppt/notesSlides/notesSlide2.xml" ContentType="application/vnd.openxmlformats-officedocument.presentationml.notesSlide+xml"/>
  <Override PartName="/ppt/media/image34.jpg" ContentType="image/jpeg"/>
  <Override PartName="/ppt/media/image43.jpg" ContentType="image/jpeg"/>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48.jpg" ContentType="image/jpeg"/>
  <Override PartName="/ppt/tags/tag2.xml" ContentType="application/vnd.openxmlformats-officedocument.presentationml.tags+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media/image66.jpg" ContentType="image/jpeg"/>
  <Override PartName="/ppt/media/image67.jpg" ContentType="image/jpeg"/>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media/image107.jpg" ContentType="image/jpeg"/>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2" showSpecialPlsOnTitleSld="0" strictFirstAndLastChars="0" saveSubsetFonts="1">
  <p:sldMasterIdLst>
    <p:sldMasterId id="2147497796" r:id="rId1"/>
    <p:sldMasterId id="2147483724" r:id="rId2"/>
    <p:sldMasterId id="2147497813" r:id="rId3"/>
    <p:sldMasterId id="2147497892" r:id="rId4"/>
    <p:sldMasterId id="2147497898" r:id="rId5"/>
    <p:sldMasterId id="2147497806" r:id="rId6"/>
    <p:sldMasterId id="2147483978" r:id="rId7"/>
    <p:sldMasterId id="2147483873" r:id="rId8"/>
    <p:sldMasterId id="2147484521" r:id="rId9"/>
    <p:sldMasterId id="2147497328" r:id="rId10"/>
    <p:sldMasterId id="2147483712" r:id="rId11"/>
    <p:sldMasterId id="2147497909" r:id="rId12"/>
    <p:sldMasterId id="2147497906" r:id="rId13"/>
    <p:sldMasterId id="2147497904" r:id="rId14"/>
    <p:sldMasterId id="2147483648" r:id="rId15"/>
    <p:sldMasterId id="2147497886" r:id="rId16"/>
    <p:sldMasterId id="2147484238" r:id="rId17"/>
    <p:sldMasterId id="2147484300" r:id="rId18"/>
    <p:sldMasterId id="2147497829" r:id="rId19"/>
    <p:sldMasterId id="2147498064" r:id="rId20"/>
    <p:sldMasterId id="2147498055" r:id="rId21"/>
    <p:sldMasterId id="2147498057" r:id="rId22"/>
    <p:sldMasterId id="2147484232" r:id="rId23"/>
  </p:sldMasterIdLst>
  <p:notesMasterIdLst>
    <p:notesMasterId r:id="rId94"/>
  </p:notesMasterIdLst>
  <p:handoutMasterIdLst>
    <p:handoutMasterId r:id="rId95"/>
  </p:handoutMasterIdLst>
  <p:sldIdLst>
    <p:sldId id="3617" r:id="rId24"/>
    <p:sldId id="3618" r:id="rId25"/>
    <p:sldId id="3809" r:id="rId26"/>
    <p:sldId id="3810" r:id="rId27"/>
    <p:sldId id="3812" r:id="rId28"/>
    <p:sldId id="3813" r:id="rId29"/>
    <p:sldId id="3796" r:id="rId30"/>
    <p:sldId id="3806" r:id="rId31"/>
    <p:sldId id="3801" r:id="rId32"/>
    <p:sldId id="3803" r:id="rId33"/>
    <p:sldId id="3815" r:id="rId34"/>
    <p:sldId id="3816" r:id="rId35"/>
    <p:sldId id="3804" r:id="rId36"/>
    <p:sldId id="3814" r:id="rId37"/>
    <p:sldId id="3807" r:id="rId38"/>
    <p:sldId id="3761" r:id="rId39"/>
    <p:sldId id="3762" r:id="rId40"/>
    <p:sldId id="3798" r:id="rId41"/>
    <p:sldId id="3817" r:id="rId42"/>
    <p:sldId id="3822" r:id="rId43"/>
    <p:sldId id="3818" r:id="rId44"/>
    <p:sldId id="3820" r:id="rId45"/>
    <p:sldId id="3821" r:id="rId46"/>
    <p:sldId id="3808" r:id="rId47"/>
    <p:sldId id="3765" r:id="rId48"/>
    <p:sldId id="3799" r:id="rId49"/>
    <p:sldId id="3823" r:id="rId50"/>
    <p:sldId id="3800" r:id="rId51"/>
    <p:sldId id="3825" r:id="rId52"/>
    <p:sldId id="3826" r:id="rId53"/>
    <p:sldId id="3829" r:id="rId54"/>
    <p:sldId id="3827" r:id="rId55"/>
    <p:sldId id="3828" r:id="rId56"/>
    <p:sldId id="3830" r:id="rId57"/>
    <p:sldId id="3831" r:id="rId58"/>
    <p:sldId id="3832" r:id="rId59"/>
    <p:sldId id="3833" r:id="rId60"/>
    <p:sldId id="3834" r:id="rId61"/>
    <p:sldId id="3835" r:id="rId62"/>
    <p:sldId id="3836" r:id="rId63"/>
    <p:sldId id="3824" r:id="rId64"/>
    <p:sldId id="3837" r:id="rId65"/>
    <p:sldId id="3774" r:id="rId66"/>
    <p:sldId id="3768" r:id="rId67"/>
    <p:sldId id="3780" r:id="rId68"/>
    <p:sldId id="3689" r:id="rId69"/>
    <p:sldId id="3779" r:id="rId70"/>
    <p:sldId id="3782" r:id="rId71"/>
    <p:sldId id="3702" r:id="rId72"/>
    <p:sldId id="3741" r:id="rId73"/>
    <p:sldId id="3771" r:id="rId74"/>
    <p:sldId id="3775" r:id="rId75"/>
    <p:sldId id="3840" r:id="rId76"/>
    <p:sldId id="3839" r:id="rId77"/>
    <p:sldId id="3841" r:id="rId78"/>
    <p:sldId id="3842" r:id="rId79"/>
    <p:sldId id="3843" r:id="rId80"/>
    <p:sldId id="3844" r:id="rId81"/>
    <p:sldId id="3846" r:id="rId82"/>
    <p:sldId id="3847" r:id="rId83"/>
    <p:sldId id="3848" r:id="rId84"/>
    <p:sldId id="3849" r:id="rId85"/>
    <p:sldId id="3850" r:id="rId86"/>
    <p:sldId id="3852" r:id="rId87"/>
    <p:sldId id="3838" r:id="rId88"/>
    <p:sldId id="3683" r:id="rId89"/>
    <p:sldId id="3811" r:id="rId90"/>
    <p:sldId id="3708" r:id="rId91"/>
    <p:sldId id="3709" r:id="rId92"/>
    <p:sldId id="3710" r:id="rId93"/>
  </p:sldIdLst>
  <p:sldSz cx="9144000" cy="6858000" type="screen4x3"/>
  <p:notesSz cx="7102475" cy="9388475"/>
  <p:defaultTextStyle>
    <a:defPPr>
      <a:defRPr lang="en-US"/>
    </a:defPPr>
    <a:lvl1pPr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3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3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3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3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3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3360">
          <p15:clr>
            <a:srgbClr val="A4A3A4"/>
          </p15:clr>
        </p15:guide>
        <p15:guide id="2" pos="2880">
          <p15:clr>
            <a:srgbClr val="A4A3A4"/>
          </p15:clr>
        </p15:guide>
      </p15:sldGuideLst>
    </p:ext>
    <p:ext uri="{2D200454-40CA-4A62-9FC3-DE9A4176ACB9}">
      <p15:notesGuideLst xmlns:p15="http://schemas.microsoft.com/office/powerpoint/2012/main">
        <p15:guide id="1" orient="horz" pos="2957">
          <p15:clr>
            <a:srgbClr val="A4A3A4"/>
          </p15:clr>
        </p15:guide>
        <p15:guide id="2" pos="223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E47F00"/>
    <a:srgbClr val="CB6B0E"/>
    <a:srgbClr val="666633"/>
    <a:srgbClr val="0099CC"/>
    <a:srgbClr val="00AF8A"/>
    <a:srgbClr val="3798B9"/>
    <a:srgbClr val="679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B50856E-B55B-40FE-B1F3-9C82FC6E2468}" v="39" dt="2023-07-18T14:29:13.0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8039" autoAdjust="0"/>
    <p:restoredTop sz="94705" autoAdjust="0"/>
  </p:normalViewPr>
  <p:slideViewPr>
    <p:cSldViewPr showGuides="1">
      <p:cViewPr varScale="1">
        <p:scale>
          <a:sx n="106" d="100"/>
          <a:sy n="106" d="100"/>
        </p:scale>
        <p:origin x="642" y="114"/>
      </p:cViewPr>
      <p:guideLst>
        <p:guide orient="horz" pos="33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138"/>
    </p:cViewPr>
  </p:sorterViewPr>
  <p:notesViewPr>
    <p:cSldViewPr showGuides="1">
      <p:cViewPr varScale="1">
        <p:scale>
          <a:sx n="42" d="100"/>
          <a:sy n="42" d="100"/>
        </p:scale>
        <p:origin x="-2078" y="-106"/>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21.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slide" Target="slides/slide45.xml"/><Relationship Id="rId84" Type="http://schemas.openxmlformats.org/officeDocument/2006/relationships/slide" Target="slides/slide61.xml"/><Relationship Id="rId89" Type="http://schemas.openxmlformats.org/officeDocument/2006/relationships/slide" Target="slides/slide66.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9.xml"/><Relationship Id="rId37" Type="http://schemas.openxmlformats.org/officeDocument/2006/relationships/slide" Target="slides/slide14.xml"/><Relationship Id="rId53" Type="http://schemas.openxmlformats.org/officeDocument/2006/relationships/slide" Target="slides/slide30.xml"/><Relationship Id="rId58" Type="http://schemas.openxmlformats.org/officeDocument/2006/relationships/slide" Target="slides/slide35.xml"/><Relationship Id="rId74" Type="http://schemas.openxmlformats.org/officeDocument/2006/relationships/slide" Target="slides/slide51.xml"/><Relationship Id="rId79" Type="http://schemas.openxmlformats.org/officeDocument/2006/relationships/slide" Target="slides/slide56.xml"/><Relationship Id="rId102" Type="http://schemas.openxmlformats.org/officeDocument/2006/relationships/customXml" Target="../customXml/item1.xml"/><Relationship Id="rId5" Type="http://schemas.openxmlformats.org/officeDocument/2006/relationships/slideMaster" Target="slideMasters/slideMaster5.xml"/><Relationship Id="rId90" Type="http://schemas.openxmlformats.org/officeDocument/2006/relationships/slide" Target="slides/slide67.xml"/><Relationship Id="rId95" Type="http://schemas.openxmlformats.org/officeDocument/2006/relationships/handoutMaster" Target="handoutMasters/handoutMaster1.xml"/><Relationship Id="rId22" Type="http://schemas.openxmlformats.org/officeDocument/2006/relationships/slideMaster" Target="slideMasters/slideMaster22.xml"/><Relationship Id="rId27" Type="http://schemas.openxmlformats.org/officeDocument/2006/relationships/slide" Target="slides/slide4.xml"/><Relationship Id="rId43" Type="http://schemas.openxmlformats.org/officeDocument/2006/relationships/slide" Target="slides/slide20.xml"/><Relationship Id="rId48" Type="http://schemas.openxmlformats.org/officeDocument/2006/relationships/slide" Target="slides/slide25.xml"/><Relationship Id="rId64" Type="http://schemas.openxmlformats.org/officeDocument/2006/relationships/slide" Target="slides/slide41.xml"/><Relationship Id="rId69" Type="http://schemas.openxmlformats.org/officeDocument/2006/relationships/slide" Target="slides/slide46.xml"/><Relationship Id="rId80" Type="http://schemas.openxmlformats.org/officeDocument/2006/relationships/slide" Target="slides/slide57.xml"/><Relationship Id="rId85" Type="http://schemas.openxmlformats.org/officeDocument/2006/relationships/slide" Target="slides/slide62.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103" Type="http://schemas.openxmlformats.org/officeDocument/2006/relationships/customXml" Target="../customXml/item2.xml"/><Relationship Id="rId20" Type="http://schemas.openxmlformats.org/officeDocument/2006/relationships/slideMaster" Target="slideMasters/slideMaster20.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slide" Target="slides/slide60.xml"/><Relationship Id="rId88" Type="http://schemas.openxmlformats.org/officeDocument/2006/relationships/slide" Target="slides/slide65.xml"/><Relationship Id="rId91" Type="http://schemas.openxmlformats.org/officeDocument/2006/relationships/slide" Target="slides/slide68.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10.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slide" Target="slides/slide58.xml"/><Relationship Id="rId86" Type="http://schemas.openxmlformats.org/officeDocument/2006/relationships/slide" Target="slides/slide63.xml"/><Relationship Id="rId94" Type="http://schemas.openxmlformats.org/officeDocument/2006/relationships/notesMaster" Target="notesMasters/notesMaster1.xml"/><Relationship Id="rId99" Type="http://schemas.openxmlformats.org/officeDocument/2006/relationships/tableStyles" Target="tableStyles.xml"/><Relationship Id="rId10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97" Type="http://schemas.openxmlformats.org/officeDocument/2006/relationships/viewProps" Target="viewProps.xml"/><Relationship Id="rId104" Type="http://schemas.openxmlformats.org/officeDocument/2006/relationships/customXml" Target="../customXml/item3.xml"/><Relationship Id="rId7" Type="http://schemas.openxmlformats.org/officeDocument/2006/relationships/slideMaster" Target="slideMasters/slideMaster7.xml"/><Relationship Id="rId71" Type="http://schemas.openxmlformats.org/officeDocument/2006/relationships/slide" Target="slides/slide48.xml"/><Relationship Id="rId92"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6.xml"/><Relationship Id="rId24" Type="http://schemas.openxmlformats.org/officeDocument/2006/relationships/slide" Target="slides/slide1.xml"/><Relationship Id="rId40" Type="http://schemas.openxmlformats.org/officeDocument/2006/relationships/slide" Target="slides/slide17.xml"/><Relationship Id="rId45" Type="http://schemas.openxmlformats.org/officeDocument/2006/relationships/slide" Target="slides/slide22.xml"/><Relationship Id="rId66" Type="http://schemas.openxmlformats.org/officeDocument/2006/relationships/slide" Target="slides/slide43.xml"/><Relationship Id="rId87" Type="http://schemas.openxmlformats.org/officeDocument/2006/relationships/slide" Target="slides/slide64.xml"/><Relationship Id="rId61" Type="http://schemas.openxmlformats.org/officeDocument/2006/relationships/slide" Target="slides/slide38.xml"/><Relationship Id="rId82" Type="http://schemas.openxmlformats.org/officeDocument/2006/relationships/slide" Target="slides/slide59.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7.xml"/><Relationship Id="rId35" Type="http://schemas.openxmlformats.org/officeDocument/2006/relationships/slide" Target="slides/slide12.xml"/><Relationship Id="rId56" Type="http://schemas.openxmlformats.org/officeDocument/2006/relationships/slide" Target="slides/slide33.xml"/><Relationship Id="rId77" Type="http://schemas.openxmlformats.org/officeDocument/2006/relationships/slide" Target="slides/slide54.xml"/><Relationship Id="rId100" Type="http://schemas.microsoft.com/office/2016/11/relationships/changesInfo" Target="changesInfos/changesInfo1.xml"/><Relationship Id="rId8" Type="http://schemas.openxmlformats.org/officeDocument/2006/relationships/slideMaster" Target="slideMasters/slideMaster8.xml"/><Relationship Id="rId51" Type="http://schemas.openxmlformats.org/officeDocument/2006/relationships/slide" Target="slides/slide28.xml"/><Relationship Id="rId72" Type="http://schemas.openxmlformats.org/officeDocument/2006/relationships/slide" Target="slides/slide49.xml"/><Relationship Id="rId93" Type="http://schemas.openxmlformats.org/officeDocument/2006/relationships/slide" Target="slides/slide70.xml"/><Relationship Id="rId98" Type="http://schemas.openxmlformats.org/officeDocument/2006/relationships/theme" Target="theme/theme1.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Sink" userId="007532c1-63dd-4f29-9932-df3a9735f490" providerId="ADAL" clId="{D3CDFFE0-8750-445D-ADE6-9097BB7C3009}"/>
    <pc:docChg chg="undo custSel addSld delSld modSld addMainMaster delMainMaster modMainMaster">
      <pc:chgData name="Scott Sink" userId="007532c1-63dd-4f29-9932-df3a9735f490" providerId="ADAL" clId="{D3CDFFE0-8750-445D-ADE6-9097BB7C3009}" dt="2023-04-08T07:51:54.501" v="2130" actId="20577"/>
      <pc:docMkLst>
        <pc:docMk/>
      </pc:docMkLst>
      <pc:sldChg chg="addSp modSp mod">
        <pc:chgData name="Scott Sink" userId="007532c1-63dd-4f29-9932-df3a9735f490" providerId="ADAL" clId="{D3CDFFE0-8750-445D-ADE6-9097BB7C3009}" dt="2023-04-06T10:51:18.057" v="11" actId="1076"/>
        <pc:sldMkLst>
          <pc:docMk/>
          <pc:sldMk cId="156920407" sldId="3584"/>
        </pc:sldMkLst>
        <pc:picChg chg="add mod">
          <ac:chgData name="Scott Sink" userId="007532c1-63dd-4f29-9932-df3a9735f490" providerId="ADAL" clId="{D3CDFFE0-8750-445D-ADE6-9097BB7C3009}" dt="2023-04-06T10:51:18.057" v="11" actId="1076"/>
          <ac:picMkLst>
            <pc:docMk/>
            <pc:sldMk cId="156920407" sldId="3584"/>
            <ac:picMk id="2" creationId="{B68827CB-FDFB-3FC0-BD6B-B05B6CF2B918}"/>
          </ac:picMkLst>
        </pc:picChg>
      </pc:sldChg>
      <pc:sldChg chg="modSp mod">
        <pc:chgData name="Scott Sink" userId="007532c1-63dd-4f29-9932-df3a9735f490" providerId="ADAL" clId="{D3CDFFE0-8750-445D-ADE6-9097BB7C3009}" dt="2023-04-06T13:53:50.395" v="1324" actId="20577"/>
        <pc:sldMkLst>
          <pc:docMk/>
          <pc:sldMk cId="415907632" sldId="3588"/>
        </pc:sldMkLst>
        <pc:spChg chg="mod">
          <ac:chgData name="Scott Sink" userId="007532c1-63dd-4f29-9932-df3a9735f490" providerId="ADAL" clId="{D3CDFFE0-8750-445D-ADE6-9097BB7C3009}" dt="2023-04-06T13:53:50.395" v="1324" actId="20577"/>
          <ac:spMkLst>
            <pc:docMk/>
            <pc:sldMk cId="415907632" sldId="3588"/>
            <ac:spMk id="2" creationId="{FE060643-C840-4F40-AA2B-5B60D5DF4B2C}"/>
          </ac:spMkLst>
        </pc:spChg>
      </pc:sldChg>
      <pc:sldChg chg="modSp mod">
        <pc:chgData name="Scott Sink" userId="007532c1-63dd-4f29-9932-df3a9735f490" providerId="ADAL" clId="{D3CDFFE0-8750-445D-ADE6-9097BB7C3009}" dt="2023-04-06T14:01:30.268" v="1384" actId="14100"/>
        <pc:sldMkLst>
          <pc:docMk/>
          <pc:sldMk cId="702407938" sldId="3597"/>
        </pc:sldMkLst>
        <pc:spChg chg="mod">
          <ac:chgData name="Scott Sink" userId="007532c1-63dd-4f29-9932-df3a9735f490" providerId="ADAL" clId="{D3CDFFE0-8750-445D-ADE6-9097BB7C3009}" dt="2023-04-06T14:01:30.268" v="1384" actId="14100"/>
          <ac:spMkLst>
            <pc:docMk/>
            <pc:sldMk cId="702407938" sldId="3597"/>
            <ac:spMk id="3" creationId="{B1750CC9-A9A2-3BAB-6668-6FFAB2C7B749}"/>
          </ac:spMkLst>
        </pc:spChg>
      </pc:sldChg>
      <pc:sldChg chg="modSp new mod">
        <pc:chgData name="Scott Sink" userId="007532c1-63dd-4f29-9932-df3a9735f490" providerId="ADAL" clId="{D3CDFFE0-8750-445D-ADE6-9097BB7C3009}" dt="2023-04-06T11:20:12.450" v="1250" actId="20577"/>
        <pc:sldMkLst>
          <pc:docMk/>
          <pc:sldMk cId="3033714040" sldId="3602"/>
        </pc:sldMkLst>
        <pc:spChg chg="mod">
          <ac:chgData name="Scott Sink" userId="007532c1-63dd-4f29-9932-df3a9735f490" providerId="ADAL" clId="{D3CDFFE0-8750-445D-ADE6-9097BB7C3009}" dt="2023-04-06T10:53:49.597" v="79" actId="20577"/>
          <ac:spMkLst>
            <pc:docMk/>
            <pc:sldMk cId="3033714040" sldId="3602"/>
            <ac:spMk id="2" creationId="{D39E4B8F-6C42-22DF-8685-D1C267892423}"/>
          </ac:spMkLst>
        </pc:spChg>
        <pc:spChg chg="mod">
          <ac:chgData name="Scott Sink" userId="007532c1-63dd-4f29-9932-df3a9735f490" providerId="ADAL" clId="{D3CDFFE0-8750-445D-ADE6-9097BB7C3009}" dt="2023-04-06T11:20:12.450" v="1250" actId="20577"/>
          <ac:spMkLst>
            <pc:docMk/>
            <pc:sldMk cId="3033714040" sldId="3602"/>
            <ac:spMk id="3" creationId="{7E09DAE2-0543-0468-DF41-5870AF92F5F8}"/>
          </ac:spMkLst>
        </pc:spChg>
      </pc:sldChg>
      <pc:sldChg chg="addSp modSp new mod">
        <pc:chgData name="Scott Sink" userId="007532c1-63dd-4f29-9932-df3a9735f490" providerId="ADAL" clId="{D3CDFFE0-8750-445D-ADE6-9097BB7C3009}" dt="2023-04-06T11:04:50.324" v="326" actId="122"/>
        <pc:sldMkLst>
          <pc:docMk/>
          <pc:sldMk cId="985217198" sldId="3603"/>
        </pc:sldMkLst>
        <pc:spChg chg="mod">
          <ac:chgData name="Scott Sink" userId="007532c1-63dd-4f29-9932-df3a9735f490" providerId="ADAL" clId="{D3CDFFE0-8750-445D-ADE6-9097BB7C3009}" dt="2023-04-06T10:55:04.454" v="169" actId="20577"/>
          <ac:spMkLst>
            <pc:docMk/>
            <pc:sldMk cId="985217198" sldId="3603"/>
            <ac:spMk id="2" creationId="{E211C6D2-E137-A675-E129-1B7CA1893BC6}"/>
          </ac:spMkLst>
        </pc:spChg>
        <pc:spChg chg="mod">
          <ac:chgData name="Scott Sink" userId="007532c1-63dd-4f29-9932-df3a9735f490" providerId="ADAL" clId="{D3CDFFE0-8750-445D-ADE6-9097BB7C3009}" dt="2023-04-06T11:04:50.324" v="326" actId="122"/>
          <ac:spMkLst>
            <pc:docMk/>
            <pc:sldMk cId="985217198" sldId="3603"/>
            <ac:spMk id="3" creationId="{6D76E1CA-0434-A800-0AC3-87790CA7F766}"/>
          </ac:spMkLst>
        </pc:spChg>
        <pc:spChg chg="add mod">
          <ac:chgData name="Scott Sink" userId="007532c1-63dd-4f29-9932-df3a9735f490" providerId="ADAL" clId="{D3CDFFE0-8750-445D-ADE6-9097BB7C3009}" dt="2023-04-06T11:04:46.847" v="325" actId="1076"/>
          <ac:spMkLst>
            <pc:docMk/>
            <pc:sldMk cId="985217198" sldId="3603"/>
            <ac:spMk id="4" creationId="{6DB03709-4D62-0C95-17C9-6EEC74CD24EE}"/>
          </ac:spMkLst>
        </pc:spChg>
      </pc:sldChg>
      <pc:sldChg chg="addSp delSp modSp new mod">
        <pc:chgData name="Scott Sink" userId="007532c1-63dd-4f29-9932-df3a9735f490" providerId="ADAL" clId="{D3CDFFE0-8750-445D-ADE6-9097BB7C3009}" dt="2023-04-06T11:19:58.269" v="1248" actId="207"/>
        <pc:sldMkLst>
          <pc:docMk/>
          <pc:sldMk cId="2956154196" sldId="3604"/>
        </pc:sldMkLst>
        <pc:spChg chg="add del mod">
          <ac:chgData name="Scott Sink" userId="007532c1-63dd-4f29-9932-df3a9735f490" providerId="ADAL" clId="{D3CDFFE0-8750-445D-ADE6-9097BB7C3009}" dt="2023-04-06T11:15:56.262" v="989" actId="20577"/>
          <ac:spMkLst>
            <pc:docMk/>
            <pc:sldMk cId="2956154196" sldId="3604"/>
            <ac:spMk id="2" creationId="{632B48E4-BBAE-520C-32C1-3FDA85F868A1}"/>
          </ac:spMkLst>
        </pc:spChg>
        <pc:spChg chg="add del">
          <ac:chgData name="Scott Sink" userId="007532c1-63dd-4f29-9932-df3a9735f490" providerId="ADAL" clId="{D3CDFFE0-8750-445D-ADE6-9097BB7C3009}" dt="2023-04-06T10:58:04.775" v="256"/>
          <ac:spMkLst>
            <pc:docMk/>
            <pc:sldMk cId="2956154196" sldId="3604"/>
            <ac:spMk id="3" creationId="{17983019-1E59-4F44-5C15-9D9894707AA3}"/>
          </ac:spMkLst>
        </pc:spChg>
        <pc:spChg chg="add del mod">
          <ac:chgData name="Scott Sink" userId="007532c1-63dd-4f29-9932-df3a9735f490" providerId="ADAL" clId="{D3CDFFE0-8750-445D-ADE6-9097BB7C3009}" dt="2023-04-06T11:06:36.103" v="328"/>
          <ac:spMkLst>
            <pc:docMk/>
            <pc:sldMk cId="2956154196" sldId="3604"/>
            <ac:spMk id="7" creationId="{2E082C6F-5DB8-BAA9-794A-64D6DE9357E3}"/>
          </ac:spMkLst>
        </pc:spChg>
        <pc:spChg chg="add del">
          <ac:chgData name="Scott Sink" userId="007532c1-63dd-4f29-9932-df3a9735f490" providerId="ADAL" clId="{D3CDFFE0-8750-445D-ADE6-9097BB7C3009}" dt="2023-04-06T10:57:14.995" v="253" actId="26606"/>
          <ac:spMkLst>
            <pc:docMk/>
            <pc:sldMk cId="2956154196" sldId="3604"/>
            <ac:spMk id="9" creationId="{047187BC-FBEF-339B-6B77-B0629E9EC93B}"/>
          </ac:spMkLst>
        </pc:spChg>
        <pc:spChg chg="add mod">
          <ac:chgData name="Scott Sink" userId="007532c1-63dd-4f29-9932-df3a9735f490" providerId="ADAL" clId="{D3CDFFE0-8750-445D-ADE6-9097BB7C3009}" dt="2023-04-06T11:19:58.269" v="1248" actId="207"/>
          <ac:spMkLst>
            <pc:docMk/>
            <pc:sldMk cId="2956154196" sldId="3604"/>
            <ac:spMk id="11" creationId="{4CE7A314-EA89-FE08-FFF0-E0F74CBDC1E7}"/>
          </ac:spMkLst>
        </pc:spChg>
        <pc:spChg chg="add del mod">
          <ac:chgData name="Scott Sink" userId="007532c1-63dd-4f29-9932-df3a9735f490" providerId="ADAL" clId="{D3CDFFE0-8750-445D-ADE6-9097BB7C3009}" dt="2023-04-06T11:16:00.491" v="991" actId="478"/>
          <ac:spMkLst>
            <pc:docMk/>
            <pc:sldMk cId="2956154196" sldId="3604"/>
            <ac:spMk id="12" creationId="{23544901-584C-A155-0F74-7EC2519B30D6}"/>
          </ac:spMkLst>
        </pc:spChg>
        <pc:picChg chg="add mod">
          <ac:chgData name="Scott Sink" userId="007532c1-63dd-4f29-9932-df3a9735f490" providerId="ADAL" clId="{D3CDFFE0-8750-445D-ADE6-9097BB7C3009}" dt="2023-04-06T10:57:14.995" v="253" actId="26606"/>
          <ac:picMkLst>
            <pc:docMk/>
            <pc:sldMk cId="2956154196" sldId="3604"/>
            <ac:picMk id="4" creationId="{BEB1CC17-BC71-C1CA-C74B-3D3467482DC0}"/>
          </ac:picMkLst>
        </pc:picChg>
        <pc:picChg chg="add del mod">
          <ac:chgData name="Scott Sink" userId="007532c1-63dd-4f29-9932-df3a9735f490" providerId="ADAL" clId="{D3CDFFE0-8750-445D-ADE6-9097BB7C3009}" dt="2023-04-06T11:06:32.700" v="327" actId="478"/>
          <ac:picMkLst>
            <pc:docMk/>
            <pc:sldMk cId="2956154196" sldId="3604"/>
            <ac:picMk id="6" creationId="{F1B1111A-63D3-9328-D99D-5BF23D2D566E}"/>
          </ac:picMkLst>
        </pc:picChg>
        <pc:picChg chg="add del mod">
          <ac:chgData name="Scott Sink" userId="007532c1-63dd-4f29-9932-df3a9735f490" providerId="ADAL" clId="{D3CDFFE0-8750-445D-ADE6-9097BB7C3009}" dt="2023-04-06T11:15:58.147" v="990" actId="478"/>
          <ac:picMkLst>
            <pc:docMk/>
            <pc:sldMk cId="2956154196" sldId="3604"/>
            <ac:picMk id="10" creationId="{2FAD4A09-8766-BB8D-BFDE-DFC92FE24013}"/>
          </ac:picMkLst>
        </pc:picChg>
      </pc:sldChg>
      <pc:sldChg chg="add del">
        <pc:chgData name="Scott Sink" userId="007532c1-63dd-4f29-9932-df3a9735f490" providerId="ADAL" clId="{D3CDFFE0-8750-445D-ADE6-9097BB7C3009}" dt="2023-04-06T11:03:37.933" v="278" actId="47"/>
        <pc:sldMkLst>
          <pc:docMk/>
          <pc:sldMk cId="1749951483" sldId="3605"/>
        </pc:sldMkLst>
      </pc:sldChg>
      <pc:sldChg chg="add">
        <pc:chgData name="Scott Sink" userId="007532c1-63dd-4f29-9932-df3a9735f490" providerId="ADAL" clId="{D3CDFFE0-8750-445D-ADE6-9097BB7C3009}" dt="2023-04-06T11:03:40.834" v="280"/>
        <pc:sldMkLst>
          <pc:docMk/>
          <pc:sldMk cId="3722812206" sldId="3605"/>
        </pc:sldMkLst>
      </pc:sldChg>
      <pc:sldChg chg="modSp add del mod">
        <pc:chgData name="Scott Sink" userId="007532c1-63dd-4f29-9932-df3a9735f490" providerId="ADAL" clId="{D3CDFFE0-8750-445D-ADE6-9097BB7C3009}" dt="2023-04-06T11:03:36.762" v="277" actId="47"/>
        <pc:sldMkLst>
          <pc:docMk/>
          <pc:sldMk cId="122225319" sldId="3606"/>
        </pc:sldMkLst>
        <pc:spChg chg="mod">
          <ac:chgData name="Scott Sink" userId="007532c1-63dd-4f29-9932-df3a9735f490" providerId="ADAL" clId="{D3CDFFE0-8750-445D-ADE6-9097BB7C3009}" dt="2023-04-06T11:00:58.051" v="267" actId="27636"/>
          <ac:spMkLst>
            <pc:docMk/>
            <pc:sldMk cId="122225319" sldId="3606"/>
            <ac:spMk id="7" creationId="{F561937C-1148-27C2-C6B0-D11750A12AF6}"/>
          </ac:spMkLst>
        </pc:spChg>
      </pc:sldChg>
      <pc:sldChg chg="add">
        <pc:chgData name="Scott Sink" userId="007532c1-63dd-4f29-9932-df3a9735f490" providerId="ADAL" clId="{D3CDFFE0-8750-445D-ADE6-9097BB7C3009}" dt="2023-04-06T11:03:44.815" v="282"/>
        <pc:sldMkLst>
          <pc:docMk/>
          <pc:sldMk cId="4034699046" sldId="3606"/>
        </pc:sldMkLst>
      </pc:sldChg>
      <pc:sldChg chg="modSp add del mod">
        <pc:chgData name="Scott Sink" userId="007532c1-63dd-4f29-9932-df3a9735f490" providerId="ADAL" clId="{D3CDFFE0-8750-445D-ADE6-9097BB7C3009}" dt="2023-04-06T11:03:35.489" v="276" actId="47"/>
        <pc:sldMkLst>
          <pc:docMk/>
          <pc:sldMk cId="495187236" sldId="3607"/>
        </pc:sldMkLst>
        <pc:spChg chg="mod">
          <ac:chgData name="Scott Sink" userId="007532c1-63dd-4f29-9932-df3a9735f490" providerId="ADAL" clId="{D3CDFFE0-8750-445D-ADE6-9097BB7C3009}" dt="2023-04-06T11:01:57.192" v="274" actId="1076"/>
          <ac:spMkLst>
            <pc:docMk/>
            <pc:sldMk cId="495187236" sldId="3607"/>
            <ac:spMk id="4" creationId="{36906BB2-F9E2-3E7F-163B-498E25FDF3A7}"/>
          </ac:spMkLst>
        </pc:spChg>
        <pc:spChg chg="mod">
          <ac:chgData name="Scott Sink" userId="007532c1-63dd-4f29-9932-df3a9735f490" providerId="ADAL" clId="{D3CDFFE0-8750-445D-ADE6-9097BB7C3009}" dt="2023-04-06T11:02:30.077" v="275" actId="1076"/>
          <ac:spMkLst>
            <pc:docMk/>
            <pc:sldMk cId="495187236" sldId="3607"/>
            <ac:spMk id="7" creationId="{F561937C-1148-27C2-C6B0-D11750A12AF6}"/>
          </ac:spMkLst>
        </pc:spChg>
      </pc:sldChg>
      <pc:sldChg chg="add">
        <pc:chgData name="Scott Sink" userId="007532c1-63dd-4f29-9932-df3a9735f490" providerId="ADAL" clId="{D3CDFFE0-8750-445D-ADE6-9097BB7C3009}" dt="2023-04-06T11:03:47.595" v="284"/>
        <pc:sldMkLst>
          <pc:docMk/>
          <pc:sldMk cId="1125228431" sldId="3607"/>
        </pc:sldMkLst>
      </pc:sldChg>
      <pc:sldChg chg="add">
        <pc:chgData name="Scott Sink" userId="007532c1-63dd-4f29-9932-df3a9735f490" providerId="ADAL" clId="{D3CDFFE0-8750-445D-ADE6-9097BB7C3009}" dt="2023-04-06T11:03:54.345" v="286"/>
        <pc:sldMkLst>
          <pc:docMk/>
          <pc:sldMk cId="116316544" sldId="3608"/>
        </pc:sldMkLst>
      </pc:sldChg>
      <pc:sldChg chg="modSp add del mod">
        <pc:chgData name="Scott Sink" userId="007532c1-63dd-4f29-9932-df3a9735f490" providerId="ADAL" clId="{D3CDFFE0-8750-445D-ADE6-9097BB7C3009}" dt="2023-04-06T11:01:51.421" v="273" actId="47"/>
        <pc:sldMkLst>
          <pc:docMk/>
          <pc:sldMk cId="1058287311" sldId="3608"/>
        </pc:sldMkLst>
        <pc:spChg chg="mod">
          <ac:chgData name="Scott Sink" userId="007532c1-63dd-4f29-9932-df3a9735f490" providerId="ADAL" clId="{D3CDFFE0-8750-445D-ADE6-9097BB7C3009}" dt="2023-04-06T11:01:18.881" v="272" actId="27636"/>
          <ac:spMkLst>
            <pc:docMk/>
            <pc:sldMk cId="1058287311" sldId="3608"/>
            <ac:spMk id="7" creationId="{F561937C-1148-27C2-C6B0-D11750A12AF6}"/>
          </ac:spMkLst>
        </pc:spChg>
      </pc:sldChg>
      <pc:sldChg chg="add">
        <pc:chgData name="Scott Sink" userId="007532c1-63dd-4f29-9932-df3a9735f490" providerId="ADAL" clId="{D3CDFFE0-8750-445D-ADE6-9097BB7C3009}" dt="2023-04-06T11:03:58.262" v="288"/>
        <pc:sldMkLst>
          <pc:docMk/>
          <pc:sldMk cId="2836108606" sldId="3609"/>
        </pc:sldMkLst>
      </pc:sldChg>
      <pc:sldChg chg="add">
        <pc:chgData name="Scott Sink" userId="007532c1-63dd-4f29-9932-df3a9735f490" providerId="ADAL" clId="{D3CDFFE0-8750-445D-ADE6-9097BB7C3009}" dt="2023-04-06T11:04:00.512" v="290"/>
        <pc:sldMkLst>
          <pc:docMk/>
          <pc:sldMk cId="1903822633" sldId="3610"/>
        </pc:sldMkLst>
      </pc:sldChg>
      <pc:sldChg chg="add">
        <pc:chgData name="Scott Sink" userId="007532c1-63dd-4f29-9932-df3a9735f490" providerId="ADAL" clId="{D3CDFFE0-8750-445D-ADE6-9097BB7C3009}" dt="2023-04-06T11:04:04.168" v="292"/>
        <pc:sldMkLst>
          <pc:docMk/>
          <pc:sldMk cId="3686140456" sldId="3611"/>
        </pc:sldMkLst>
      </pc:sldChg>
      <pc:sldChg chg="add">
        <pc:chgData name="Scott Sink" userId="007532c1-63dd-4f29-9932-df3a9735f490" providerId="ADAL" clId="{D3CDFFE0-8750-445D-ADE6-9097BB7C3009}" dt="2023-04-06T11:15:51.342" v="983" actId="2890"/>
        <pc:sldMkLst>
          <pc:docMk/>
          <pc:sldMk cId="3115082838" sldId="3612"/>
        </pc:sldMkLst>
      </pc:sldChg>
      <pc:sldChg chg="addSp delSp modSp new mod">
        <pc:chgData name="Scott Sink" userId="007532c1-63dd-4f29-9932-df3a9735f490" providerId="ADAL" clId="{D3CDFFE0-8750-445D-ADE6-9097BB7C3009}" dt="2023-04-06T13:57:18.104" v="1363" actId="1076"/>
        <pc:sldMkLst>
          <pc:docMk/>
          <pc:sldMk cId="3384557778" sldId="3613"/>
        </pc:sldMkLst>
        <pc:spChg chg="mod">
          <ac:chgData name="Scott Sink" userId="007532c1-63dd-4f29-9932-df3a9735f490" providerId="ADAL" clId="{D3CDFFE0-8750-445D-ADE6-9097BB7C3009}" dt="2023-04-06T13:56:38.603" v="1359" actId="404"/>
          <ac:spMkLst>
            <pc:docMk/>
            <pc:sldMk cId="3384557778" sldId="3613"/>
            <ac:spMk id="2" creationId="{87F8534E-9D75-DE7A-A9CC-7FBD98938DF1}"/>
          </ac:spMkLst>
        </pc:spChg>
        <pc:spChg chg="del">
          <ac:chgData name="Scott Sink" userId="007532c1-63dd-4f29-9932-df3a9735f490" providerId="ADAL" clId="{D3CDFFE0-8750-445D-ADE6-9097BB7C3009}" dt="2023-04-06T13:56:10.412" v="1326" actId="931"/>
          <ac:spMkLst>
            <pc:docMk/>
            <pc:sldMk cId="3384557778" sldId="3613"/>
            <ac:spMk id="3" creationId="{9B3F8ED8-D852-BAB3-2B3F-802975A842BA}"/>
          </ac:spMkLst>
        </pc:spChg>
        <pc:picChg chg="add mod">
          <ac:chgData name="Scott Sink" userId="007532c1-63dd-4f29-9932-df3a9735f490" providerId="ADAL" clId="{D3CDFFE0-8750-445D-ADE6-9097BB7C3009}" dt="2023-04-06T13:56:15.118" v="1330" actId="14100"/>
          <ac:picMkLst>
            <pc:docMk/>
            <pc:sldMk cId="3384557778" sldId="3613"/>
            <ac:picMk id="5" creationId="{85ADCF2F-72EF-4D80-884A-816B3E0DEBCE}"/>
          </ac:picMkLst>
        </pc:picChg>
        <pc:picChg chg="add mod">
          <ac:chgData name="Scott Sink" userId="007532c1-63dd-4f29-9932-df3a9735f490" providerId="ADAL" clId="{D3CDFFE0-8750-445D-ADE6-9097BB7C3009}" dt="2023-04-06T13:57:18.104" v="1363" actId="1076"/>
          <ac:picMkLst>
            <pc:docMk/>
            <pc:sldMk cId="3384557778" sldId="3613"/>
            <ac:picMk id="7" creationId="{044C5D7F-1FBB-54FA-DC20-B2C1065D9D09}"/>
          </ac:picMkLst>
        </pc:picChg>
      </pc:sldChg>
      <pc:sldChg chg="addSp delSp modSp new mod">
        <pc:chgData name="Scott Sink" userId="007532c1-63dd-4f29-9932-df3a9735f490" providerId="ADAL" clId="{D3CDFFE0-8750-445D-ADE6-9097BB7C3009}" dt="2023-04-07T06:25:44.866" v="1403" actId="20577"/>
        <pc:sldMkLst>
          <pc:docMk/>
          <pc:sldMk cId="46988055" sldId="3614"/>
        </pc:sldMkLst>
        <pc:spChg chg="mod">
          <ac:chgData name="Scott Sink" userId="007532c1-63dd-4f29-9932-df3a9735f490" providerId="ADAL" clId="{D3CDFFE0-8750-445D-ADE6-9097BB7C3009}" dt="2023-04-07T06:25:44.866" v="1403" actId="20577"/>
          <ac:spMkLst>
            <pc:docMk/>
            <pc:sldMk cId="46988055" sldId="3614"/>
            <ac:spMk id="2" creationId="{E1E0086A-5BF8-7173-D3A9-BF6931F43FA3}"/>
          </ac:spMkLst>
        </pc:spChg>
        <pc:spChg chg="del">
          <ac:chgData name="Scott Sink" userId="007532c1-63dd-4f29-9932-df3a9735f490" providerId="ADAL" clId="{D3CDFFE0-8750-445D-ADE6-9097BB7C3009}" dt="2023-04-07T06:25:32.688" v="1386"/>
          <ac:spMkLst>
            <pc:docMk/>
            <pc:sldMk cId="46988055" sldId="3614"/>
            <ac:spMk id="3" creationId="{6613EC55-CD5C-172D-7697-667A9B291A75}"/>
          </ac:spMkLst>
        </pc:spChg>
        <pc:picChg chg="add mod">
          <ac:chgData name="Scott Sink" userId="007532c1-63dd-4f29-9932-df3a9735f490" providerId="ADAL" clId="{D3CDFFE0-8750-445D-ADE6-9097BB7C3009}" dt="2023-04-07T06:25:37.179" v="1388" actId="27614"/>
          <ac:picMkLst>
            <pc:docMk/>
            <pc:sldMk cId="46988055" sldId="3614"/>
            <ac:picMk id="5" creationId="{350F6A6F-9254-169D-C554-7DBAAD8796CD}"/>
          </ac:picMkLst>
        </pc:picChg>
      </pc:sldChg>
      <pc:sldChg chg="addSp delSp modSp new mod">
        <pc:chgData name="Scott Sink" userId="007532c1-63dd-4f29-9932-df3a9735f490" providerId="ADAL" clId="{D3CDFFE0-8750-445D-ADE6-9097BB7C3009}" dt="2023-04-08T07:44:57.936" v="1448" actId="962"/>
        <pc:sldMkLst>
          <pc:docMk/>
          <pc:sldMk cId="1014058352" sldId="3615"/>
        </pc:sldMkLst>
        <pc:spChg chg="mod">
          <ac:chgData name="Scott Sink" userId="007532c1-63dd-4f29-9932-df3a9735f490" providerId="ADAL" clId="{D3CDFFE0-8750-445D-ADE6-9097BB7C3009}" dt="2023-04-08T07:44:10.590" v="1444" actId="1076"/>
          <ac:spMkLst>
            <pc:docMk/>
            <pc:sldMk cId="1014058352" sldId="3615"/>
            <ac:spMk id="2" creationId="{A90100FC-2B22-9662-730A-5103D3B8C377}"/>
          </ac:spMkLst>
        </pc:spChg>
        <pc:spChg chg="del">
          <ac:chgData name="Scott Sink" userId="007532c1-63dd-4f29-9932-df3a9735f490" providerId="ADAL" clId="{D3CDFFE0-8750-445D-ADE6-9097BB7C3009}" dt="2023-04-08T07:43:42.717" v="1405" actId="931"/>
          <ac:spMkLst>
            <pc:docMk/>
            <pc:sldMk cId="1014058352" sldId="3615"/>
            <ac:spMk id="3" creationId="{92FBA80E-D427-E934-4683-3B7EDA0CD08C}"/>
          </ac:spMkLst>
        </pc:spChg>
        <pc:spChg chg="add del mod">
          <ac:chgData name="Scott Sink" userId="007532c1-63dd-4f29-9932-df3a9735f490" providerId="ADAL" clId="{D3CDFFE0-8750-445D-ADE6-9097BB7C3009}" dt="2023-04-08T07:44:56.436" v="1446" actId="931"/>
          <ac:spMkLst>
            <pc:docMk/>
            <pc:sldMk cId="1014058352" sldId="3615"/>
            <ac:spMk id="6" creationId="{2C2BA82B-B8CC-0922-102E-C2F85596C3D9}"/>
          </ac:spMkLst>
        </pc:spChg>
        <pc:picChg chg="add del mod">
          <ac:chgData name="Scott Sink" userId="007532c1-63dd-4f29-9932-df3a9735f490" providerId="ADAL" clId="{D3CDFFE0-8750-445D-ADE6-9097BB7C3009}" dt="2023-04-08T07:44:44.975" v="1445" actId="478"/>
          <ac:picMkLst>
            <pc:docMk/>
            <pc:sldMk cId="1014058352" sldId="3615"/>
            <ac:picMk id="5" creationId="{6190D606-D752-8754-0AD8-3B173DA8FB16}"/>
          </ac:picMkLst>
        </pc:picChg>
        <pc:picChg chg="add mod">
          <ac:chgData name="Scott Sink" userId="007532c1-63dd-4f29-9932-df3a9735f490" providerId="ADAL" clId="{D3CDFFE0-8750-445D-ADE6-9097BB7C3009}" dt="2023-04-08T07:44:57.936" v="1448" actId="962"/>
          <ac:picMkLst>
            <pc:docMk/>
            <pc:sldMk cId="1014058352" sldId="3615"/>
            <ac:picMk id="8" creationId="{80A3DE5C-8248-D06B-3722-4B7F1314A5E8}"/>
          </ac:picMkLst>
        </pc:picChg>
      </pc:sldChg>
      <pc:sldChg chg="addSp delSp modSp new mod">
        <pc:chgData name="Scott Sink" userId="007532c1-63dd-4f29-9932-df3a9735f490" providerId="ADAL" clId="{D3CDFFE0-8750-445D-ADE6-9097BB7C3009}" dt="2023-04-08T07:51:54.501" v="2130" actId="20577"/>
        <pc:sldMkLst>
          <pc:docMk/>
          <pc:sldMk cId="83943494" sldId="3616"/>
        </pc:sldMkLst>
        <pc:spChg chg="mod">
          <ac:chgData name="Scott Sink" userId="007532c1-63dd-4f29-9932-df3a9735f490" providerId="ADAL" clId="{D3CDFFE0-8750-445D-ADE6-9097BB7C3009}" dt="2023-04-08T07:46:49.181" v="1454" actId="14100"/>
          <ac:spMkLst>
            <pc:docMk/>
            <pc:sldMk cId="83943494" sldId="3616"/>
            <ac:spMk id="2" creationId="{3843ABD6-D5AE-20C9-D4E6-297965823015}"/>
          </ac:spMkLst>
        </pc:spChg>
        <pc:spChg chg="del">
          <ac:chgData name="Scott Sink" userId="007532c1-63dd-4f29-9932-df3a9735f490" providerId="ADAL" clId="{D3CDFFE0-8750-445D-ADE6-9097BB7C3009}" dt="2023-04-08T07:46:43.083" v="1450" actId="931"/>
          <ac:spMkLst>
            <pc:docMk/>
            <pc:sldMk cId="83943494" sldId="3616"/>
            <ac:spMk id="3" creationId="{891B866C-8AC9-5088-8C1A-9561299E3C52}"/>
          </ac:spMkLst>
        </pc:spChg>
        <pc:spChg chg="add mod">
          <ac:chgData name="Scott Sink" userId="007532c1-63dd-4f29-9932-df3a9735f490" providerId="ADAL" clId="{D3CDFFE0-8750-445D-ADE6-9097BB7C3009}" dt="2023-04-08T07:51:54.501" v="2130" actId="20577"/>
          <ac:spMkLst>
            <pc:docMk/>
            <pc:sldMk cId="83943494" sldId="3616"/>
            <ac:spMk id="6" creationId="{2198B16A-6ED1-5166-E5FC-2CCFBCE66C8D}"/>
          </ac:spMkLst>
        </pc:spChg>
        <pc:picChg chg="add mod">
          <ac:chgData name="Scott Sink" userId="007532c1-63dd-4f29-9932-df3a9735f490" providerId="ADAL" clId="{D3CDFFE0-8750-445D-ADE6-9097BB7C3009}" dt="2023-04-08T07:46:54.947" v="1455" actId="1076"/>
          <ac:picMkLst>
            <pc:docMk/>
            <pc:sldMk cId="83943494" sldId="3616"/>
            <ac:picMk id="5" creationId="{70F2D10C-EAEB-F5B2-6A52-FFDF13C441AA}"/>
          </ac:picMkLst>
        </pc:picChg>
      </pc:sldChg>
      <pc:sldMasterChg chg="add del addSldLayout delSldLayout">
        <pc:chgData name="Scott Sink" userId="007532c1-63dd-4f29-9932-df3a9735f490" providerId="ADAL" clId="{D3CDFFE0-8750-445D-ADE6-9097BB7C3009}" dt="2023-04-06T11:03:37.933" v="278" actId="47"/>
        <pc:sldMasterMkLst>
          <pc:docMk/>
          <pc:sldMasterMk cId="1918187668" sldId="2147483648"/>
        </pc:sldMasterMkLst>
        <pc:sldLayoutChg chg="add del">
          <pc:chgData name="Scott Sink" userId="007532c1-63dd-4f29-9932-df3a9735f490" providerId="ADAL" clId="{D3CDFFE0-8750-445D-ADE6-9097BB7C3009}" dt="2023-04-06T11:03:37.933" v="278" actId="47"/>
          <pc:sldLayoutMkLst>
            <pc:docMk/>
            <pc:sldMasterMk cId="1918187668" sldId="2147483648"/>
            <pc:sldLayoutMk cId="725535644" sldId="2147483650"/>
          </pc:sldLayoutMkLst>
        </pc:sldLayoutChg>
      </pc:sldMasterChg>
      <pc:sldMasterChg chg="add addSldLayout">
        <pc:chgData name="Scott Sink" userId="007532c1-63dd-4f29-9932-df3a9735f490" providerId="ADAL" clId="{D3CDFFE0-8750-445D-ADE6-9097BB7C3009}" dt="2023-04-06T11:03:40.834" v="279" actId="27028"/>
        <pc:sldMasterMkLst>
          <pc:docMk/>
          <pc:sldMasterMk cId="2012861398" sldId="2147483667"/>
        </pc:sldMasterMkLst>
        <pc:sldLayoutChg chg="add">
          <pc:chgData name="Scott Sink" userId="007532c1-63dd-4f29-9932-df3a9735f490" providerId="ADAL" clId="{D3CDFFE0-8750-445D-ADE6-9097BB7C3009}" dt="2023-04-06T11:03:40.834" v="279" actId="27028"/>
          <pc:sldLayoutMkLst>
            <pc:docMk/>
            <pc:sldMasterMk cId="2012861398" sldId="2147483667"/>
            <pc:sldLayoutMk cId="3413945563" sldId="2147497900"/>
          </pc:sldLayoutMkLst>
        </pc:sldLayoutChg>
      </pc:sldMasterChg>
      <pc:sldMasterChg chg="delSp">
        <pc:chgData name="Scott Sink" userId="007532c1-63dd-4f29-9932-df3a9735f490" providerId="ADAL" clId="{D3CDFFE0-8750-445D-ADE6-9097BB7C3009}" dt="2023-04-06T10:50:59.366" v="9" actId="478"/>
        <pc:sldMasterMkLst>
          <pc:docMk/>
          <pc:sldMasterMk cId="0" sldId="2147488890"/>
        </pc:sldMasterMkLst>
        <pc:picChg chg="del">
          <ac:chgData name="Scott Sink" userId="007532c1-63dd-4f29-9932-df3a9735f490" providerId="ADAL" clId="{D3CDFFE0-8750-445D-ADE6-9097BB7C3009}" dt="2023-04-06T10:50:59.366" v="9" actId="478"/>
          <ac:picMkLst>
            <pc:docMk/>
            <pc:sldMasterMk cId="0" sldId="2147488890"/>
            <ac:picMk id="1047" creationId="{16660E49-66A4-44B1-96FA-028284F930E4}"/>
          </ac:picMkLst>
        </pc:picChg>
      </pc:sldMasterChg>
      <pc:sldMasterChg chg="delSp">
        <pc:chgData name="Scott Sink" userId="007532c1-63dd-4f29-9932-df3a9735f490" providerId="ADAL" clId="{D3CDFFE0-8750-445D-ADE6-9097BB7C3009}" dt="2023-04-06T10:56:46.512" v="250" actId="478"/>
        <pc:sldMasterMkLst>
          <pc:docMk/>
          <pc:sldMasterMk cId="0" sldId="2147497796"/>
        </pc:sldMasterMkLst>
        <pc:picChg chg="del">
          <ac:chgData name="Scott Sink" userId="007532c1-63dd-4f29-9932-df3a9735f490" providerId="ADAL" clId="{D3CDFFE0-8750-445D-ADE6-9097BB7C3009}" dt="2023-04-06T10:56:46.512" v="250" actId="478"/>
          <ac:picMkLst>
            <pc:docMk/>
            <pc:sldMasterMk cId="0" sldId="2147497796"/>
            <ac:picMk id="1047" creationId="{23FBEF03-D18D-419E-87A9-F28BFDD59DEE}"/>
          </ac:picMkLst>
        </pc:picChg>
      </pc:sldMasterChg>
      <pc:sldMasterChg chg="delSp">
        <pc:chgData name="Scott Sink" userId="007532c1-63dd-4f29-9932-df3a9735f490" providerId="ADAL" clId="{D3CDFFE0-8750-445D-ADE6-9097BB7C3009}" dt="2023-04-06T10:50:53.639" v="8" actId="478"/>
        <pc:sldMasterMkLst>
          <pc:docMk/>
          <pc:sldMasterMk cId="0" sldId="2147497863"/>
        </pc:sldMasterMkLst>
        <pc:picChg chg="del">
          <ac:chgData name="Scott Sink" userId="007532c1-63dd-4f29-9932-df3a9735f490" providerId="ADAL" clId="{D3CDFFE0-8750-445D-ADE6-9097BB7C3009}" dt="2023-04-06T10:50:53.639" v="8" actId="478"/>
          <ac:picMkLst>
            <pc:docMk/>
            <pc:sldMasterMk cId="0" sldId="2147497863"/>
            <ac:picMk id="23575" creationId="{84B1CA58-6598-435A-BFC8-B4258CE9FCD7}"/>
          </ac:picMkLst>
        </pc:picChg>
      </pc:sldMasterChg>
    </pc:docChg>
  </pc:docChgLst>
  <pc:docChgLst>
    <pc:chgData name="Scott Sink" userId="007532c1-63dd-4f29-9932-df3a9735f490" providerId="ADAL" clId="{FC83FA74-9C6C-494A-B4A7-F24DFB5E5CF4}"/>
    <pc:docChg chg="undo custSel addSld delSld modSld sldOrd addMainMaster delMainMaster modMainMaster">
      <pc:chgData name="Scott Sink" userId="007532c1-63dd-4f29-9932-df3a9735f490" providerId="ADAL" clId="{FC83FA74-9C6C-494A-B4A7-F24DFB5E5CF4}" dt="2023-06-13T14:40:12.659" v="14488"/>
      <pc:docMkLst>
        <pc:docMk/>
      </pc:docMkLst>
      <pc:sldChg chg="del ord">
        <pc:chgData name="Scott Sink" userId="007532c1-63dd-4f29-9932-df3a9735f490" providerId="ADAL" clId="{FC83FA74-9C6C-494A-B4A7-F24DFB5E5CF4}" dt="2023-06-13T06:43:05.549" v="14103" actId="47"/>
        <pc:sldMkLst>
          <pc:docMk/>
          <pc:sldMk cId="0" sldId="972"/>
        </pc:sldMkLst>
      </pc:sldChg>
      <pc:sldChg chg="delSp modSp del mod ord">
        <pc:chgData name="Scott Sink" userId="007532c1-63dd-4f29-9932-df3a9735f490" providerId="ADAL" clId="{FC83FA74-9C6C-494A-B4A7-F24DFB5E5CF4}" dt="2023-06-13T05:53:24.516" v="12294" actId="47"/>
        <pc:sldMkLst>
          <pc:docMk/>
          <pc:sldMk cId="0" sldId="973"/>
        </pc:sldMkLst>
        <pc:spChg chg="mod">
          <ac:chgData name="Scott Sink" userId="007532c1-63dd-4f29-9932-df3a9735f490" providerId="ADAL" clId="{FC83FA74-9C6C-494A-B4A7-F24DFB5E5CF4}" dt="2023-06-13T05:52:06.513" v="12200" actId="20577"/>
          <ac:spMkLst>
            <pc:docMk/>
            <pc:sldMk cId="0" sldId="973"/>
            <ac:spMk id="45058" creationId="{4465FBE2-0328-415A-96EF-0C541784F181}"/>
          </ac:spMkLst>
        </pc:spChg>
        <pc:picChg chg="del">
          <ac:chgData name="Scott Sink" userId="007532c1-63dd-4f29-9932-df3a9735f490" providerId="ADAL" clId="{FC83FA74-9C6C-494A-B4A7-F24DFB5E5CF4}" dt="2023-06-13T05:52:34" v="12205" actId="21"/>
          <ac:picMkLst>
            <pc:docMk/>
            <pc:sldMk cId="0" sldId="973"/>
            <ac:picMk id="45060" creationId="{8399B911-44B0-4541-AEA0-F5389C20503D}"/>
          </ac:picMkLst>
        </pc:picChg>
      </pc:sldChg>
      <pc:sldChg chg="del">
        <pc:chgData name="Scott Sink" userId="007532c1-63dd-4f29-9932-df3a9735f490" providerId="ADAL" clId="{FC83FA74-9C6C-494A-B4A7-F24DFB5E5CF4}" dt="2023-06-13T06:42:39.003" v="14098" actId="47"/>
        <pc:sldMkLst>
          <pc:docMk/>
          <pc:sldMk cId="0" sldId="974"/>
        </pc:sldMkLst>
      </pc:sldChg>
      <pc:sldChg chg="del ord">
        <pc:chgData name="Scott Sink" userId="007532c1-63dd-4f29-9932-df3a9735f490" providerId="ADAL" clId="{FC83FA74-9C6C-494A-B4A7-F24DFB5E5CF4}" dt="2023-06-13T06:43:02.868" v="14101" actId="47"/>
        <pc:sldMkLst>
          <pc:docMk/>
          <pc:sldMk cId="1191895561" sldId="1073"/>
        </pc:sldMkLst>
      </pc:sldChg>
      <pc:sldChg chg="del">
        <pc:chgData name="Scott Sink" userId="007532c1-63dd-4f29-9932-df3a9735f490" providerId="ADAL" clId="{FC83FA74-9C6C-494A-B4A7-F24DFB5E5CF4}" dt="2023-06-13T06:42:40.131" v="14099" actId="47"/>
        <pc:sldMkLst>
          <pc:docMk/>
          <pc:sldMk cId="46988055" sldId="3614"/>
        </pc:sldMkLst>
      </pc:sldChg>
      <pc:sldChg chg="addSp delSp modSp mod">
        <pc:chgData name="Scott Sink" userId="007532c1-63dd-4f29-9932-df3a9735f490" providerId="ADAL" clId="{FC83FA74-9C6C-494A-B4A7-F24DFB5E5CF4}" dt="2023-06-10T07:42:13.014" v="293" actId="1076"/>
        <pc:sldMkLst>
          <pc:docMk/>
          <pc:sldMk cId="3858186052" sldId="3617"/>
        </pc:sldMkLst>
        <pc:spChg chg="mod">
          <ac:chgData name="Scott Sink" userId="007532c1-63dd-4f29-9932-df3a9735f490" providerId="ADAL" clId="{FC83FA74-9C6C-494A-B4A7-F24DFB5E5CF4}" dt="2023-06-10T07:40:31.327" v="195" actId="20577"/>
          <ac:spMkLst>
            <pc:docMk/>
            <pc:sldMk cId="3858186052" sldId="3617"/>
            <ac:spMk id="3" creationId="{5CB5E778-EB37-08BC-8A65-E0A5BEF24F5F}"/>
          </ac:spMkLst>
        </pc:spChg>
        <pc:spChg chg="mod">
          <ac:chgData name="Scott Sink" userId="007532c1-63dd-4f29-9932-df3a9735f490" providerId="ADAL" clId="{FC83FA74-9C6C-494A-B4A7-F24DFB5E5CF4}" dt="2023-06-10T07:39:40.621" v="178" actId="20577"/>
          <ac:spMkLst>
            <pc:docMk/>
            <pc:sldMk cId="3858186052" sldId="3617"/>
            <ac:spMk id="6" creationId="{C5018F96-B3E6-1C7C-503A-A6964F5B4827}"/>
          </ac:spMkLst>
        </pc:spChg>
        <pc:spChg chg="mod">
          <ac:chgData name="Scott Sink" userId="007532c1-63dd-4f29-9932-df3a9735f490" providerId="ADAL" clId="{FC83FA74-9C6C-494A-B4A7-F24DFB5E5CF4}" dt="2023-06-10T07:41:06.208" v="277" actId="20577"/>
          <ac:spMkLst>
            <pc:docMk/>
            <pc:sldMk cId="3858186052" sldId="3617"/>
            <ac:spMk id="10" creationId="{B47D77AC-10E5-F7CA-1821-CA4162CCE788}"/>
          </ac:spMkLst>
        </pc:spChg>
        <pc:spChg chg="mod">
          <ac:chgData name="Scott Sink" userId="007532c1-63dd-4f29-9932-df3a9735f490" providerId="ADAL" clId="{FC83FA74-9C6C-494A-B4A7-F24DFB5E5CF4}" dt="2023-06-10T07:39:27.900" v="173" actId="1076"/>
          <ac:spMkLst>
            <pc:docMk/>
            <pc:sldMk cId="3858186052" sldId="3617"/>
            <ac:spMk id="13" creationId="{D541DAC8-5E3F-B4ED-FB9B-45E6479E107E}"/>
          </ac:spMkLst>
        </pc:spChg>
        <pc:spChg chg="mod">
          <ac:chgData name="Scott Sink" userId="007532c1-63dd-4f29-9932-df3a9735f490" providerId="ADAL" clId="{FC83FA74-9C6C-494A-B4A7-F24DFB5E5CF4}" dt="2023-06-10T07:41:59.198" v="289" actId="14100"/>
          <ac:spMkLst>
            <pc:docMk/>
            <pc:sldMk cId="3858186052" sldId="3617"/>
            <ac:spMk id="22" creationId="{693B6C1D-D021-4EC9-AC66-7E12E6EAE67F}"/>
          </ac:spMkLst>
        </pc:spChg>
        <pc:spChg chg="del mod">
          <ac:chgData name="Scott Sink" userId="007532c1-63dd-4f29-9932-df3a9735f490" providerId="ADAL" clId="{FC83FA74-9C6C-494A-B4A7-F24DFB5E5CF4}" dt="2023-06-04T06:45:09.678" v="2" actId="478"/>
          <ac:spMkLst>
            <pc:docMk/>
            <pc:sldMk cId="3858186052" sldId="3617"/>
            <ac:spMk id="23" creationId="{4EA0D366-CE29-FBA8-36F6-A526371ECC4E}"/>
          </ac:spMkLst>
        </pc:spChg>
        <pc:spChg chg="mod">
          <ac:chgData name="Scott Sink" userId="007532c1-63dd-4f29-9932-df3a9735f490" providerId="ADAL" clId="{FC83FA74-9C6C-494A-B4A7-F24DFB5E5CF4}" dt="2023-06-10T07:42:13.014" v="293" actId="1076"/>
          <ac:spMkLst>
            <pc:docMk/>
            <pc:sldMk cId="3858186052" sldId="3617"/>
            <ac:spMk id="28" creationId="{BA4CEFC9-7EA0-4E3D-8519-C99F7A7D0F70}"/>
          </ac:spMkLst>
        </pc:spChg>
        <pc:picChg chg="mod">
          <ac:chgData name="Scott Sink" userId="007532c1-63dd-4f29-9932-df3a9735f490" providerId="ADAL" clId="{FC83FA74-9C6C-494A-B4A7-F24DFB5E5CF4}" dt="2023-06-10T07:42:10.386" v="292" actId="1076"/>
          <ac:picMkLst>
            <pc:docMk/>
            <pc:sldMk cId="3858186052" sldId="3617"/>
            <ac:picMk id="5" creationId="{AFD8D61E-987F-4EB6-88A2-2F19E77A4CB7}"/>
          </ac:picMkLst>
        </pc:picChg>
        <pc:picChg chg="add mod">
          <ac:chgData name="Scott Sink" userId="007532c1-63dd-4f29-9932-df3a9735f490" providerId="ADAL" clId="{FC83FA74-9C6C-494A-B4A7-F24DFB5E5CF4}" dt="2023-06-10T07:40:21.542" v="183" actId="1076"/>
          <ac:picMkLst>
            <pc:docMk/>
            <pc:sldMk cId="3858186052" sldId="3617"/>
            <ac:picMk id="9" creationId="{46755140-BD3E-5A69-9863-586A1EC8CADF}"/>
          </ac:picMkLst>
        </pc:picChg>
        <pc:picChg chg="del">
          <ac:chgData name="Scott Sink" userId="007532c1-63dd-4f29-9932-df3a9735f490" providerId="ADAL" clId="{FC83FA74-9C6C-494A-B4A7-F24DFB5E5CF4}" dt="2023-06-04T06:45:06.865" v="0" actId="478"/>
          <ac:picMkLst>
            <pc:docMk/>
            <pc:sldMk cId="3858186052" sldId="3617"/>
            <ac:picMk id="11" creationId="{C2D9B6FE-0BF0-6B49-D43F-2ABAEC69EEC2}"/>
          </ac:picMkLst>
        </pc:picChg>
      </pc:sldChg>
      <pc:sldChg chg="modSp mod">
        <pc:chgData name="Scott Sink" userId="007532c1-63dd-4f29-9932-df3a9735f490" providerId="ADAL" clId="{FC83FA74-9C6C-494A-B4A7-F24DFB5E5CF4}" dt="2023-06-10T07:47:45.275" v="410" actId="20577"/>
        <pc:sldMkLst>
          <pc:docMk/>
          <pc:sldMk cId="3939640140" sldId="3618"/>
        </pc:sldMkLst>
        <pc:spChg chg="mod">
          <ac:chgData name="Scott Sink" userId="007532c1-63dd-4f29-9932-df3a9735f490" providerId="ADAL" clId="{FC83FA74-9C6C-494A-B4A7-F24DFB5E5CF4}" dt="2023-06-10T07:47:45.275" v="410" actId="20577"/>
          <ac:spMkLst>
            <pc:docMk/>
            <pc:sldMk cId="3939640140" sldId="3618"/>
            <ac:spMk id="3" creationId="{A5A8E09D-F143-AC8C-4127-0ABEDD96C64B}"/>
          </ac:spMkLst>
        </pc:spChg>
      </pc:sldChg>
      <pc:sldChg chg="del ord">
        <pc:chgData name="Scott Sink" userId="007532c1-63dd-4f29-9932-df3a9735f490" providerId="ADAL" clId="{FC83FA74-9C6C-494A-B4A7-F24DFB5E5CF4}" dt="2023-06-13T06:43:04.278" v="14102" actId="47"/>
        <pc:sldMkLst>
          <pc:docMk/>
          <pc:sldMk cId="3121620661" sldId="3622"/>
        </pc:sldMkLst>
      </pc:sldChg>
      <pc:sldChg chg="modSp mod ord">
        <pc:chgData name="Scott Sink" userId="007532c1-63dd-4f29-9932-df3a9735f490" providerId="ADAL" clId="{FC83FA74-9C6C-494A-B4A7-F24DFB5E5CF4}" dt="2023-06-13T05:57:08.884" v="12492" actId="14100"/>
        <pc:sldMkLst>
          <pc:docMk/>
          <pc:sldMk cId="3272150657" sldId="3646"/>
        </pc:sldMkLst>
        <pc:spChg chg="mod">
          <ac:chgData name="Scott Sink" userId="007532c1-63dd-4f29-9932-df3a9735f490" providerId="ADAL" clId="{FC83FA74-9C6C-494A-B4A7-F24DFB5E5CF4}" dt="2023-06-13T05:57:01.416" v="12491" actId="20577"/>
          <ac:spMkLst>
            <pc:docMk/>
            <pc:sldMk cId="3272150657" sldId="3646"/>
            <ac:spMk id="2" creationId="{307FFB44-A94F-8F15-9B33-A981E0FC333B}"/>
          </ac:spMkLst>
        </pc:spChg>
        <pc:spChg chg="mod">
          <ac:chgData name="Scott Sink" userId="007532c1-63dd-4f29-9932-df3a9735f490" providerId="ADAL" clId="{FC83FA74-9C6C-494A-B4A7-F24DFB5E5CF4}" dt="2023-06-13T05:57:08.884" v="12492" actId="14100"/>
          <ac:spMkLst>
            <pc:docMk/>
            <pc:sldMk cId="3272150657" sldId="3646"/>
            <ac:spMk id="12" creationId="{0A87C8FE-DFD1-09AE-1DCD-F065915F346F}"/>
          </ac:spMkLst>
        </pc:spChg>
      </pc:sldChg>
      <pc:sldChg chg="ord">
        <pc:chgData name="Scott Sink" userId="007532c1-63dd-4f29-9932-df3a9735f490" providerId="ADAL" clId="{FC83FA74-9C6C-494A-B4A7-F24DFB5E5CF4}" dt="2023-06-13T10:39:16.218" v="14144"/>
        <pc:sldMkLst>
          <pc:docMk/>
          <pc:sldMk cId="185777116" sldId="3648"/>
        </pc:sldMkLst>
      </pc:sldChg>
      <pc:sldChg chg="modSp mod ord">
        <pc:chgData name="Scott Sink" userId="007532c1-63dd-4f29-9932-df3a9735f490" providerId="ADAL" clId="{FC83FA74-9C6C-494A-B4A7-F24DFB5E5CF4}" dt="2023-06-12T11:49:55.898" v="11427" actId="5793"/>
        <pc:sldMkLst>
          <pc:docMk/>
          <pc:sldMk cId="3083674499" sldId="3683"/>
        </pc:sldMkLst>
        <pc:spChg chg="mod">
          <ac:chgData name="Scott Sink" userId="007532c1-63dd-4f29-9932-df3a9735f490" providerId="ADAL" clId="{FC83FA74-9C6C-494A-B4A7-F24DFB5E5CF4}" dt="2023-06-12T11:49:55.898" v="11427" actId="5793"/>
          <ac:spMkLst>
            <pc:docMk/>
            <pc:sldMk cId="3083674499" sldId="3683"/>
            <ac:spMk id="9" creationId="{5ACBF105-37A5-4EFF-9212-3A4FB813785F}"/>
          </ac:spMkLst>
        </pc:spChg>
      </pc:sldChg>
      <pc:sldChg chg="del ord">
        <pc:chgData name="Scott Sink" userId="007532c1-63dd-4f29-9932-df3a9735f490" providerId="ADAL" clId="{FC83FA74-9C6C-494A-B4A7-F24DFB5E5CF4}" dt="2023-06-13T06:43:00.483" v="14100" actId="47"/>
        <pc:sldMkLst>
          <pc:docMk/>
          <pc:sldMk cId="528263807" sldId="3688"/>
        </pc:sldMkLst>
      </pc:sldChg>
      <pc:sldChg chg="del">
        <pc:chgData name="Scott Sink" userId="007532c1-63dd-4f29-9932-df3a9735f490" providerId="ADAL" clId="{FC83FA74-9C6C-494A-B4A7-F24DFB5E5CF4}" dt="2023-06-04T06:45:12.800" v="3" actId="47"/>
        <pc:sldMkLst>
          <pc:docMk/>
          <pc:sldMk cId="2799686858" sldId="3689"/>
        </pc:sldMkLst>
      </pc:sldChg>
      <pc:sldChg chg="addSp delSp modSp new mod ord">
        <pc:chgData name="Scott Sink" userId="007532c1-63dd-4f29-9932-df3a9735f490" providerId="ADAL" clId="{FC83FA74-9C6C-494A-B4A7-F24DFB5E5CF4}" dt="2023-06-12T11:18:09.943" v="11409" actId="404"/>
        <pc:sldMkLst>
          <pc:docMk/>
          <pc:sldMk cId="3239035081" sldId="3689"/>
        </pc:sldMkLst>
        <pc:spChg chg="mod">
          <ac:chgData name="Scott Sink" userId="007532c1-63dd-4f29-9932-df3a9735f490" providerId="ADAL" clId="{FC83FA74-9C6C-494A-B4A7-F24DFB5E5CF4}" dt="2023-06-12T11:16:59.528" v="11317" actId="20577"/>
          <ac:spMkLst>
            <pc:docMk/>
            <pc:sldMk cId="3239035081" sldId="3689"/>
            <ac:spMk id="2" creationId="{51BC7226-FA40-6FDF-B9C2-D8E2D7FBF4F4}"/>
          </ac:spMkLst>
        </pc:spChg>
        <pc:spChg chg="add mod">
          <ac:chgData name="Scott Sink" userId="007532c1-63dd-4f29-9932-df3a9735f490" providerId="ADAL" clId="{FC83FA74-9C6C-494A-B4A7-F24DFB5E5CF4}" dt="2023-06-12T11:17:30.645" v="11364" actId="20577"/>
          <ac:spMkLst>
            <pc:docMk/>
            <pc:sldMk cId="3239035081" sldId="3689"/>
            <ac:spMk id="4" creationId="{09954609-305F-1F26-9A82-FF42A3A19734}"/>
          </ac:spMkLst>
        </pc:spChg>
        <pc:spChg chg="del">
          <ac:chgData name="Scott Sink" userId="007532c1-63dd-4f29-9932-df3a9735f490" providerId="ADAL" clId="{FC83FA74-9C6C-494A-B4A7-F24DFB5E5CF4}" dt="2023-06-04T06:45:53.189" v="35" actId="931"/>
          <ac:spMkLst>
            <pc:docMk/>
            <pc:sldMk cId="3239035081" sldId="3689"/>
            <ac:spMk id="4" creationId="{754E1813-235D-6837-30CE-7D471B31D23C}"/>
          </ac:spMkLst>
        </pc:spChg>
        <pc:spChg chg="add mod">
          <ac:chgData name="Scott Sink" userId="007532c1-63dd-4f29-9932-df3a9735f490" providerId="ADAL" clId="{FC83FA74-9C6C-494A-B4A7-F24DFB5E5CF4}" dt="2023-06-12T11:18:09.943" v="11409" actId="404"/>
          <ac:spMkLst>
            <pc:docMk/>
            <pc:sldMk cId="3239035081" sldId="3689"/>
            <ac:spMk id="6" creationId="{BE358754-8903-933D-22ED-991C79BA17FD}"/>
          </ac:spMkLst>
        </pc:spChg>
        <pc:spChg chg="del">
          <ac:chgData name="Scott Sink" userId="007532c1-63dd-4f29-9932-df3a9735f490" providerId="ADAL" clId="{FC83FA74-9C6C-494A-B4A7-F24DFB5E5CF4}" dt="2023-06-04T06:46:05.271" v="38"/>
          <ac:spMkLst>
            <pc:docMk/>
            <pc:sldMk cId="3239035081" sldId="3689"/>
            <ac:spMk id="6" creationId="{E790B407-A561-979D-4C69-2E06419C8AD5}"/>
          </ac:spMkLst>
        </pc:spChg>
        <pc:spChg chg="add del mod">
          <ac:chgData name="Scott Sink" userId="007532c1-63dd-4f29-9932-df3a9735f490" providerId="ADAL" clId="{FC83FA74-9C6C-494A-B4A7-F24DFB5E5CF4}" dt="2023-06-12T08:41:43.510" v="7616" actId="478"/>
          <ac:spMkLst>
            <pc:docMk/>
            <pc:sldMk cId="3239035081" sldId="3689"/>
            <ac:spMk id="13" creationId="{376A4D56-AC5C-AD27-A7A1-3AAFD98FA7D3}"/>
          </ac:spMkLst>
        </pc:spChg>
        <pc:picChg chg="add del mod">
          <ac:chgData name="Scott Sink" userId="007532c1-63dd-4f29-9932-df3a9735f490" providerId="ADAL" clId="{FC83FA74-9C6C-494A-B4A7-F24DFB5E5CF4}" dt="2023-06-04T06:46:06.980" v="41" actId="478"/>
          <ac:picMkLst>
            <pc:docMk/>
            <pc:sldMk cId="3239035081" sldId="3689"/>
            <ac:picMk id="9" creationId="{F1783B9C-B072-D053-87E6-05AB52E723AC}"/>
          </ac:picMkLst>
        </pc:picChg>
        <pc:picChg chg="add mod">
          <ac:chgData name="Scott Sink" userId="007532c1-63dd-4f29-9932-df3a9735f490" providerId="ADAL" clId="{FC83FA74-9C6C-494A-B4A7-F24DFB5E5CF4}" dt="2023-06-04T06:46:13.066" v="43" actId="14100"/>
          <ac:picMkLst>
            <pc:docMk/>
            <pc:sldMk cId="3239035081" sldId="3689"/>
            <ac:picMk id="11" creationId="{57198A1D-9D3D-9A70-113A-8E7EA935C702}"/>
          </ac:picMkLst>
        </pc:picChg>
      </pc:sldChg>
      <pc:sldChg chg="addSp delSp modSp new mod">
        <pc:chgData name="Scott Sink" userId="007532c1-63dd-4f29-9932-df3a9735f490" providerId="ADAL" clId="{FC83FA74-9C6C-494A-B4A7-F24DFB5E5CF4}" dt="2023-06-05T09:12:45.522" v="64" actId="1076"/>
        <pc:sldMkLst>
          <pc:docMk/>
          <pc:sldMk cId="165917156" sldId="3690"/>
        </pc:sldMkLst>
        <pc:spChg chg="del">
          <ac:chgData name="Scott Sink" userId="007532c1-63dd-4f29-9932-df3a9735f490" providerId="ADAL" clId="{FC83FA74-9C6C-494A-B4A7-F24DFB5E5CF4}" dt="2023-06-04T06:46:36.605" v="45"/>
          <ac:spMkLst>
            <pc:docMk/>
            <pc:sldMk cId="165917156" sldId="3690"/>
            <ac:spMk id="4" creationId="{B25BE7DF-AE3A-1F84-6203-254633B33B71}"/>
          </ac:spMkLst>
        </pc:spChg>
        <pc:spChg chg="del">
          <ac:chgData name="Scott Sink" userId="007532c1-63dd-4f29-9932-df3a9735f490" providerId="ADAL" clId="{FC83FA74-9C6C-494A-B4A7-F24DFB5E5CF4}" dt="2023-06-04T06:47:13.635" v="48"/>
          <ac:spMkLst>
            <pc:docMk/>
            <pc:sldMk cId="165917156" sldId="3690"/>
            <ac:spMk id="6" creationId="{5CD28640-8613-79A8-4B82-008C0F399820}"/>
          </ac:spMkLst>
        </pc:spChg>
        <pc:spChg chg="add mod">
          <ac:chgData name="Scott Sink" userId="007532c1-63dd-4f29-9932-df3a9735f490" providerId="ADAL" clId="{FC83FA74-9C6C-494A-B4A7-F24DFB5E5CF4}" dt="2023-06-05T09:06:25.038" v="62" actId="1076"/>
          <ac:spMkLst>
            <pc:docMk/>
            <pc:sldMk cId="165917156" sldId="3690"/>
            <ac:spMk id="17" creationId="{AF54C705-2F22-7980-8F85-99BC3F98D44E}"/>
          </ac:spMkLst>
        </pc:spChg>
        <pc:spChg chg="add mod">
          <ac:chgData name="Scott Sink" userId="007532c1-63dd-4f29-9932-df3a9735f490" providerId="ADAL" clId="{FC83FA74-9C6C-494A-B4A7-F24DFB5E5CF4}" dt="2023-06-05T09:12:45.522" v="64" actId="1076"/>
          <ac:spMkLst>
            <pc:docMk/>
            <pc:sldMk cId="165917156" sldId="3690"/>
            <ac:spMk id="19" creationId="{7DBC992F-4E1E-CA1D-DDE7-36F110DAACA9}"/>
          </ac:spMkLst>
        </pc:spChg>
        <pc:picChg chg="add mod">
          <ac:chgData name="Scott Sink" userId="007532c1-63dd-4f29-9932-df3a9735f490" providerId="ADAL" clId="{FC83FA74-9C6C-494A-B4A7-F24DFB5E5CF4}" dt="2023-06-04T06:46:37.142" v="47" actId="962"/>
          <ac:picMkLst>
            <pc:docMk/>
            <pc:sldMk cId="165917156" sldId="3690"/>
            <ac:picMk id="9" creationId="{B7AAF705-91DB-3550-029A-D61FF20CFD20}"/>
          </ac:picMkLst>
        </pc:picChg>
        <pc:picChg chg="add mod">
          <ac:chgData name="Scott Sink" userId="007532c1-63dd-4f29-9932-df3a9735f490" providerId="ADAL" clId="{FC83FA74-9C6C-494A-B4A7-F24DFB5E5CF4}" dt="2023-06-04T06:47:14.517" v="50" actId="962"/>
          <ac:picMkLst>
            <pc:docMk/>
            <pc:sldMk cId="165917156" sldId="3690"/>
            <ac:picMk id="11" creationId="{DECA096E-25C6-8197-8570-10C70153B48D}"/>
          </ac:picMkLst>
        </pc:picChg>
        <pc:picChg chg="add mod">
          <ac:chgData name="Scott Sink" userId="007532c1-63dd-4f29-9932-df3a9735f490" providerId="ADAL" clId="{FC83FA74-9C6C-494A-B4A7-F24DFB5E5CF4}" dt="2023-06-04T06:48:17.854" v="55" actId="1076"/>
          <ac:picMkLst>
            <pc:docMk/>
            <pc:sldMk cId="165917156" sldId="3690"/>
            <ac:picMk id="13" creationId="{9FCD2854-7961-CD97-D448-1D02168E3608}"/>
          </ac:picMkLst>
        </pc:picChg>
        <pc:picChg chg="add mod">
          <ac:chgData name="Scott Sink" userId="007532c1-63dd-4f29-9932-df3a9735f490" providerId="ADAL" clId="{FC83FA74-9C6C-494A-B4A7-F24DFB5E5CF4}" dt="2023-06-04T06:48:26.053" v="60" actId="1076"/>
          <ac:picMkLst>
            <pc:docMk/>
            <pc:sldMk cId="165917156" sldId="3690"/>
            <ac:picMk id="15" creationId="{E85F4013-B6D1-16B7-718E-E1FB13144A4A}"/>
          </ac:picMkLst>
        </pc:picChg>
      </pc:sldChg>
      <pc:sldChg chg="del">
        <pc:chgData name="Scott Sink" userId="007532c1-63dd-4f29-9932-df3a9735f490" providerId="ADAL" clId="{FC83FA74-9C6C-494A-B4A7-F24DFB5E5CF4}" dt="2023-06-04T06:45:13.515" v="4" actId="47"/>
        <pc:sldMkLst>
          <pc:docMk/>
          <pc:sldMk cId="968880051" sldId="3690"/>
        </pc:sldMkLst>
      </pc:sldChg>
      <pc:sldChg chg="modSp add mod ord">
        <pc:chgData name="Scott Sink" userId="007532c1-63dd-4f29-9932-df3a9735f490" providerId="ADAL" clId="{FC83FA74-9C6C-494A-B4A7-F24DFB5E5CF4}" dt="2023-06-13T05:51:11.638" v="12187"/>
        <pc:sldMkLst>
          <pc:docMk/>
          <pc:sldMk cId="1025966195" sldId="3691"/>
        </pc:sldMkLst>
        <pc:spChg chg="mod">
          <ac:chgData name="Scott Sink" userId="007532c1-63dd-4f29-9932-df3a9735f490" providerId="ADAL" clId="{FC83FA74-9C6C-494A-B4A7-F24DFB5E5CF4}" dt="2023-06-10T12:02:25.447" v="1213" actId="20577"/>
          <ac:spMkLst>
            <pc:docMk/>
            <pc:sldMk cId="1025966195" sldId="3691"/>
            <ac:spMk id="2" creationId="{F57C5E07-DB5B-55F2-6F01-6B61AC3D8F04}"/>
          </ac:spMkLst>
        </pc:spChg>
        <pc:spChg chg="mod">
          <ac:chgData name="Scott Sink" userId="007532c1-63dd-4f29-9932-df3a9735f490" providerId="ADAL" clId="{FC83FA74-9C6C-494A-B4A7-F24DFB5E5CF4}" dt="2023-06-10T12:03:13.176" v="1294" actId="20577"/>
          <ac:spMkLst>
            <pc:docMk/>
            <pc:sldMk cId="1025966195" sldId="3691"/>
            <ac:spMk id="3" creationId="{D52268DB-61E4-27E1-5D29-0E7DE9B5711D}"/>
          </ac:spMkLst>
        </pc:spChg>
      </pc:sldChg>
      <pc:sldChg chg="del">
        <pc:chgData name="Scott Sink" userId="007532c1-63dd-4f29-9932-df3a9735f490" providerId="ADAL" clId="{FC83FA74-9C6C-494A-B4A7-F24DFB5E5CF4}" dt="2023-06-04T06:45:14.166" v="5" actId="47"/>
        <pc:sldMkLst>
          <pc:docMk/>
          <pc:sldMk cId="3499263705" sldId="3691"/>
        </pc:sldMkLst>
      </pc:sldChg>
      <pc:sldChg chg="del">
        <pc:chgData name="Scott Sink" userId="007532c1-63dd-4f29-9932-df3a9735f490" providerId="ADAL" clId="{FC83FA74-9C6C-494A-B4A7-F24DFB5E5CF4}" dt="2023-06-04T06:45:15.669" v="6" actId="47"/>
        <pc:sldMkLst>
          <pc:docMk/>
          <pc:sldMk cId="1139212183" sldId="3692"/>
        </pc:sldMkLst>
      </pc:sldChg>
      <pc:sldChg chg="modSp add mod">
        <pc:chgData name="Scott Sink" userId="007532c1-63dd-4f29-9932-df3a9735f490" providerId="ADAL" clId="{FC83FA74-9C6C-494A-B4A7-F24DFB5E5CF4}" dt="2023-06-11T09:53:29.122" v="5450" actId="20577"/>
        <pc:sldMkLst>
          <pc:docMk/>
          <pc:sldMk cId="1776187233" sldId="3692"/>
        </pc:sldMkLst>
        <pc:spChg chg="mod">
          <ac:chgData name="Scott Sink" userId="007532c1-63dd-4f29-9932-df3a9735f490" providerId="ADAL" clId="{FC83FA74-9C6C-494A-B4A7-F24DFB5E5CF4}" dt="2023-06-11T09:53:29.122" v="5450" actId="20577"/>
          <ac:spMkLst>
            <pc:docMk/>
            <pc:sldMk cId="1776187233" sldId="3692"/>
            <ac:spMk id="6" creationId="{00000000-0000-0000-0000-000000000000}"/>
          </ac:spMkLst>
        </pc:spChg>
      </pc:sldChg>
      <pc:sldChg chg="del">
        <pc:chgData name="Scott Sink" userId="007532c1-63dd-4f29-9932-df3a9735f490" providerId="ADAL" clId="{FC83FA74-9C6C-494A-B4A7-F24DFB5E5CF4}" dt="2023-06-04T06:45:16.341" v="7" actId="47"/>
        <pc:sldMkLst>
          <pc:docMk/>
          <pc:sldMk cId="2386247978" sldId="3693"/>
        </pc:sldMkLst>
      </pc:sldChg>
      <pc:sldChg chg="add ord">
        <pc:chgData name="Scott Sink" userId="007532c1-63dd-4f29-9932-df3a9735f490" providerId="ADAL" clId="{FC83FA74-9C6C-494A-B4A7-F24DFB5E5CF4}" dt="2023-06-11T09:53:53.026" v="5452"/>
        <pc:sldMkLst>
          <pc:docMk/>
          <pc:sldMk cId="4059728307" sldId="3693"/>
        </pc:sldMkLst>
      </pc:sldChg>
      <pc:sldChg chg="addSp delSp modSp add mod ord">
        <pc:chgData name="Scott Sink" userId="007532c1-63dd-4f29-9932-df3a9735f490" providerId="ADAL" clId="{FC83FA74-9C6C-494A-B4A7-F24DFB5E5CF4}" dt="2023-06-11T09:57:56.280" v="5666" actId="403"/>
        <pc:sldMkLst>
          <pc:docMk/>
          <pc:sldMk cId="615662507" sldId="3694"/>
        </pc:sldMkLst>
        <pc:spChg chg="mod">
          <ac:chgData name="Scott Sink" userId="007532c1-63dd-4f29-9932-df3a9735f490" providerId="ADAL" clId="{FC83FA74-9C6C-494A-B4A7-F24DFB5E5CF4}" dt="2023-06-10T12:05:02.182" v="1306" actId="1076"/>
          <ac:spMkLst>
            <pc:docMk/>
            <pc:sldMk cId="615662507" sldId="3694"/>
            <ac:spMk id="2" creationId="{4B0AD04C-4B7B-4B25-B277-A9A3C13DB393}"/>
          </ac:spMkLst>
        </pc:spChg>
        <pc:spChg chg="add mod">
          <ac:chgData name="Scott Sink" userId="007532c1-63dd-4f29-9932-df3a9735f490" providerId="ADAL" clId="{FC83FA74-9C6C-494A-B4A7-F24DFB5E5CF4}" dt="2023-06-11T09:57:39.748" v="5662" actId="1076"/>
          <ac:spMkLst>
            <pc:docMk/>
            <pc:sldMk cId="615662507" sldId="3694"/>
            <ac:spMk id="3" creationId="{1D009894-6A29-FBD7-CD3E-4B2DD2796C80}"/>
          </ac:spMkLst>
        </pc:spChg>
        <pc:spChg chg="del mod">
          <ac:chgData name="Scott Sink" userId="007532c1-63dd-4f29-9932-df3a9735f490" providerId="ADAL" clId="{FC83FA74-9C6C-494A-B4A7-F24DFB5E5CF4}" dt="2023-06-10T12:06:10.727" v="1330" actId="478"/>
          <ac:spMkLst>
            <pc:docMk/>
            <pc:sldMk cId="615662507" sldId="3694"/>
            <ac:spMk id="5" creationId="{91AF4710-E7ED-4C43-93C6-634B527FF067}"/>
          </ac:spMkLst>
        </pc:spChg>
        <pc:spChg chg="add mod">
          <ac:chgData name="Scott Sink" userId="007532c1-63dd-4f29-9932-df3a9735f490" providerId="ADAL" clId="{FC83FA74-9C6C-494A-B4A7-F24DFB5E5CF4}" dt="2023-06-11T09:57:49.438" v="5664" actId="14100"/>
          <ac:spMkLst>
            <pc:docMk/>
            <pc:sldMk cId="615662507" sldId="3694"/>
            <ac:spMk id="6" creationId="{85F26717-2DAE-38F0-47C5-BB563A2ACE38}"/>
          </ac:spMkLst>
        </pc:spChg>
        <pc:spChg chg="add mod">
          <ac:chgData name="Scott Sink" userId="007532c1-63dd-4f29-9932-df3a9735f490" providerId="ADAL" clId="{FC83FA74-9C6C-494A-B4A7-F24DFB5E5CF4}" dt="2023-06-11T09:57:51.902" v="5665" actId="1076"/>
          <ac:spMkLst>
            <pc:docMk/>
            <pc:sldMk cId="615662507" sldId="3694"/>
            <ac:spMk id="8" creationId="{C6689DEB-6AEA-D1B4-4F86-EF891B555EBB}"/>
          </ac:spMkLst>
        </pc:spChg>
        <pc:spChg chg="add mod">
          <ac:chgData name="Scott Sink" userId="007532c1-63dd-4f29-9932-df3a9735f490" providerId="ADAL" clId="{FC83FA74-9C6C-494A-B4A7-F24DFB5E5CF4}" dt="2023-06-11T09:57:56.280" v="5666" actId="403"/>
          <ac:spMkLst>
            <pc:docMk/>
            <pc:sldMk cId="615662507" sldId="3694"/>
            <ac:spMk id="10" creationId="{0C5C9E40-71DE-F966-AA4D-52F39823F324}"/>
          </ac:spMkLst>
        </pc:spChg>
        <pc:spChg chg="add mod">
          <ac:chgData name="Scott Sink" userId="007532c1-63dd-4f29-9932-df3a9735f490" providerId="ADAL" clId="{FC83FA74-9C6C-494A-B4A7-F24DFB5E5CF4}" dt="2023-06-11T09:57:22.035" v="5658" actId="1076"/>
          <ac:spMkLst>
            <pc:docMk/>
            <pc:sldMk cId="615662507" sldId="3694"/>
            <ac:spMk id="11" creationId="{A38028F8-AAE6-9909-6EE6-B2FCA93768F9}"/>
          </ac:spMkLst>
        </pc:spChg>
        <pc:picChg chg="del mod">
          <ac:chgData name="Scott Sink" userId="007532c1-63dd-4f29-9932-df3a9735f490" providerId="ADAL" clId="{FC83FA74-9C6C-494A-B4A7-F24DFB5E5CF4}" dt="2023-06-10T12:06:09.909" v="1329" actId="478"/>
          <ac:picMkLst>
            <pc:docMk/>
            <pc:sldMk cId="615662507" sldId="3694"/>
            <ac:picMk id="4" creationId="{65E46EC6-C6B7-438D-A30A-EB95E873D14E}"/>
          </ac:picMkLst>
        </pc:picChg>
        <pc:picChg chg="mod">
          <ac:chgData name="Scott Sink" userId="007532c1-63dd-4f29-9932-df3a9735f490" providerId="ADAL" clId="{FC83FA74-9C6C-494A-B4A7-F24DFB5E5CF4}" dt="2023-06-10T12:06:53.893" v="1391" actId="1076"/>
          <ac:picMkLst>
            <pc:docMk/>
            <pc:sldMk cId="615662507" sldId="3694"/>
            <ac:picMk id="9" creationId="{A36FBAF7-2856-4E8A-B0E6-21935FB26597}"/>
          </ac:picMkLst>
        </pc:picChg>
      </pc:sldChg>
      <pc:sldChg chg="del">
        <pc:chgData name="Scott Sink" userId="007532c1-63dd-4f29-9932-df3a9735f490" providerId="ADAL" clId="{FC83FA74-9C6C-494A-B4A7-F24DFB5E5CF4}" dt="2023-06-04T06:45:17.828" v="8" actId="47"/>
        <pc:sldMkLst>
          <pc:docMk/>
          <pc:sldMk cId="1983506577" sldId="3694"/>
        </pc:sldMkLst>
      </pc:sldChg>
      <pc:sldChg chg="modSp add mod ord">
        <pc:chgData name="Scott Sink" userId="007532c1-63dd-4f29-9932-df3a9735f490" providerId="ADAL" clId="{FC83FA74-9C6C-494A-B4A7-F24DFB5E5CF4}" dt="2023-06-13T05:54:12.683" v="12325" actId="113"/>
        <pc:sldMkLst>
          <pc:docMk/>
          <pc:sldMk cId="2105768483" sldId="3695"/>
        </pc:sldMkLst>
        <pc:spChg chg="mod">
          <ac:chgData name="Scott Sink" userId="007532c1-63dd-4f29-9932-df3a9735f490" providerId="ADAL" clId="{FC83FA74-9C6C-494A-B4A7-F24DFB5E5CF4}" dt="2023-06-13T05:54:12.683" v="12325" actId="113"/>
          <ac:spMkLst>
            <pc:docMk/>
            <pc:sldMk cId="2105768483" sldId="3695"/>
            <ac:spMk id="4" creationId="{88C7629B-6886-495B-B516-48C88532A936}"/>
          </ac:spMkLst>
        </pc:spChg>
      </pc:sldChg>
      <pc:sldChg chg="del">
        <pc:chgData name="Scott Sink" userId="007532c1-63dd-4f29-9932-df3a9735f490" providerId="ADAL" clId="{FC83FA74-9C6C-494A-B4A7-F24DFB5E5CF4}" dt="2023-06-04T06:45:18.579" v="9" actId="47"/>
        <pc:sldMkLst>
          <pc:docMk/>
          <pc:sldMk cId="3009266004" sldId="3695"/>
        </pc:sldMkLst>
      </pc:sldChg>
      <pc:sldChg chg="addSp modSp add mod ord">
        <pc:chgData name="Scott Sink" userId="007532c1-63dd-4f29-9932-df3a9735f490" providerId="ADAL" clId="{FC83FA74-9C6C-494A-B4A7-F24DFB5E5CF4}" dt="2023-06-13T05:55:57.282" v="12410" actId="1076"/>
        <pc:sldMkLst>
          <pc:docMk/>
          <pc:sldMk cId="1958007175" sldId="3696"/>
        </pc:sldMkLst>
        <pc:spChg chg="add mod">
          <ac:chgData name="Scott Sink" userId="007532c1-63dd-4f29-9932-df3a9735f490" providerId="ADAL" clId="{FC83FA74-9C6C-494A-B4A7-F24DFB5E5CF4}" dt="2023-06-13T05:55:48.968" v="12408" actId="113"/>
          <ac:spMkLst>
            <pc:docMk/>
            <pc:sldMk cId="1958007175" sldId="3696"/>
            <ac:spMk id="2" creationId="{8FD6A44B-B8E9-D747-2AAB-3F5EE35A92C8}"/>
          </ac:spMkLst>
        </pc:spChg>
        <pc:spChg chg="mod">
          <ac:chgData name="Scott Sink" userId="007532c1-63dd-4f29-9932-df3a9735f490" providerId="ADAL" clId="{FC83FA74-9C6C-494A-B4A7-F24DFB5E5CF4}" dt="2023-06-13T05:55:55.420" v="12409" actId="1076"/>
          <ac:spMkLst>
            <pc:docMk/>
            <pc:sldMk cId="1958007175" sldId="3696"/>
            <ac:spMk id="31747" creationId="{00000000-0000-0000-0000-000000000000}"/>
          </ac:spMkLst>
        </pc:spChg>
        <pc:spChg chg="mod">
          <ac:chgData name="Scott Sink" userId="007532c1-63dd-4f29-9932-df3a9735f490" providerId="ADAL" clId="{FC83FA74-9C6C-494A-B4A7-F24DFB5E5CF4}" dt="2023-06-13T05:55:19.861" v="12400" actId="1076"/>
          <ac:spMkLst>
            <pc:docMk/>
            <pc:sldMk cId="1958007175" sldId="3696"/>
            <ac:spMk id="31748" creationId="{00000000-0000-0000-0000-000000000000}"/>
          </ac:spMkLst>
        </pc:spChg>
        <pc:spChg chg="mod">
          <ac:chgData name="Scott Sink" userId="007532c1-63dd-4f29-9932-df3a9735f490" providerId="ADAL" clId="{FC83FA74-9C6C-494A-B4A7-F24DFB5E5CF4}" dt="2023-06-13T05:55:24.613" v="12402" actId="1076"/>
          <ac:spMkLst>
            <pc:docMk/>
            <pc:sldMk cId="1958007175" sldId="3696"/>
            <ac:spMk id="31749" creationId="{00000000-0000-0000-0000-000000000000}"/>
          </ac:spMkLst>
        </pc:spChg>
        <pc:spChg chg="mod">
          <ac:chgData name="Scott Sink" userId="007532c1-63dd-4f29-9932-df3a9735f490" providerId="ADAL" clId="{FC83FA74-9C6C-494A-B4A7-F24DFB5E5CF4}" dt="2023-06-13T05:55:57.282" v="12410" actId="1076"/>
          <ac:spMkLst>
            <pc:docMk/>
            <pc:sldMk cId="1958007175" sldId="3696"/>
            <ac:spMk id="31750" creationId="{00000000-0000-0000-0000-000000000000}"/>
          </ac:spMkLst>
        </pc:spChg>
        <pc:spChg chg="mod">
          <ac:chgData name="Scott Sink" userId="007532c1-63dd-4f29-9932-df3a9735f490" providerId="ADAL" clId="{FC83FA74-9C6C-494A-B4A7-F24DFB5E5CF4}" dt="2023-06-13T05:55:21.968" v="12401" actId="1076"/>
          <ac:spMkLst>
            <pc:docMk/>
            <pc:sldMk cId="1958007175" sldId="3696"/>
            <ac:spMk id="31751" creationId="{00000000-0000-0000-0000-000000000000}"/>
          </ac:spMkLst>
        </pc:spChg>
        <pc:spChg chg="mod">
          <ac:chgData name="Scott Sink" userId="007532c1-63dd-4f29-9932-df3a9735f490" providerId="ADAL" clId="{FC83FA74-9C6C-494A-B4A7-F24DFB5E5CF4}" dt="2023-06-13T05:55:26.949" v="12403" actId="1076"/>
          <ac:spMkLst>
            <pc:docMk/>
            <pc:sldMk cId="1958007175" sldId="3696"/>
            <ac:spMk id="31752" creationId="{00000000-0000-0000-0000-000000000000}"/>
          </ac:spMkLst>
        </pc:spChg>
        <pc:spChg chg="mod">
          <ac:chgData name="Scott Sink" userId="007532c1-63dd-4f29-9932-df3a9735f490" providerId="ADAL" clId="{FC83FA74-9C6C-494A-B4A7-F24DFB5E5CF4}" dt="2023-06-13T05:54:35.265" v="12326" actId="1076"/>
          <ac:spMkLst>
            <pc:docMk/>
            <pc:sldMk cId="1958007175" sldId="3696"/>
            <ac:spMk id="393225" creationId="{00000000-0000-0000-0000-000000000000}"/>
          </ac:spMkLst>
        </pc:spChg>
      </pc:sldChg>
      <pc:sldChg chg="del">
        <pc:chgData name="Scott Sink" userId="007532c1-63dd-4f29-9932-df3a9735f490" providerId="ADAL" clId="{FC83FA74-9C6C-494A-B4A7-F24DFB5E5CF4}" dt="2023-06-04T06:45:19.233" v="10" actId="47"/>
        <pc:sldMkLst>
          <pc:docMk/>
          <pc:sldMk cId="2565760412" sldId="3696"/>
        </pc:sldMkLst>
      </pc:sldChg>
      <pc:sldChg chg="modSp add mod ord">
        <pc:chgData name="Scott Sink" userId="007532c1-63dd-4f29-9932-df3a9735f490" providerId="ADAL" clId="{FC83FA74-9C6C-494A-B4A7-F24DFB5E5CF4}" dt="2023-06-13T10:39:01.505" v="14142" actId="20577"/>
        <pc:sldMkLst>
          <pc:docMk/>
          <pc:sldMk cId="2283736091" sldId="3697"/>
        </pc:sldMkLst>
        <pc:spChg chg="mod">
          <ac:chgData name="Scott Sink" userId="007532c1-63dd-4f29-9932-df3a9735f490" providerId="ADAL" clId="{FC83FA74-9C6C-494A-B4A7-F24DFB5E5CF4}" dt="2023-06-13T10:39:01.505" v="14142" actId="20577"/>
          <ac:spMkLst>
            <pc:docMk/>
            <pc:sldMk cId="2283736091" sldId="3697"/>
            <ac:spMk id="107522" creationId="{00000000-0000-0000-0000-000000000000}"/>
          </ac:spMkLst>
        </pc:spChg>
      </pc:sldChg>
      <pc:sldChg chg="del">
        <pc:chgData name="Scott Sink" userId="007532c1-63dd-4f29-9932-df3a9735f490" providerId="ADAL" clId="{FC83FA74-9C6C-494A-B4A7-F24DFB5E5CF4}" dt="2023-06-04T06:45:19.783" v="11" actId="47"/>
        <pc:sldMkLst>
          <pc:docMk/>
          <pc:sldMk cId="3111554149" sldId="3697"/>
        </pc:sldMkLst>
      </pc:sldChg>
      <pc:sldChg chg="add">
        <pc:chgData name="Scott Sink" userId="007532c1-63dd-4f29-9932-df3a9735f490" providerId="ADAL" clId="{FC83FA74-9C6C-494A-B4A7-F24DFB5E5CF4}" dt="2023-06-10T07:59:49.033" v="1045"/>
        <pc:sldMkLst>
          <pc:docMk/>
          <pc:sldMk cId="1233541946" sldId="3698"/>
        </pc:sldMkLst>
      </pc:sldChg>
      <pc:sldChg chg="del">
        <pc:chgData name="Scott Sink" userId="007532c1-63dd-4f29-9932-df3a9735f490" providerId="ADAL" clId="{FC83FA74-9C6C-494A-B4A7-F24DFB5E5CF4}" dt="2023-06-04T06:45:20.183" v="12" actId="47"/>
        <pc:sldMkLst>
          <pc:docMk/>
          <pc:sldMk cId="2504360793" sldId="3698"/>
        </pc:sldMkLst>
      </pc:sldChg>
      <pc:sldChg chg="addSp modSp add mod">
        <pc:chgData name="Scott Sink" userId="007532c1-63dd-4f29-9932-df3a9735f490" providerId="ADAL" clId="{FC83FA74-9C6C-494A-B4A7-F24DFB5E5CF4}" dt="2023-06-13T06:01:34.300" v="12686" actId="20577"/>
        <pc:sldMkLst>
          <pc:docMk/>
          <pc:sldMk cId="3014079232" sldId="3699"/>
        </pc:sldMkLst>
        <pc:spChg chg="mod">
          <ac:chgData name="Scott Sink" userId="007532c1-63dd-4f29-9932-df3a9735f490" providerId="ADAL" clId="{FC83FA74-9C6C-494A-B4A7-F24DFB5E5CF4}" dt="2023-06-13T06:01:34.300" v="12686" actId="20577"/>
          <ac:spMkLst>
            <pc:docMk/>
            <pc:sldMk cId="3014079232" sldId="3699"/>
            <ac:spMk id="2" creationId="{091E8D24-BAFC-4024-B299-7304F3093BD0}"/>
          </ac:spMkLst>
        </pc:spChg>
        <pc:spChg chg="mod">
          <ac:chgData name="Scott Sink" userId="007532c1-63dd-4f29-9932-df3a9735f490" providerId="ADAL" clId="{FC83FA74-9C6C-494A-B4A7-F24DFB5E5CF4}" dt="2023-06-10T13:03:45.561" v="4066" actId="20577"/>
          <ac:spMkLst>
            <pc:docMk/>
            <pc:sldMk cId="3014079232" sldId="3699"/>
            <ac:spMk id="68610" creationId="{E590AAF4-5EC4-4395-B45C-55DFFA5E7CAD}"/>
          </ac:spMkLst>
        </pc:spChg>
        <pc:cxnChg chg="add mod">
          <ac:chgData name="Scott Sink" userId="007532c1-63dd-4f29-9932-df3a9735f490" providerId="ADAL" clId="{FC83FA74-9C6C-494A-B4A7-F24DFB5E5CF4}" dt="2023-06-13T06:00:37.085" v="12570" actId="13822"/>
          <ac:cxnSpMkLst>
            <pc:docMk/>
            <pc:sldMk cId="3014079232" sldId="3699"/>
            <ac:cxnSpMk id="4" creationId="{46A156D2-3375-C52C-B00B-31F5D40A89E0}"/>
          </ac:cxnSpMkLst>
        </pc:cxnChg>
      </pc:sldChg>
      <pc:sldChg chg="del">
        <pc:chgData name="Scott Sink" userId="007532c1-63dd-4f29-9932-df3a9735f490" providerId="ADAL" clId="{FC83FA74-9C6C-494A-B4A7-F24DFB5E5CF4}" dt="2023-06-04T06:45:20.542" v="13" actId="47"/>
        <pc:sldMkLst>
          <pc:docMk/>
          <pc:sldMk cId="3766282110" sldId="3699"/>
        </pc:sldMkLst>
      </pc:sldChg>
      <pc:sldChg chg="del">
        <pc:chgData name="Scott Sink" userId="007532c1-63dd-4f29-9932-df3a9735f490" providerId="ADAL" clId="{FC83FA74-9C6C-494A-B4A7-F24DFB5E5CF4}" dt="2023-06-04T06:45:20.917" v="14" actId="47"/>
        <pc:sldMkLst>
          <pc:docMk/>
          <pc:sldMk cId="1589728508" sldId="3700"/>
        </pc:sldMkLst>
      </pc:sldChg>
      <pc:sldChg chg="modSp add del mod">
        <pc:chgData name="Scott Sink" userId="007532c1-63dd-4f29-9932-df3a9735f490" providerId="ADAL" clId="{FC83FA74-9C6C-494A-B4A7-F24DFB5E5CF4}" dt="2023-06-12T11:11:02.093" v="11015" actId="47"/>
        <pc:sldMkLst>
          <pc:docMk/>
          <pc:sldMk cId="3583780884" sldId="3700"/>
        </pc:sldMkLst>
        <pc:spChg chg="mod">
          <ac:chgData name="Scott Sink" userId="007532c1-63dd-4f29-9932-df3a9735f490" providerId="ADAL" clId="{FC83FA74-9C6C-494A-B4A7-F24DFB5E5CF4}" dt="2023-06-12T09:06:53.130" v="8240" actId="403"/>
          <ac:spMkLst>
            <pc:docMk/>
            <pc:sldMk cId="3583780884" sldId="3700"/>
            <ac:spMk id="2" creationId="{125B1023-5534-4B60-A6EE-8708C2DCA048}"/>
          </ac:spMkLst>
        </pc:spChg>
        <pc:spChg chg="mod">
          <ac:chgData name="Scott Sink" userId="007532c1-63dd-4f29-9932-df3a9735f490" providerId="ADAL" clId="{FC83FA74-9C6C-494A-B4A7-F24DFB5E5CF4}" dt="2023-06-10T13:04:30.026" v="4146" actId="5793"/>
          <ac:spMkLst>
            <pc:docMk/>
            <pc:sldMk cId="3583780884" sldId="3700"/>
            <ac:spMk id="68610" creationId="{E590AAF4-5EC4-4395-B45C-55DFFA5E7CAD}"/>
          </ac:spMkLst>
        </pc:spChg>
      </pc:sldChg>
      <pc:sldChg chg="addSp modSp add mod ord">
        <pc:chgData name="Scott Sink" userId="007532c1-63dd-4f29-9932-df3a9735f490" providerId="ADAL" clId="{FC83FA74-9C6C-494A-B4A7-F24DFB5E5CF4}" dt="2023-06-13T13:56:27.351" v="14486" actId="14100"/>
        <pc:sldMkLst>
          <pc:docMk/>
          <pc:sldMk cId="246832215" sldId="3701"/>
        </pc:sldMkLst>
        <pc:spChg chg="add mod">
          <ac:chgData name="Scott Sink" userId="007532c1-63dd-4f29-9932-df3a9735f490" providerId="ADAL" clId="{FC83FA74-9C6C-494A-B4A7-F24DFB5E5CF4}" dt="2023-06-13T13:56:27.351" v="14486" actId="14100"/>
          <ac:spMkLst>
            <pc:docMk/>
            <pc:sldMk cId="246832215" sldId="3701"/>
            <ac:spMk id="3" creationId="{1CA5C6ED-4FBE-1082-089F-8DE5DD85D7E3}"/>
          </ac:spMkLst>
        </pc:spChg>
        <pc:spChg chg="mod">
          <ac:chgData name="Scott Sink" userId="007532c1-63dd-4f29-9932-df3a9735f490" providerId="ADAL" clId="{FC83FA74-9C6C-494A-B4A7-F24DFB5E5CF4}" dt="2023-06-12T09:35:01.981" v="9458" actId="20577"/>
          <ac:spMkLst>
            <pc:docMk/>
            <pc:sldMk cId="246832215" sldId="3701"/>
            <ac:spMk id="68610" creationId="{E590AAF4-5EC4-4395-B45C-55DFFA5E7CAD}"/>
          </ac:spMkLst>
        </pc:spChg>
      </pc:sldChg>
      <pc:sldChg chg="del">
        <pc:chgData name="Scott Sink" userId="007532c1-63dd-4f29-9932-df3a9735f490" providerId="ADAL" clId="{FC83FA74-9C6C-494A-B4A7-F24DFB5E5CF4}" dt="2023-06-04T06:45:21.300" v="15" actId="47"/>
        <pc:sldMkLst>
          <pc:docMk/>
          <pc:sldMk cId="896845260" sldId="3701"/>
        </pc:sldMkLst>
      </pc:sldChg>
      <pc:sldChg chg="del">
        <pc:chgData name="Scott Sink" userId="007532c1-63dd-4f29-9932-df3a9735f490" providerId="ADAL" clId="{FC83FA74-9C6C-494A-B4A7-F24DFB5E5CF4}" dt="2023-06-04T06:45:21.616" v="16" actId="47"/>
        <pc:sldMkLst>
          <pc:docMk/>
          <pc:sldMk cId="1088496890" sldId="3702"/>
        </pc:sldMkLst>
      </pc:sldChg>
      <pc:sldChg chg="addSp modSp add mod ord">
        <pc:chgData name="Scott Sink" userId="007532c1-63dd-4f29-9932-df3a9735f490" providerId="ADAL" clId="{FC83FA74-9C6C-494A-B4A7-F24DFB5E5CF4}" dt="2023-06-13T06:19:23.248" v="12910"/>
        <pc:sldMkLst>
          <pc:docMk/>
          <pc:sldMk cId="2221338391" sldId="3702"/>
        </pc:sldMkLst>
        <pc:spChg chg="mod">
          <ac:chgData name="Scott Sink" userId="007532c1-63dd-4f29-9932-df3a9735f490" providerId="ADAL" clId="{FC83FA74-9C6C-494A-B4A7-F24DFB5E5CF4}" dt="2023-06-12T09:46:26.001" v="9508" actId="14100"/>
          <ac:spMkLst>
            <pc:docMk/>
            <pc:sldMk cId="2221338391" sldId="3702"/>
            <ac:spMk id="2" creationId="{00000000-0000-0000-0000-000000000000}"/>
          </ac:spMkLst>
        </pc:spChg>
        <pc:spChg chg="mod">
          <ac:chgData name="Scott Sink" userId="007532c1-63dd-4f29-9932-df3a9735f490" providerId="ADAL" clId="{FC83FA74-9C6C-494A-B4A7-F24DFB5E5CF4}" dt="2023-06-12T09:46:39.879" v="9513" actId="403"/>
          <ac:spMkLst>
            <pc:docMk/>
            <pc:sldMk cId="2221338391" sldId="3702"/>
            <ac:spMk id="3" creationId="{C1764838-A0B5-4E58-B7BF-C4C82F4AC87C}"/>
          </ac:spMkLst>
        </pc:spChg>
        <pc:spChg chg="add mod">
          <ac:chgData name="Scott Sink" userId="007532c1-63dd-4f29-9932-df3a9735f490" providerId="ADAL" clId="{FC83FA74-9C6C-494A-B4A7-F24DFB5E5CF4}" dt="2023-06-11T20:26:55.222" v="7431" actId="207"/>
          <ac:spMkLst>
            <pc:docMk/>
            <pc:sldMk cId="2221338391" sldId="3702"/>
            <ac:spMk id="5" creationId="{7364D400-C3D8-A538-A517-DC599D21774A}"/>
          </ac:spMkLst>
        </pc:spChg>
        <pc:picChg chg="mod">
          <ac:chgData name="Scott Sink" userId="007532c1-63dd-4f29-9932-df3a9735f490" providerId="ADAL" clId="{FC83FA74-9C6C-494A-B4A7-F24DFB5E5CF4}" dt="2023-06-11T20:26:01.764" v="7388" actId="1076"/>
          <ac:picMkLst>
            <pc:docMk/>
            <pc:sldMk cId="2221338391" sldId="3702"/>
            <ac:picMk id="30722" creationId="{00000000-0000-0000-0000-000000000000}"/>
          </ac:picMkLst>
        </pc:picChg>
      </pc:sldChg>
      <pc:sldChg chg="add del">
        <pc:chgData name="Scott Sink" userId="007532c1-63dd-4f29-9932-df3a9735f490" providerId="ADAL" clId="{FC83FA74-9C6C-494A-B4A7-F24DFB5E5CF4}" dt="2023-06-12T09:59:16.010" v="10056" actId="47"/>
        <pc:sldMkLst>
          <pc:docMk/>
          <pc:sldMk cId="2008903850" sldId="3703"/>
        </pc:sldMkLst>
      </pc:sldChg>
      <pc:sldChg chg="del">
        <pc:chgData name="Scott Sink" userId="007532c1-63dd-4f29-9932-df3a9735f490" providerId="ADAL" clId="{FC83FA74-9C6C-494A-B4A7-F24DFB5E5CF4}" dt="2023-06-04T06:45:21.887" v="17" actId="47"/>
        <pc:sldMkLst>
          <pc:docMk/>
          <pc:sldMk cId="3899950260" sldId="3703"/>
        </pc:sldMkLst>
      </pc:sldChg>
      <pc:sldChg chg="del">
        <pc:chgData name="Scott Sink" userId="007532c1-63dd-4f29-9932-df3a9735f490" providerId="ADAL" clId="{FC83FA74-9C6C-494A-B4A7-F24DFB5E5CF4}" dt="2023-06-04T06:45:22.192" v="18" actId="47"/>
        <pc:sldMkLst>
          <pc:docMk/>
          <pc:sldMk cId="3990148524" sldId="3704"/>
        </pc:sldMkLst>
      </pc:sldChg>
      <pc:sldChg chg="add del">
        <pc:chgData name="Scott Sink" userId="007532c1-63dd-4f29-9932-df3a9735f490" providerId="ADAL" clId="{FC83FA74-9C6C-494A-B4A7-F24DFB5E5CF4}" dt="2023-06-10T14:55:37.150" v="4914" actId="47"/>
        <pc:sldMkLst>
          <pc:docMk/>
          <pc:sldMk cId="4050323458" sldId="3704"/>
        </pc:sldMkLst>
      </pc:sldChg>
      <pc:sldChg chg="del">
        <pc:chgData name="Scott Sink" userId="007532c1-63dd-4f29-9932-df3a9735f490" providerId="ADAL" clId="{FC83FA74-9C6C-494A-B4A7-F24DFB5E5CF4}" dt="2023-06-04T06:45:22.462" v="19" actId="47"/>
        <pc:sldMkLst>
          <pc:docMk/>
          <pc:sldMk cId="230616618" sldId="3705"/>
        </pc:sldMkLst>
      </pc:sldChg>
      <pc:sldChg chg="add del">
        <pc:chgData name="Scott Sink" userId="007532c1-63dd-4f29-9932-df3a9735f490" providerId="ADAL" clId="{FC83FA74-9C6C-494A-B4A7-F24DFB5E5CF4}" dt="2023-06-11T09:43:48.537" v="4915" actId="47"/>
        <pc:sldMkLst>
          <pc:docMk/>
          <pc:sldMk cId="746193570" sldId="3705"/>
        </pc:sldMkLst>
      </pc:sldChg>
      <pc:sldChg chg="modSp add mod">
        <pc:chgData name="Scott Sink" userId="007532c1-63dd-4f29-9932-df3a9735f490" providerId="ADAL" clId="{FC83FA74-9C6C-494A-B4A7-F24DFB5E5CF4}" dt="2023-06-11T09:45:19.037" v="5043" actId="404"/>
        <pc:sldMkLst>
          <pc:docMk/>
          <pc:sldMk cId="99492927" sldId="3706"/>
        </pc:sldMkLst>
        <pc:spChg chg="mod">
          <ac:chgData name="Scott Sink" userId="007532c1-63dd-4f29-9932-df3a9735f490" providerId="ADAL" clId="{FC83FA74-9C6C-494A-B4A7-F24DFB5E5CF4}" dt="2023-06-11T09:45:19.037" v="5043" actId="404"/>
          <ac:spMkLst>
            <pc:docMk/>
            <pc:sldMk cId="99492927" sldId="3706"/>
            <ac:spMk id="2" creationId="{00000000-0000-0000-0000-000000000000}"/>
          </ac:spMkLst>
        </pc:spChg>
        <pc:spChg chg="mod">
          <ac:chgData name="Scott Sink" userId="007532c1-63dd-4f29-9932-df3a9735f490" providerId="ADAL" clId="{FC83FA74-9C6C-494A-B4A7-F24DFB5E5CF4}" dt="2023-06-11T09:44:49.004" v="4988" actId="1076"/>
          <ac:spMkLst>
            <pc:docMk/>
            <pc:sldMk cId="99492927" sldId="3706"/>
            <ac:spMk id="3" creationId="{00000000-0000-0000-0000-000000000000}"/>
          </ac:spMkLst>
        </pc:spChg>
      </pc:sldChg>
      <pc:sldChg chg="del">
        <pc:chgData name="Scott Sink" userId="007532c1-63dd-4f29-9932-df3a9735f490" providerId="ADAL" clId="{FC83FA74-9C6C-494A-B4A7-F24DFB5E5CF4}" dt="2023-06-04T06:45:22.718" v="20" actId="47"/>
        <pc:sldMkLst>
          <pc:docMk/>
          <pc:sldMk cId="3195592877" sldId="3706"/>
        </pc:sldMkLst>
      </pc:sldChg>
      <pc:sldChg chg="del">
        <pc:chgData name="Scott Sink" userId="007532c1-63dd-4f29-9932-df3a9735f490" providerId="ADAL" clId="{FC83FA74-9C6C-494A-B4A7-F24DFB5E5CF4}" dt="2023-06-04T06:45:22.983" v="21" actId="47"/>
        <pc:sldMkLst>
          <pc:docMk/>
          <pc:sldMk cId="735213613" sldId="3707"/>
        </pc:sldMkLst>
      </pc:sldChg>
      <pc:sldChg chg="addSp modSp add mod">
        <pc:chgData name="Scott Sink" userId="007532c1-63dd-4f29-9932-df3a9735f490" providerId="ADAL" clId="{FC83FA74-9C6C-494A-B4A7-F24DFB5E5CF4}" dt="2023-06-13T06:42:19.266" v="14097" actId="20577"/>
        <pc:sldMkLst>
          <pc:docMk/>
          <pc:sldMk cId="1725456752" sldId="3707"/>
        </pc:sldMkLst>
        <pc:spChg chg="mod">
          <ac:chgData name="Scott Sink" userId="007532c1-63dd-4f29-9932-df3a9735f490" providerId="ADAL" clId="{FC83FA74-9C6C-494A-B4A7-F24DFB5E5CF4}" dt="2023-06-12T09:02:10.328" v="8045" actId="1076"/>
          <ac:spMkLst>
            <pc:docMk/>
            <pc:sldMk cId="1725456752" sldId="3707"/>
            <ac:spMk id="14" creationId="{CB9B4450-B938-40FA-96F2-E1AB0E48DD60}"/>
          </ac:spMkLst>
        </pc:spChg>
        <pc:spChg chg="mod">
          <ac:chgData name="Scott Sink" userId="007532c1-63dd-4f29-9932-df3a9735f490" providerId="ADAL" clId="{FC83FA74-9C6C-494A-B4A7-F24DFB5E5CF4}" dt="2023-06-13T06:42:19.266" v="14097" actId="20577"/>
          <ac:spMkLst>
            <pc:docMk/>
            <pc:sldMk cId="1725456752" sldId="3707"/>
            <ac:spMk id="196610" creationId="{60C8078B-F5C0-45B0-85F1-ACB18330920A}"/>
          </ac:spMkLst>
        </pc:spChg>
        <pc:picChg chg="add mod">
          <ac:chgData name="Scott Sink" userId="007532c1-63dd-4f29-9932-df3a9735f490" providerId="ADAL" clId="{FC83FA74-9C6C-494A-B4A7-F24DFB5E5CF4}" dt="2023-06-12T09:03:04.710" v="8056" actId="1076"/>
          <ac:picMkLst>
            <pc:docMk/>
            <pc:sldMk cId="1725456752" sldId="3707"/>
            <ac:picMk id="3" creationId="{E0DDA000-7599-E3CB-8429-3A2C638AD9BA}"/>
          </ac:picMkLst>
        </pc:picChg>
        <pc:picChg chg="mod">
          <ac:chgData name="Scott Sink" userId="007532c1-63dd-4f29-9932-df3a9735f490" providerId="ADAL" clId="{FC83FA74-9C6C-494A-B4A7-F24DFB5E5CF4}" dt="2023-06-12T09:02:58.428" v="8053" actId="14100"/>
          <ac:picMkLst>
            <pc:docMk/>
            <pc:sldMk cId="1725456752" sldId="3707"/>
            <ac:picMk id="4" creationId="{F7468D7E-658B-445C-8A64-F80C656E476A}"/>
          </ac:picMkLst>
        </pc:picChg>
        <pc:picChg chg="mod">
          <ac:chgData name="Scott Sink" userId="007532c1-63dd-4f29-9932-df3a9735f490" providerId="ADAL" clId="{FC83FA74-9C6C-494A-B4A7-F24DFB5E5CF4}" dt="2023-06-12T09:02:13.010" v="8046" actId="1076"/>
          <ac:picMkLst>
            <pc:docMk/>
            <pc:sldMk cId="1725456752" sldId="3707"/>
            <ac:picMk id="6" creationId="{AF56A864-CA34-4288-9B20-98CD699AB66F}"/>
          </ac:picMkLst>
        </pc:picChg>
        <pc:picChg chg="mod">
          <ac:chgData name="Scott Sink" userId="007532c1-63dd-4f29-9932-df3a9735f490" providerId="ADAL" clId="{FC83FA74-9C6C-494A-B4A7-F24DFB5E5CF4}" dt="2023-06-12T09:03:02.376" v="8055" actId="1076"/>
          <ac:picMkLst>
            <pc:docMk/>
            <pc:sldMk cId="1725456752" sldId="3707"/>
            <ac:picMk id="7" creationId="{4B02485E-8732-460C-923D-5F6B364FEC53}"/>
          </ac:picMkLst>
        </pc:picChg>
        <pc:picChg chg="add mod">
          <ac:chgData name="Scott Sink" userId="007532c1-63dd-4f29-9932-df3a9735f490" providerId="ADAL" clId="{FC83FA74-9C6C-494A-B4A7-F24DFB5E5CF4}" dt="2023-06-12T09:03:34.582" v="8060" actId="1076"/>
          <ac:picMkLst>
            <pc:docMk/>
            <pc:sldMk cId="1725456752" sldId="3707"/>
            <ac:picMk id="8" creationId="{2E3B3A70-C8FD-507C-4FCB-B2CF021AA4E1}"/>
          </ac:picMkLst>
        </pc:picChg>
        <pc:picChg chg="mod">
          <ac:chgData name="Scott Sink" userId="007532c1-63dd-4f29-9932-df3a9735f490" providerId="ADAL" clId="{FC83FA74-9C6C-494A-B4A7-F24DFB5E5CF4}" dt="2023-06-12T09:01:59.326" v="8041" actId="1076"/>
          <ac:picMkLst>
            <pc:docMk/>
            <pc:sldMk cId="1725456752" sldId="3707"/>
            <ac:picMk id="9" creationId="{50B41243-4AF9-4EFC-A6AB-6DF56A0B7F93}"/>
          </ac:picMkLst>
        </pc:picChg>
        <pc:picChg chg="mod">
          <ac:chgData name="Scott Sink" userId="007532c1-63dd-4f29-9932-df3a9735f490" providerId="ADAL" clId="{FC83FA74-9C6C-494A-B4A7-F24DFB5E5CF4}" dt="2023-06-12T09:02:15.985" v="8047" actId="1076"/>
          <ac:picMkLst>
            <pc:docMk/>
            <pc:sldMk cId="1725456752" sldId="3707"/>
            <ac:picMk id="11" creationId="{5C4D9095-A319-4A05-BCB9-4E1E0BDB56E4}"/>
          </ac:picMkLst>
        </pc:picChg>
        <pc:picChg chg="mod">
          <ac:chgData name="Scott Sink" userId="007532c1-63dd-4f29-9932-df3a9735f490" providerId="ADAL" clId="{FC83FA74-9C6C-494A-B4A7-F24DFB5E5CF4}" dt="2023-06-12T09:02:08.054" v="8044" actId="1076"/>
          <ac:picMkLst>
            <pc:docMk/>
            <pc:sldMk cId="1725456752" sldId="3707"/>
            <ac:picMk id="16" creationId="{DBAC255D-CF1C-48DE-8B99-349BA4DB9C5E}"/>
          </ac:picMkLst>
        </pc:picChg>
      </pc:sldChg>
      <pc:sldChg chg="del">
        <pc:chgData name="Scott Sink" userId="007532c1-63dd-4f29-9932-df3a9735f490" providerId="ADAL" clId="{FC83FA74-9C6C-494A-B4A7-F24DFB5E5CF4}" dt="2023-06-04T06:45:23.260" v="22" actId="47"/>
        <pc:sldMkLst>
          <pc:docMk/>
          <pc:sldMk cId="337436359" sldId="3708"/>
        </pc:sldMkLst>
      </pc:sldChg>
      <pc:sldChg chg="add">
        <pc:chgData name="Scott Sink" userId="007532c1-63dd-4f29-9932-df3a9735f490" providerId="ADAL" clId="{FC83FA74-9C6C-494A-B4A7-F24DFB5E5CF4}" dt="2023-06-10T08:01:25.615" v="1065"/>
        <pc:sldMkLst>
          <pc:docMk/>
          <pc:sldMk cId="820505946" sldId="3708"/>
        </pc:sldMkLst>
      </pc:sldChg>
      <pc:sldChg chg="add">
        <pc:chgData name="Scott Sink" userId="007532c1-63dd-4f29-9932-df3a9735f490" providerId="ADAL" clId="{FC83FA74-9C6C-494A-B4A7-F24DFB5E5CF4}" dt="2023-06-10T08:01:29.279" v="1067"/>
        <pc:sldMkLst>
          <pc:docMk/>
          <pc:sldMk cId="1376378033" sldId="3709"/>
        </pc:sldMkLst>
      </pc:sldChg>
      <pc:sldChg chg="del">
        <pc:chgData name="Scott Sink" userId="007532c1-63dd-4f29-9932-df3a9735f490" providerId="ADAL" clId="{FC83FA74-9C6C-494A-B4A7-F24DFB5E5CF4}" dt="2023-06-04T06:45:23.537" v="23" actId="47"/>
        <pc:sldMkLst>
          <pc:docMk/>
          <pc:sldMk cId="3838641964" sldId="3709"/>
        </pc:sldMkLst>
      </pc:sldChg>
      <pc:sldChg chg="add">
        <pc:chgData name="Scott Sink" userId="007532c1-63dd-4f29-9932-df3a9735f490" providerId="ADAL" clId="{FC83FA74-9C6C-494A-B4A7-F24DFB5E5CF4}" dt="2023-06-10T08:01:36.258" v="1069"/>
        <pc:sldMkLst>
          <pc:docMk/>
          <pc:sldMk cId="1670056216" sldId="3710"/>
        </pc:sldMkLst>
      </pc:sldChg>
      <pc:sldChg chg="del">
        <pc:chgData name="Scott Sink" userId="007532c1-63dd-4f29-9932-df3a9735f490" providerId="ADAL" clId="{FC83FA74-9C6C-494A-B4A7-F24DFB5E5CF4}" dt="2023-06-04T06:45:23.800" v="24" actId="47"/>
        <pc:sldMkLst>
          <pc:docMk/>
          <pc:sldMk cId="2469079551" sldId="3710"/>
        </pc:sldMkLst>
      </pc:sldChg>
      <pc:sldChg chg="del">
        <pc:chgData name="Scott Sink" userId="007532c1-63dd-4f29-9932-df3a9735f490" providerId="ADAL" clId="{FC83FA74-9C6C-494A-B4A7-F24DFB5E5CF4}" dt="2023-06-04T06:45:24.283" v="25" actId="47"/>
        <pc:sldMkLst>
          <pc:docMk/>
          <pc:sldMk cId="1212769949" sldId="3711"/>
        </pc:sldMkLst>
      </pc:sldChg>
      <pc:sldChg chg="delSp add mod ord">
        <pc:chgData name="Scott Sink" userId="007532c1-63dd-4f29-9932-df3a9735f490" providerId="ADAL" clId="{FC83FA74-9C6C-494A-B4A7-F24DFB5E5CF4}" dt="2023-06-12T08:44:00.127" v="7623" actId="478"/>
        <pc:sldMkLst>
          <pc:docMk/>
          <pc:sldMk cId="3854666165" sldId="3711"/>
        </pc:sldMkLst>
        <pc:spChg chg="del">
          <ac:chgData name="Scott Sink" userId="007532c1-63dd-4f29-9932-df3a9735f490" providerId="ADAL" clId="{FC83FA74-9C6C-494A-B4A7-F24DFB5E5CF4}" dt="2023-06-12T08:44:00.127" v="7623" actId="478"/>
          <ac:spMkLst>
            <pc:docMk/>
            <pc:sldMk cId="3854666165" sldId="3711"/>
            <ac:spMk id="4" creationId="{00000000-0000-0000-0000-000000000000}"/>
          </ac:spMkLst>
        </pc:spChg>
      </pc:sldChg>
      <pc:sldChg chg="del">
        <pc:chgData name="Scott Sink" userId="007532c1-63dd-4f29-9932-df3a9735f490" providerId="ADAL" clId="{FC83FA74-9C6C-494A-B4A7-F24DFB5E5CF4}" dt="2023-06-04T06:45:24.781" v="26" actId="47"/>
        <pc:sldMkLst>
          <pc:docMk/>
          <pc:sldMk cId="1777999867" sldId="3712"/>
        </pc:sldMkLst>
      </pc:sldChg>
      <pc:sldChg chg="add">
        <pc:chgData name="Scott Sink" userId="007532c1-63dd-4f29-9932-df3a9735f490" providerId="ADAL" clId="{FC83FA74-9C6C-494A-B4A7-F24DFB5E5CF4}" dt="2023-06-10T08:02:04.169" v="1073"/>
        <pc:sldMkLst>
          <pc:docMk/>
          <pc:sldMk cId="2377336484" sldId="3712"/>
        </pc:sldMkLst>
      </pc:sldChg>
      <pc:sldChg chg="modSp add mod ord">
        <pc:chgData name="Scott Sink" userId="007532c1-63dd-4f29-9932-df3a9735f490" providerId="ADAL" clId="{FC83FA74-9C6C-494A-B4A7-F24DFB5E5CF4}" dt="2023-06-13T06:05:56.220" v="12696" actId="1076"/>
        <pc:sldMkLst>
          <pc:docMk/>
          <pc:sldMk cId="2092835934" sldId="3713"/>
        </pc:sldMkLst>
        <pc:spChg chg="mod">
          <ac:chgData name="Scott Sink" userId="007532c1-63dd-4f29-9932-df3a9735f490" providerId="ADAL" clId="{FC83FA74-9C6C-494A-B4A7-F24DFB5E5CF4}" dt="2023-06-13T06:04:20.850" v="12694" actId="20577"/>
          <ac:spMkLst>
            <pc:docMk/>
            <pc:sldMk cId="2092835934" sldId="3713"/>
            <ac:spMk id="13" creationId="{9988262A-4CE8-4497-AFAB-CDE3938AAC06}"/>
          </ac:spMkLst>
        </pc:spChg>
        <pc:picChg chg="mod">
          <ac:chgData name="Scott Sink" userId="007532c1-63dd-4f29-9932-df3a9735f490" providerId="ADAL" clId="{FC83FA74-9C6C-494A-B4A7-F24DFB5E5CF4}" dt="2023-06-13T06:05:56.220" v="12696" actId="1076"/>
          <ac:picMkLst>
            <pc:docMk/>
            <pc:sldMk cId="2092835934" sldId="3713"/>
            <ac:picMk id="1026" creationId="{00000000-0000-0000-0000-000000000000}"/>
          </ac:picMkLst>
        </pc:picChg>
      </pc:sldChg>
      <pc:sldChg chg="del">
        <pc:chgData name="Scott Sink" userId="007532c1-63dd-4f29-9932-df3a9735f490" providerId="ADAL" clId="{FC83FA74-9C6C-494A-B4A7-F24DFB5E5CF4}" dt="2023-06-04T06:45:25.250" v="27" actId="47"/>
        <pc:sldMkLst>
          <pc:docMk/>
          <pc:sldMk cId="2275490012" sldId="3713"/>
        </pc:sldMkLst>
      </pc:sldChg>
      <pc:sldChg chg="add del">
        <pc:chgData name="Scott Sink" userId="007532c1-63dd-4f29-9932-df3a9735f490" providerId="ADAL" clId="{FC83FA74-9C6C-494A-B4A7-F24DFB5E5CF4}" dt="2023-06-12T10:11:29.318" v="10091" actId="47"/>
        <pc:sldMkLst>
          <pc:docMk/>
          <pc:sldMk cId="2433832772" sldId="3714"/>
        </pc:sldMkLst>
      </pc:sldChg>
      <pc:sldChg chg="del">
        <pc:chgData name="Scott Sink" userId="007532c1-63dd-4f29-9932-df3a9735f490" providerId="ADAL" clId="{FC83FA74-9C6C-494A-B4A7-F24DFB5E5CF4}" dt="2023-06-04T06:45:26.040" v="28" actId="47"/>
        <pc:sldMkLst>
          <pc:docMk/>
          <pc:sldMk cId="2859851823" sldId="3714"/>
        </pc:sldMkLst>
      </pc:sldChg>
      <pc:sldChg chg="add ord">
        <pc:chgData name="Scott Sink" userId="007532c1-63dd-4f29-9932-df3a9735f490" providerId="ADAL" clId="{FC83FA74-9C6C-494A-B4A7-F24DFB5E5CF4}" dt="2023-06-12T08:41:19.709" v="7615"/>
        <pc:sldMkLst>
          <pc:docMk/>
          <pc:sldMk cId="2193695439" sldId="3715"/>
        </pc:sldMkLst>
      </pc:sldChg>
      <pc:sldChg chg="del">
        <pc:chgData name="Scott Sink" userId="007532c1-63dd-4f29-9932-df3a9735f490" providerId="ADAL" clId="{FC83FA74-9C6C-494A-B4A7-F24DFB5E5CF4}" dt="2023-06-04T06:45:26.466" v="29" actId="47"/>
        <pc:sldMkLst>
          <pc:docMk/>
          <pc:sldMk cId="2974356457" sldId="3715"/>
        </pc:sldMkLst>
      </pc:sldChg>
      <pc:sldChg chg="del">
        <pc:chgData name="Scott Sink" userId="007532c1-63dd-4f29-9932-df3a9735f490" providerId="ADAL" clId="{FC83FA74-9C6C-494A-B4A7-F24DFB5E5CF4}" dt="2023-06-04T06:45:26.841" v="30" actId="47"/>
        <pc:sldMkLst>
          <pc:docMk/>
          <pc:sldMk cId="1580128679" sldId="3716"/>
        </pc:sldMkLst>
      </pc:sldChg>
      <pc:sldChg chg="add">
        <pc:chgData name="Scott Sink" userId="007532c1-63dd-4f29-9932-df3a9735f490" providerId="ADAL" clId="{FC83FA74-9C6C-494A-B4A7-F24DFB5E5CF4}" dt="2023-06-10T08:02:38.271" v="1081"/>
        <pc:sldMkLst>
          <pc:docMk/>
          <pc:sldMk cId="3396442185" sldId="3716"/>
        </pc:sldMkLst>
      </pc:sldChg>
      <pc:sldChg chg="add del ord">
        <pc:chgData name="Scott Sink" userId="007532c1-63dd-4f29-9932-df3a9735f490" providerId="ADAL" clId="{FC83FA74-9C6C-494A-B4A7-F24DFB5E5CF4}" dt="2023-06-12T10:12:14.004" v="10095"/>
        <pc:sldMkLst>
          <pc:docMk/>
          <pc:sldMk cId="1049912250" sldId="3717"/>
        </pc:sldMkLst>
      </pc:sldChg>
      <pc:sldChg chg="del">
        <pc:chgData name="Scott Sink" userId="007532c1-63dd-4f29-9932-df3a9735f490" providerId="ADAL" clId="{FC83FA74-9C6C-494A-B4A7-F24DFB5E5CF4}" dt="2023-06-04T06:45:28.221" v="31" actId="47"/>
        <pc:sldMkLst>
          <pc:docMk/>
          <pc:sldMk cId="3771296738" sldId="3717"/>
        </pc:sldMkLst>
      </pc:sldChg>
      <pc:sldChg chg="modSp add mod ord">
        <pc:chgData name="Scott Sink" userId="007532c1-63dd-4f29-9932-df3a9735f490" providerId="ADAL" clId="{FC83FA74-9C6C-494A-B4A7-F24DFB5E5CF4}" dt="2023-06-12T10:12:32.079" v="10098" actId="14100"/>
        <pc:sldMkLst>
          <pc:docMk/>
          <pc:sldMk cId="121591149" sldId="3718"/>
        </pc:sldMkLst>
        <pc:picChg chg="mod">
          <ac:chgData name="Scott Sink" userId="007532c1-63dd-4f29-9932-df3a9735f490" providerId="ADAL" clId="{FC83FA74-9C6C-494A-B4A7-F24DFB5E5CF4}" dt="2023-06-12T10:12:32.079" v="10098" actId="14100"/>
          <ac:picMkLst>
            <pc:docMk/>
            <pc:sldMk cId="121591149" sldId="3718"/>
            <ac:picMk id="6" creationId="{56E1C2B8-D1B1-45E8-8BD8-AE10D64171A4}"/>
          </ac:picMkLst>
        </pc:picChg>
      </pc:sldChg>
      <pc:sldChg chg="del">
        <pc:chgData name="Scott Sink" userId="007532c1-63dd-4f29-9932-df3a9735f490" providerId="ADAL" clId="{FC83FA74-9C6C-494A-B4A7-F24DFB5E5CF4}" dt="2023-06-04T06:45:29.790" v="32" actId="47"/>
        <pc:sldMkLst>
          <pc:docMk/>
          <pc:sldMk cId="319426285" sldId="3718"/>
        </pc:sldMkLst>
      </pc:sldChg>
      <pc:sldChg chg="add">
        <pc:chgData name="Scott Sink" userId="007532c1-63dd-4f29-9932-df3a9735f490" providerId="ADAL" clId="{FC83FA74-9C6C-494A-B4A7-F24DFB5E5CF4}" dt="2023-06-10T08:03:15.619" v="1090"/>
        <pc:sldMkLst>
          <pc:docMk/>
          <pc:sldMk cId="1217200469" sldId="3719"/>
        </pc:sldMkLst>
      </pc:sldChg>
      <pc:sldChg chg="add del">
        <pc:chgData name="Scott Sink" userId="007532c1-63dd-4f29-9932-df3a9735f490" providerId="ADAL" clId="{FC83FA74-9C6C-494A-B4A7-F24DFB5E5CF4}" dt="2023-06-10T08:03:07.303" v="1088" actId="27028"/>
        <pc:sldMkLst>
          <pc:docMk/>
          <pc:sldMk cId="1860656221" sldId="3719"/>
        </pc:sldMkLst>
      </pc:sldChg>
      <pc:sldChg chg="del">
        <pc:chgData name="Scott Sink" userId="007532c1-63dd-4f29-9932-df3a9735f490" providerId="ADAL" clId="{FC83FA74-9C6C-494A-B4A7-F24DFB5E5CF4}" dt="2023-06-04T06:45:30.751" v="33" actId="47"/>
        <pc:sldMkLst>
          <pc:docMk/>
          <pc:sldMk cId="2577538415" sldId="3719"/>
        </pc:sldMkLst>
      </pc:sldChg>
      <pc:sldChg chg="addSp delSp modSp add mod">
        <pc:chgData name="Scott Sink" userId="007532c1-63dd-4f29-9932-df3a9735f490" providerId="ADAL" clId="{FC83FA74-9C6C-494A-B4A7-F24DFB5E5CF4}" dt="2023-06-11T09:58:16.038" v="5668" actId="20577"/>
        <pc:sldMkLst>
          <pc:docMk/>
          <pc:sldMk cId="2157562518" sldId="3720"/>
        </pc:sldMkLst>
        <pc:spChg chg="del">
          <ac:chgData name="Scott Sink" userId="007532c1-63dd-4f29-9932-df3a9735f490" providerId="ADAL" clId="{FC83FA74-9C6C-494A-B4A7-F24DFB5E5CF4}" dt="2023-06-10T12:05:48.727" v="1317" actId="478"/>
          <ac:spMkLst>
            <pc:docMk/>
            <pc:sldMk cId="2157562518" sldId="3720"/>
            <ac:spMk id="3" creationId="{1D009894-6A29-FBD7-CD3E-4B2DD2796C80}"/>
          </ac:spMkLst>
        </pc:spChg>
        <pc:spChg chg="mod">
          <ac:chgData name="Scott Sink" userId="007532c1-63dd-4f29-9932-df3a9735f490" providerId="ADAL" clId="{FC83FA74-9C6C-494A-B4A7-F24DFB5E5CF4}" dt="2023-06-11T09:58:16.038" v="5668" actId="20577"/>
          <ac:spMkLst>
            <pc:docMk/>
            <pc:sldMk cId="2157562518" sldId="3720"/>
            <ac:spMk id="5" creationId="{91AF4710-E7ED-4C43-93C6-634B527FF067}"/>
          </ac:spMkLst>
        </pc:spChg>
        <pc:spChg chg="add del mod">
          <ac:chgData name="Scott Sink" userId="007532c1-63dd-4f29-9932-df3a9735f490" providerId="ADAL" clId="{FC83FA74-9C6C-494A-B4A7-F24DFB5E5CF4}" dt="2023-06-10T12:05:47.685" v="1316" actId="478"/>
          <ac:spMkLst>
            <pc:docMk/>
            <pc:sldMk cId="2157562518" sldId="3720"/>
            <ac:spMk id="8" creationId="{204F8164-0CCD-8C69-0B82-7A7B11025B91}"/>
          </ac:spMkLst>
        </pc:spChg>
        <pc:picChg chg="mod">
          <ac:chgData name="Scott Sink" userId="007532c1-63dd-4f29-9932-df3a9735f490" providerId="ADAL" clId="{FC83FA74-9C6C-494A-B4A7-F24DFB5E5CF4}" dt="2023-06-10T12:05:53.242" v="1320" actId="1076"/>
          <ac:picMkLst>
            <pc:docMk/>
            <pc:sldMk cId="2157562518" sldId="3720"/>
            <ac:picMk id="4" creationId="{65E46EC6-C6B7-438D-A30A-EB95E873D14E}"/>
          </ac:picMkLst>
        </pc:picChg>
        <pc:picChg chg="del">
          <ac:chgData name="Scott Sink" userId="007532c1-63dd-4f29-9932-df3a9735f490" providerId="ADAL" clId="{FC83FA74-9C6C-494A-B4A7-F24DFB5E5CF4}" dt="2023-06-10T12:05:44.410" v="1315" actId="478"/>
          <ac:picMkLst>
            <pc:docMk/>
            <pc:sldMk cId="2157562518" sldId="3720"/>
            <ac:picMk id="9" creationId="{A36FBAF7-2856-4E8A-B0E6-21935FB26597}"/>
          </ac:picMkLst>
        </pc:picChg>
      </pc:sldChg>
      <pc:sldChg chg="modSp add del mod">
        <pc:chgData name="Scott Sink" userId="007532c1-63dd-4f29-9932-df3a9735f490" providerId="ADAL" clId="{FC83FA74-9C6C-494A-B4A7-F24DFB5E5CF4}" dt="2023-06-10T12:03:16.797" v="1295" actId="47"/>
        <pc:sldMkLst>
          <pc:docMk/>
          <pc:sldMk cId="4029885698" sldId="3720"/>
        </pc:sldMkLst>
        <pc:spChg chg="mod">
          <ac:chgData name="Scott Sink" userId="007532c1-63dd-4f29-9932-df3a9735f490" providerId="ADAL" clId="{FC83FA74-9C6C-494A-B4A7-F24DFB5E5CF4}" dt="2023-06-10T12:01:47.592" v="1199" actId="5793"/>
          <ac:spMkLst>
            <pc:docMk/>
            <pc:sldMk cId="4029885698" sldId="3720"/>
            <ac:spMk id="3" creationId="{D52268DB-61E4-27E1-5D29-0E7DE9B5711D}"/>
          </ac:spMkLst>
        </pc:spChg>
      </pc:sldChg>
      <pc:sldChg chg="add ord">
        <pc:chgData name="Scott Sink" userId="007532c1-63dd-4f29-9932-df3a9735f490" providerId="ADAL" clId="{FC83FA74-9C6C-494A-B4A7-F24DFB5E5CF4}" dt="2023-06-10T12:14:27.043" v="1939"/>
        <pc:sldMkLst>
          <pc:docMk/>
          <pc:sldMk cId="1211370524" sldId="3721"/>
        </pc:sldMkLst>
      </pc:sldChg>
      <pc:sldChg chg="addSp modSp add mod modClrScheme chgLayout">
        <pc:chgData name="Scott Sink" userId="007532c1-63dd-4f29-9932-df3a9735f490" providerId="ADAL" clId="{FC83FA74-9C6C-494A-B4A7-F24DFB5E5CF4}" dt="2023-06-10T12:46:34.786" v="2709" actId="20577"/>
        <pc:sldMkLst>
          <pc:docMk/>
          <pc:sldMk cId="2994697881" sldId="3722"/>
        </pc:sldMkLst>
        <pc:spChg chg="mod ord">
          <ac:chgData name="Scott Sink" userId="007532c1-63dd-4f29-9932-df3a9735f490" providerId="ADAL" clId="{FC83FA74-9C6C-494A-B4A7-F24DFB5E5CF4}" dt="2023-06-10T12:18:00.224" v="1963" actId="20577"/>
          <ac:spMkLst>
            <pc:docMk/>
            <pc:sldMk cId="2994697881" sldId="3722"/>
            <ac:spMk id="2" creationId="{00000000-0000-0000-0000-000000000000}"/>
          </ac:spMkLst>
        </pc:spChg>
        <pc:spChg chg="add mod">
          <ac:chgData name="Scott Sink" userId="007532c1-63dd-4f29-9932-df3a9735f490" providerId="ADAL" clId="{FC83FA74-9C6C-494A-B4A7-F24DFB5E5CF4}" dt="2023-06-10T12:46:34.786" v="2709" actId="20577"/>
          <ac:spMkLst>
            <pc:docMk/>
            <pc:sldMk cId="2994697881" sldId="3722"/>
            <ac:spMk id="3" creationId="{4A27F47B-A1C7-0A36-047F-8D4EBEC79B90}"/>
          </ac:spMkLst>
        </pc:spChg>
        <pc:picChg chg="mod">
          <ac:chgData name="Scott Sink" userId="007532c1-63dd-4f29-9932-df3a9735f490" providerId="ADAL" clId="{FC83FA74-9C6C-494A-B4A7-F24DFB5E5CF4}" dt="2023-06-10T12:22:41.100" v="1966" actId="1076"/>
          <ac:picMkLst>
            <pc:docMk/>
            <pc:sldMk cId="2994697881" sldId="3722"/>
            <ac:picMk id="11266" creationId="{00000000-0000-0000-0000-000000000000}"/>
          </ac:picMkLst>
        </pc:picChg>
      </pc:sldChg>
      <pc:sldChg chg="modSp new mod">
        <pc:chgData name="Scott Sink" userId="007532c1-63dd-4f29-9932-df3a9735f490" providerId="ADAL" clId="{FC83FA74-9C6C-494A-B4A7-F24DFB5E5CF4}" dt="2023-06-10T12:49:59.178" v="3072" actId="20577"/>
        <pc:sldMkLst>
          <pc:docMk/>
          <pc:sldMk cId="3987754599" sldId="3723"/>
        </pc:sldMkLst>
        <pc:spChg chg="mod">
          <ac:chgData name="Scott Sink" userId="007532c1-63dd-4f29-9932-df3a9735f490" providerId="ADAL" clId="{FC83FA74-9C6C-494A-B4A7-F24DFB5E5CF4}" dt="2023-06-10T12:47:18.977" v="2732" actId="20577"/>
          <ac:spMkLst>
            <pc:docMk/>
            <pc:sldMk cId="3987754599" sldId="3723"/>
            <ac:spMk id="2" creationId="{1885B990-AFCE-8D63-680A-40D31BAFBA0B}"/>
          </ac:spMkLst>
        </pc:spChg>
        <pc:spChg chg="mod">
          <ac:chgData name="Scott Sink" userId="007532c1-63dd-4f29-9932-df3a9735f490" providerId="ADAL" clId="{FC83FA74-9C6C-494A-B4A7-F24DFB5E5CF4}" dt="2023-06-10T12:49:59.178" v="3072" actId="20577"/>
          <ac:spMkLst>
            <pc:docMk/>
            <pc:sldMk cId="3987754599" sldId="3723"/>
            <ac:spMk id="3" creationId="{E8632877-DCB4-E0B0-3E38-81CBF041788D}"/>
          </ac:spMkLst>
        </pc:spChg>
      </pc:sldChg>
      <pc:sldChg chg="modSp new mod">
        <pc:chgData name="Scott Sink" userId="007532c1-63dd-4f29-9932-df3a9735f490" providerId="ADAL" clId="{FC83FA74-9C6C-494A-B4A7-F24DFB5E5CF4}" dt="2023-06-12T09:06:09.247" v="8190" actId="20577"/>
        <pc:sldMkLst>
          <pc:docMk/>
          <pc:sldMk cId="2514327765" sldId="3724"/>
        </pc:sldMkLst>
        <pc:spChg chg="mod">
          <ac:chgData name="Scott Sink" userId="007532c1-63dd-4f29-9932-df3a9735f490" providerId="ADAL" clId="{FC83FA74-9C6C-494A-B4A7-F24DFB5E5CF4}" dt="2023-06-10T12:50:30.643" v="3095" actId="5793"/>
          <ac:spMkLst>
            <pc:docMk/>
            <pc:sldMk cId="2514327765" sldId="3724"/>
            <ac:spMk id="2" creationId="{D8080394-8208-8494-6028-060C7103599C}"/>
          </ac:spMkLst>
        </pc:spChg>
        <pc:spChg chg="mod">
          <ac:chgData name="Scott Sink" userId="007532c1-63dd-4f29-9932-df3a9735f490" providerId="ADAL" clId="{FC83FA74-9C6C-494A-B4A7-F24DFB5E5CF4}" dt="2023-06-12T09:06:09.247" v="8190" actId="20577"/>
          <ac:spMkLst>
            <pc:docMk/>
            <pc:sldMk cId="2514327765" sldId="3724"/>
            <ac:spMk id="3" creationId="{7CE65C26-1056-993D-321F-8E606ED9340B}"/>
          </ac:spMkLst>
        </pc:spChg>
      </pc:sldChg>
      <pc:sldChg chg="modSp new mod ord">
        <pc:chgData name="Scott Sink" userId="007532c1-63dd-4f29-9932-df3a9735f490" providerId="ADAL" clId="{FC83FA74-9C6C-494A-B4A7-F24DFB5E5CF4}" dt="2023-06-13T10:39:26.042" v="14146"/>
        <pc:sldMkLst>
          <pc:docMk/>
          <pc:sldMk cId="268826" sldId="3725"/>
        </pc:sldMkLst>
        <pc:spChg chg="mod">
          <ac:chgData name="Scott Sink" userId="007532c1-63dd-4f29-9932-df3a9735f490" providerId="ADAL" clId="{FC83FA74-9C6C-494A-B4A7-F24DFB5E5CF4}" dt="2023-06-10T14:44:38.677" v="4218" actId="404"/>
          <ac:spMkLst>
            <pc:docMk/>
            <pc:sldMk cId="268826" sldId="3725"/>
            <ac:spMk id="2" creationId="{8609F0D6-9090-99EF-8DE9-722900A67E38}"/>
          </ac:spMkLst>
        </pc:spChg>
        <pc:spChg chg="mod">
          <ac:chgData name="Scott Sink" userId="007532c1-63dd-4f29-9932-df3a9735f490" providerId="ADAL" clId="{FC83FA74-9C6C-494A-B4A7-F24DFB5E5CF4}" dt="2023-06-12T09:35:24.576" v="9459" actId="20577"/>
          <ac:spMkLst>
            <pc:docMk/>
            <pc:sldMk cId="268826" sldId="3725"/>
            <ac:spMk id="3" creationId="{0DADB15C-1EB1-35E6-5CEC-9A1B07C154C3}"/>
          </ac:spMkLst>
        </pc:spChg>
      </pc:sldChg>
      <pc:sldChg chg="addSp delSp modSp new mod ord">
        <pc:chgData name="Scott Sink" userId="007532c1-63dd-4f29-9932-df3a9735f490" providerId="ADAL" clId="{FC83FA74-9C6C-494A-B4A7-F24DFB5E5CF4}" dt="2023-06-12T09:08:36.543" v="8268" actId="1076"/>
        <pc:sldMkLst>
          <pc:docMk/>
          <pc:sldMk cId="1429197579" sldId="3726"/>
        </pc:sldMkLst>
        <pc:spChg chg="mod">
          <ac:chgData name="Scott Sink" userId="007532c1-63dd-4f29-9932-df3a9735f490" providerId="ADAL" clId="{FC83FA74-9C6C-494A-B4A7-F24DFB5E5CF4}" dt="2023-06-12T08:40:34.560" v="7609" actId="1076"/>
          <ac:spMkLst>
            <pc:docMk/>
            <pc:sldMk cId="1429197579" sldId="3726"/>
            <ac:spMk id="2" creationId="{FFB0352D-5EAC-064F-58FC-240258C49B7C}"/>
          </ac:spMkLst>
        </pc:spChg>
        <pc:spChg chg="del">
          <ac:chgData name="Scott Sink" userId="007532c1-63dd-4f29-9932-df3a9735f490" providerId="ADAL" clId="{FC83FA74-9C6C-494A-B4A7-F24DFB5E5CF4}" dt="2023-06-11T09:49:52.215" v="5191"/>
          <ac:spMkLst>
            <pc:docMk/>
            <pc:sldMk cId="1429197579" sldId="3726"/>
            <ac:spMk id="3" creationId="{9F0C1C62-7E8F-625A-2281-04DB40856838}"/>
          </ac:spMkLst>
        </pc:spChg>
        <pc:spChg chg="add mod">
          <ac:chgData name="Scott Sink" userId="007532c1-63dd-4f29-9932-df3a9735f490" providerId="ADAL" clId="{FC83FA74-9C6C-494A-B4A7-F24DFB5E5CF4}" dt="2023-06-12T08:38:54.357" v="7558" actId="207"/>
          <ac:spMkLst>
            <pc:docMk/>
            <pc:sldMk cId="1429197579" sldId="3726"/>
            <ac:spMk id="3" creationId="{FC83EE5F-B4D7-668A-A61C-4219ABDB30B8}"/>
          </ac:spMkLst>
        </pc:spChg>
        <pc:spChg chg="del">
          <ac:chgData name="Scott Sink" userId="007532c1-63dd-4f29-9932-df3a9735f490" providerId="ADAL" clId="{FC83FA74-9C6C-494A-B4A7-F24DFB5E5CF4}" dt="2023-06-11T09:49:50.106" v="5190" actId="478"/>
          <ac:spMkLst>
            <pc:docMk/>
            <pc:sldMk cId="1429197579" sldId="3726"/>
            <ac:spMk id="4" creationId="{260F63C1-375D-E837-9860-62049FCFF15A}"/>
          </ac:spMkLst>
        </pc:spChg>
        <pc:spChg chg="add mod">
          <ac:chgData name="Scott Sink" userId="007532c1-63dd-4f29-9932-df3a9735f490" providerId="ADAL" clId="{FC83FA74-9C6C-494A-B4A7-F24DFB5E5CF4}" dt="2023-06-12T08:35:18.904" v="7517" actId="207"/>
          <ac:spMkLst>
            <pc:docMk/>
            <pc:sldMk cId="1429197579" sldId="3726"/>
            <ac:spMk id="4" creationId="{DFC50A58-7420-9DAF-6650-8070FF3D11FF}"/>
          </ac:spMkLst>
        </pc:spChg>
        <pc:spChg chg="add mod">
          <ac:chgData name="Scott Sink" userId="007532c1-63dd-4f29-9932-df3a9735f490" providerId="ADAL" clId="{FC83FA74-9C6C-494A-B4A7-F24DFB5E5CF4}" dt="2023-06-12T08:36:01.413" v="7526" actId="20577"/>
          <ac:spMkLst>
            <pc:docMk/>
            <pc:sldMk cId="1429197579" sldId="3726"/>
            <ac:spMk id="5" creationId="{0FBE9EB6-20F5-0532-3E38-BE132E6AC645}"/>
          </ac:spMkLst>
        </pc:spChg>
        <pc:spChg chg="add mod">
          <ac:chgData name="Scott Sink" userId="007532c1-63dd-4f29-9932-df3a9735f490" providerId="ADAL" clId="{FC83FA74-9C6C-494A-B4A7-F24DFB5E5CF4}" dt="2023-06-12T08:36:19.112" v="7532" actId="20577"/>
          <ac:spMkLst>
            <pc:docMk/>
            <pc:sldMk cId="1429197579" sldId="3726"/>
            <ac:spMk id="6" creationId="{C6BA335F-10B2-902C-A03C-189AC30F091F}"/>
          </ac:spMkLst>
        </pc:spChg>
        <pc:spChg chg="add mod">
          <ac:chgData name="Scott Sink" userId="007532c1-63dd-4f29-9932-df3a9735f490" providerId="ADAL" clId="{FC83FA74-9C6C-494A-B4A7-F24DFB5E5CF4}" dt="2023-06-12T09:08:16.484" v="8266" actId="1076"/>
          <ac:spMkLst>
            <pc:docMk/>
            <pc:sldMk cId="1429197579" sldId="3726"/>
            <ac:spMk id="7" creationId="{2AC7AC12-BFB3-DE58-8315-D1711B732B96}"/>
          </ac:spMkLst>
        </pc:spChg>
        <pc:spChg chg="add mod">
          <ac:chgData name="Scott Sink" userId="007532c1-63dd-4f29-9932-df3a9735f490" providerId="ADAL" clId="{FC83FA74-9C6C-494A-B4A7-F24DFB5E5CF4}" dt="2023-06-12T09:07:16.894" v="8250" actId="20577"/>
          <ac:spMkLst>
            <pc:docMk/>
            <pc:sldMk cId="1429197579" sldId="3726"/>
            <ac:spMk id="8" creationId="{A6610735-000D-2D77-8288-53669FDF94AF}"/>
          </ac:spMkLst>
        </pc:spChg>
        <pc:spChg chg="add del mod">
          <ac:chgData name="Scott Sink" userId="007532c1-63dd-4f29-9932-df3a9735f490" providerId="ADAL" clId="{FC83FA74-9C6C-494A-B4A7-F24DFB5E5CF4}" dt="2023-06-12T08:37:18.561" v="7543" actId="478"/>
          <ac:spMkLst>
            <pc:docMk/>
            <pc:sldMk cId="1429197579" sldId="3726"/>
            <ac:spMk id="9" creationId="{EE78C274-FF16-1026-4133-69CE16E9969B}"/>
          </ac:spMkLst>
        </pc:spChg>
        <pc:spChg chg="add del mod">
          <ac:chgData name="Scott Sink" userId="007532c1-63dd-4f29-9932-df3a9735f490" providerId="ADAL" clId="{FC83FA74-9C6C-494A-B4A7-F24DFB5E5CF4}" dt="2023-06-12T08:33:08.630" v="7432" actId="478"/>
          <ac:spMkLst>
            <pc:docMk/>
            <pc:sldMk cId="1429197579" sldId="3726"/>
            <ac:spMk id="10" creationId="{AC3A4469-7284-EAFD-110B-122A14BC8D99}"/>
          </ac:spMkLst>
        </pc:spChg>
        <pc:spChg chg="add mod">
          <ac:chgData name="Scott Sink" userId="007532c1-63dd-4f29-9932-df3a9735f490" providerId="ADAL" clId="{FC83FA74-9C6C-494A-B4A7-F24DFB5E5CF4}" dt="2023-06-12T08:37:28.810" v="7547" actId="20577"/>
          <ac:spMkLst>
            <pc:docMk/>
            <pc:sldMk cId="1429197579" sldId="3726"/>
            <ac:spMk id="11" creationId="{D4AB93AC-E71A-FA7F-45B6-6C59FDE1ABCB}"/>
          </ac:spMkLst>
        </pc:spChg>
        <pc:spChg chg="add mod">
          <ac:chgData name="Scott Sink" userId="007532c1-63dd-4f29-9932-df3a9735f490" providerId="ADAL" clId="{FC83FA74-9C6C-494A-B4A7-F24DFB5E5CF4}" dt="2023-06-12T08:37:42.676" v="7551" actId="20577"/>
          <ac:spMkLst>
            <pc:docMk/>
            <pc:sldMk cId="1429197579" sldId="3726"/>
            <ac:spMk id="12" creationId="{82BE0146-0CFC-0519-2033-09EB8851550E}"/>
          </ac:spMkLst>
        </pc:spChg>
        <pc:picChg chg="add del mod modCrop">
          <ac:chgData name="Scott Sink" userId="007532c1-63dd-4f29-9932-df3a9735f490" providerId="ADAL" clId="{FC83FA74-9C6C-494A-B4A7-F24DFB5E5CF4}" dt="2023-06-11T09:52:15.121" v="5362" actId="478"/>
          <ac:picMkLst>
            <pc:docMk/>
            <pc:sldMk cId="1429197579" sldId="3726"/>
            <ac:picMk id="6" creationId="{8FAF779C-E9DC-E8F7-582B-54AF31DE3C7A}"/>
          </ac:picMkLst>
        </pc:picChg>
        <pc:cxnChg chg="add mod">
          <ac:chgData name="Scott Sink" userId="007532c1-63dd-4f29-9932-df3a9735f490" providerId="ADAL" clId="{FC83FA74-9C6C-494A-B4A7-F24DFB5E5CF4}" dt="2023-06-12T08:39:39.638" v="7564" actId="693"/>
          <ac:cxnSpMkLst>
            <pc:docMk/>
            <pc:sldMk cId="1429197579" sldId="3726"/>
            <ac:cxnSpMk id="14" creationId="{E8534CF4-C252-4D17-8AC4-72BF43DB27D7}"/>
          </ac:cxnSpMkLst>
        </pc:cxnChg>
        <pc:cxnChg chg="add mod">
          <ac:chgData name="Scott Sink" userId="007532c1-63dd-4f29-9932-df3a9735f490" providerId="ADAL" clId="{FC83FA74-9C6C-494A-B4A7-F24DFB5E5CF4}" dt="2023-06-12T08:39:46.437" v="7565" actId="693"/>
          <ac:cxnSpMkLst>
            <pc:docMk/>
            <pc:sldMk cId="1429197579" sldId="3726"/>
            <ac:cxnSpMk id="15" creationId="{7ED61D90-D670-49D5-2745-6DE611146EE7}"/>
          </ac:cxnSpMkLst>
        </pc:cxnChg>
        <pc:cxnChg chg="add mod">
          <ac:chgData name="Scott Sink" userId="007532c1-63dd-4f29-9932-df3a9735f490" providerId="ADAL" clId="{FC83FA74-9C6C-494A-B4A7-F24DFB5E5CF4}" dt="2023-06-12T09:08:36.543" v="8268" actId="1076"/>
          <ac:cxnSpMkLst>
            <pc:docMk/>
            <pc:sldMk cId="1429197579" sldId="3726"/>
            <ac:cxnSpMk id="17" creationId="{999A206B-41B0-9033-78A0-3E8A5F6CAF4A}"/>
          </ac:cxnSpMkLst>
        </pc:cxnChg>
      </pc:sldChg>
      <pc:sldChg chg="modSp add mod ord">
        <pc:chgData name="Scott Sink" userId="007532c1-63dd-4f29-9932-df3a9735f490" providerId="ADAL" clId="{FC83FA74-9C6C-494A-B4A7-F24DFB5E5CF4}" dt="2023-06-11T10:07:35.737" v="6530"/>
        <pc:sldMkLst>
          <pc:docMk/>
          <pc:sldMk cId="3830039475" sldId="3727"/>
        </pc:sldMkLst>
        <pc:spChg chg="mod">
          <ac:chgData name="Scott Sink" userId="007532c1-63dd-4f29-9932-df3a9735f490" providerId="ADAL" clId="{FC83FA74-9C6C-494A-B4A7-F24DFB5E5CF4}" dt="2023-06-11T09:58:47.665" v="5711" actId="1076"/>
          <ac:spMkLst>
            <pc:docMk/>
            <pc:sldMk cId="3830039475" sldId="3727"/>
            <ac:spMk id="2" creationId="{F57C5E07-DB5B-55F2-6F01-6B61AC3D8F04}"/>
          </ac:spMkLst>
        </pc:spChg>
        <pc:spChg chg="mod">
          <ac:chgData name="Scott Sink" userId="007532c1-63dd-4f29-9932-df3a9735f490" providerId="ADAL" clId="{FC83FA74-9C6C-494A-B4A7-F24DFB5E5CF4}" dt="2023-06-11T10:07:25.771" v="6528" actId="14100"/>
          <ac:spMkLst>
            <pc:docMk/>
            <pc:sldMk cId="3830039475" sldId="3727"/>
            <ac:spMk id="3" creationId="{D52268DB-61E4-27E1-5D29-0E7DE9B5711D}"/>
          </ac:spMkLst>
        </pc:spChg>
      </pc:sldChg>
      <pc:sldChg chg="modSp add mod">
        <pc:chgData name="Scott Sink" userId="007532c1-63dd-4f29-9932-df3a9735f490" providerId="ADAL" clId="{FC83FA74-9C6C-494A-B4A7-F24DFB5E5CF4}" dt="2023-06-11T10:18:32.380" v="7286" actId="5793"/>
        <pc:sldMkLst>
          <pc:docMk/>
          <pc:sldMk cId="3325468415" sldId="3728"/>
        </pc:sldMkLst>
        <pc:spChg chg="mod">
          <ac:chgData name="Scott Sink" userId="007532c1-63dd-4f29-9932-df3a9735f490" providerId="ADAL" clId="{FC83FA74-9C6C-494A-B4A7-F24DFB5E5CF4}" dt="2023-06-11T10:08:54.287" v="6674" actId="20577"/>
          <ac:spMkLst>
            <pc:docMk/>
            <pc:sldMk cId="3325468415" sldId="3728"/>
            <ac:spMk id="2" creationId="{F57C5E07-DB5B-55F2-6F01-6B61AC3D8F04}"/>
          </ac:spMkLst>
        </pc:spChg>
        <pc:spChg chg="mod">
          <ac:chgData name="Scott Sink" userId="007532c1-63dd-4f29-9932-df3a9735f490" providerId="ADAL" clId="{FC83FA74-9C6C-494A-B4A7-F24DFB5E5CF4}" dt="2023-06-11T10:18:32.380" v="7286" actId="5793"/>
          <ac:spMkLst>
            <pc:docMk/>
            <pc:sldMk cId="3325468415" sldId="3728"/>
            <ac:spMk id="3" creationId="{D52268DB-61E4-27E1-5D29-0E7DE9B5711D}"/>
          </ac:spMkLst>
        </pc:spChg>
      </pc:sldChg>
      <pc:sldChg chg="addSp delSp modSp add mod delAnim modAnim">
        <pc:chgData name="Scott Sink" userId="007532c1-63dd-4f29-9932-df3a9735f490" providerId="ADAL" clId="{FC83FA74-9C6C-494A-B4A7-F24DFB5E5CF4}" dt="2023-06-11T11:31:56.401" v="7384" actId="1076"/>
        <pc:sldMkLst>
          <pc:docMk/>
          <pc:sldMk cId="1359187073" sldId="3729"/>
        </pc:sldMkLst>
        <pc:spChg chg="mod">
          <ac:chgData name="Scott Sink" userId="007532c1-63dd-4f29-9932-df3a9735f490" providerId="ADAL" clId="{FC83FA74-9C6C-494A-B4A7-F24DFB5E5CF4}" dt="2023-06-11T11:31:56.401" v="7384" actId="1076"/>
          <ac:spMkLst>
            <pc:docMk/>
            <pc:sldMk cId="1359187073" sldId="3729"/>
            <ac:spMk id="5" creationId="{7DD0B49D-EA7E-4765-B7FD-24B967ABF624}"/>
          </ac:spMkLst>
        </pc:spChg>
        <pc:spChg chg="add mod">
          <ac:chgData name="Scott Sink" userId="007532c1-63dd-4f29-9932-df3a9735f490" providerId="ADAL" clId="{FC83FA74-9C6C-494A-B4A7-F24DFB5E5CF4}" dt="2023-06-11T11:29:44.021" v="7332" actId="1076"/>
          <ac:spMkLst>
            <pc:docMk/>
            <pc:sldMk cId="1359187073" sldId="3729"/>
            <ac:spMk id="12" creationId="{DDEA6D96-35B6-2368-EFF2-177934050EC1}"/>
          </ac:spMkLst>
        </pc:spChg>
        <pc:spChg chg="del">
          <ac:chgData name="Scott Sink" userId="007532c1-63dd-4f29-9932-df3a9735f490" providerId="ADAL" clId="{FC83FA74-9C6C-494A-B4A7-F24DFB5E5CF4}" dt="2023-06-11T11:28:15.609" v="7291" actId="478"/>
          <ac:spMkLst>
            <pc:docMk/>
            <pc:sldMk cId="1359187073" sldId="3729"/>
            <ac:spMk id="24" creationId="{FB0033A8-A525-4CD7-9D36-C762174413F8}"/>
          </ac:spMkLst>
        </pc:spChg>
        <pc:spChg chg="add del mod">
          <ac:chgData name="Scott Sink" userId="007532c1-63dd-4f29-9932-df3a9735f490" providerId="ADAL" clId="{FC83FA74-9C6C-494A-B4A7-F24DFB5E5CF4}" dt="2023-06-11T11:30:58.546" v="7350" actId="478"/>
          <ac:spMkLst>
            <pc:docMk/>
            <pc:sldMk cId="1359187073" sldId="3729"/>
            <ac:spMk id="25" creationId="{3C5B8892-DF9F-9C1E-E1FD-8CF8D9BB73AE}"/>
          </ac:spMkLst>
        </pc:spChg>
        <pc:spChg chg="add mod">
          <ac:chgData name="Scott Sink" userId="007532c1-63dd-4f29-9932-df3a9735f490" providerId="ADAL" clId="{FC83FA74-9C6C-494A-B4A7-F24DFB5E5CF4}" dt="2023-06-11T11:31:22.112" v="7375" actId="207"/>
          <ac:spMkLst>
            <pc:docMk/>
            <pc:sldMk cId="1359187073" sldId="3729"/>
            <ac:spMk id="27" creationId="{217DBF53-5033-20B2-5971-0EC8794B5797}"/>
          </ac:spMkLst>
        </pc:spChg>
        <pc:spChg chg="del">
          <ac:chgData name="Scott Sink" userId="007532c1-63dd-4f29-9932-df3a9735f490" providerId="ADAL" clId="{FC83FA74-9C6C-494A-B4A7-F24DFB5E5CF4}" dt="2023-06-11T11:28:08.021" v="7288" actId="478"/>
          <ac:spMkLst>
            <pc:docMk/>
            <pc:sldMk cId="1359187073" sldId="3729"/>
            <ac:spMk id="70" creationId="{5DE7379F-A996-40A0-BBBC-7AE829C28700}"/>
          </ac:spMkLst>
        </pc:spChg>
        <pc:spChg chg="del mod">
          <ac:chgData name="Scott Sink" userId="007532c1-63dd-4f29-9932-df3a9735f490" providerId="ADAL" clId="{FC83FA74-9C6C-494A-B4A7-F24DFB5E5CF4}" dt="2023-06-11T11:28:22.171" v="7294" actId="478"/>
          <ac:spMkLst>
            <pc:docMk/>
            <pc:sldMk cId="1359187073" sldId="3729"/>
            <ac:spMk id="71" creationId="{A6FD7524-F947-4E71-8C0A-24B16EA406C2}"/>
          </ac:spMkLst>
        </pc:spChg>
        <pc:grpChg chg="add mod">
          <ac:chgData name="Scott Sink" userId="007532c1-63dd-4f29-9932-df3a9735f490" providerId="ADAL" clId="{FC83FA74-9C6C-494A-B4A7-F24DFB5E5CF4}" dt="2023-06-11T11:29:06.151" v="7304" actId="1076"/>
          <ac:grpSpMkLst>
            <pc:docMk/>
            <pc:sldMk cId="1359187073" sldId="3729"/>
            <ac:grpSpMk id="6" creationId="{D7D68842-3D01-CD2E-D913-DE9FEC4F7762}"/>
          </ac:grpSpMkLst>
        </pc:grpChg>
        <pc:grpChg chg="add mod">
          <ac:chgData name="Scott Sink" userId="007532c1-63dd-4f29-9932-df3a9735f490" providerId="ADAL" clId="{FC83FA74-9C6C-494A-B4A7-F24DFB5E5CF4}" dt="2023-06-11T11:29:54.228" v="7334" actId="1076"/>
          <ac:grpSpMkLst>
            <pc:docMk/>
            <pc:sldMk cId="1359187073" sldId="3729"/>
            <ac:grpSpMk id="14" creationId="{95B6885A-23D1-9870-A29E-4E8C2953686A}"/>
          </ac:grpSpMkLst>
        </pc:grpChg>
        <pc:grpChg chg="del">
          <ac:chgData name="Scott Sink" userId="007532c1-63dd-4f29-9932-df3a9735f490" providerId="ADAL" clId="{FC83FA74-9C6C-494A-B4A7-F24DFB5E5CF4}" dt="2023-06-11T11:28:08.737" v="7289" actId="478"/>
          <ac:grpSpMkLst>
            <pc:docMk/>
            <pc:sldMk cId="1359187073" sldId="3729"/>
            <ac:grpSpMk id="20" creationId="{A565A9EC-7D77-4424-9C33-3CA5D15B4ADA}"/>
          </ac:grpSpMkLst>
        </pc:grpChg>
        <pc:grpChg chg="mod">
          <ac:chgData name="Scott Sink" userId="007532c1-63dd-4f29-9932-df3a9735f490" providerId="ADAL" clId="{FC83FA74-9C6C-494A-B4A7-F24DFB5E5CF4}" dt="2023-06-11T11:31:46.787" v="7382" actId="1076"/>
          <ac:grpSpMkLst>
            <pc:docMk/>
            <pc:sldMk cId="1359187073" sldId="3729"/>
            <ac:grpSpMk id="30" creationId="{B47C8FCA-9581-44A5-8180-C56A6150303A}"/>
          </ac:grpSpMkLst>
        </pc:grpChg>
        <pc:grpChg chg="mod">
          <ac:chgData name="Scott Sink" userId="007532c1-63dd-4f29-9932-df3a9735f490" providerId="ADAL" clId="{FC83FA74-9C6C-494A-B4A7-F24DFB5E5CF4}" dt="2023-06-11T11:31:43.331" v="7381" actId="1076"/>
          <ac:grpSpMkLst>
            <pc:docMk/>
            <pc:sldMk cId="1359187073" sldId="3729"/>
            <ac:grpSpMk id="34" creationId="{E17D31DB-9B82-499E-BC20-D0F9A2B0C090}"/>
          </ac:grpSpMkLst>
        </pc:grpChg>
        <pc:grpChg chg="mod">
          <ac:chgData name="Scott Sink" userId="007532c1-63dd-4f29-9932-df3a9735f490" providerId="ADAL" clId="{FC83FA74-9C6C-494A-B4A7-F24DFB5E5CF4}" dt="2023-06-11T11:28:33.108" v="7296" actId="1076"/>
          <ac:grpSpMkLst>
            <pc:docMk/>
            <pc:sldMk cId="1359187073" sldId="3729"/>
            <ac:grpSpMk id="39" creationId="{B0A4039F-5828-4F1A-B40F-0E7CC707A23B}"/>
          </ac:grpSpMkLst>
        </pc:grpChg>
        <pc:grpChg chg="del">
          <ac:chgData name="Scott Sink" userId="007532c1-63dd-4f29-9932-df3a9735f490" providerId="ADAL" clId="{FC83FA74-9C6C-494A-B4A7-F24DFB5E5CF4}" dt="2023-06-11T11:28:12.121" v="7290" actId="478"/>
          <ac:grpSpMkLst>
            <pc:docMk/>
            <pc:sldMk cId="1359187073" sldId="3729"/>
            <ac:grpSpMk id="77" creationId="{30730EE6-E503-4222-ACE4-9357A863B782}"/>
          </ac:grpSpMkLst>
        </pc:grpChg>
        <pc:grpChg chg="del">
          <ac:chgData name="Scott Sink" userId="007532c1-63dd-4f29-9932-df3a9735f490" providerId="ADAL" clId="{FC83FA74-9C6C-494A-B4A7-F24DFB5E5CF4}" dt="2023-06-11T11:28:12.121" v="7290" actId="478"/>
          <ac:grpSpMkLst>
            <pc:docMk/>
            <pc:sldMk cId="1359187073" sldId="3729"/>
            <ac:grpSpMk id="82" creationId="{DB51DBA7-7FBC-4FB7-861D-045EC90773C6}"/>
          </ac:grpSpMkLst>
        </pc:grpChg>
        <pc:grpChg chg="del">
          <ac:chgData name="Scott Sink" userId="007532c1-63dd-4f29-9932-df3a9735f490" providerId="ADAL" clId="{FC83FA74-9C6C-494A-B4A7-F24DFB5E5CF4}" dt="2023-06-11T11:28:12.121" v="7290" actId="478"/>
          <ac:grpSpMkLst>
            <pc:docMk/>
            <pc:sldMk cId="1359187073" sldId="3729"/>
            <ac:grpSpMk id="87" creationId="{55F8986D-C88B-4A23-9196-9FFDCA78C125}"/>
          </ac:grpSpMkLst>
        </pc:grpChg>
        <pc:grpChg chg="del">
          <ac:chgData name="Scott Sink" userId="007532c1-63dd-4f29-9932-df3a9735f490" providerId="ADAL" clId="{FC83FA74-9C6C-494A-B4A7-F24DFB5E5CF4}" dt="2023-06-11T11:28:12.121" v="7290" actId="478"/>
          <ac:grpSpMkLst>
            <pc:docMk/>
            <pc:sldMk cId="1359187073" sldId="3729"/>
            <ac:grpSpMk id="92" creationId="{00959837-2DF4-4D39-8A8B-A1197DC048C2}"/>
          </ac:grpSpMkLst>
        </pc:grpChg>
        <pc:grpChg chg="del">
          <ac:chgData name="Scott Sink" userId="007532c1-63dd-4f29-9932-df3a9735f490" providerId="ADAL" clId="{FC83FA74-9C6C-494A-B4A7-F24DFB5E5CF4}" dt="2023-06-11T11:28:12.121" v="7290" actId="478"/>
          <ac:grpSpMkLst>
            <pc:docMk/>
            <pc:sldMk cId="1359187073" sldId="3729"/>
            <ac:grpSpMk id="97" creationId="{985049C8-BDEC-4DC1-BA53-C038BBC14D3B}"/>
          </ac:grpSpMkLst>
        </pc:grpChg>
        <pc:grpChg chg="del">
          <ac:chgData name="Scott Sink" userId="007532c1-63dd-4f29-9932-df3a9735f490" providerId="ADAL" clId="{FC83FA74-9C6C-494A-B4A7-F24DFB5E5CF4}" dt="2023-06-11T11:28:12.121" v="7290" actId="478"/>
          <ac:grpSpMkLst>
            <pc:docMk/>
            <pc:sldMk cId="1359187073" sldId="3729"/>
            <ac:grpSpMk id="102" creationId="{44B2712D-FB6D-4F99-8313-1078A2611424}"/>
          </ac:grpSpMkLst>
        </pc:grpChg>
        <pc:grpChg chg="del">
          <ac:chgData name="Scott Sink" userId="007532c1-63dd-4f29-9932-df3a9735f490" providerId="ADAL" clId="{FC83FA74-9C6C-494A-B4A7-F24DFB5E5CF4}" dt="2023-06-11T11:28:12.121" v="7290" actId="478"/>
          <ac:grpSpMkLst>
            <pc:docMk/>
            <pc:sldMk cId="1359187073" sldId="3729"/>
            <ac:grpSpMk id="107" creationId="{9C4EA2A9-8984-4347-802C-41FD93AE3B28}"/>
          </ac:grpSpMkLst>
        </pc:grpChg>
        <pc:grpChg chg="del">
          <ac:chgData name="Scott Sink" userId="007532c1-63dd-4f29-9932-df3a9735f490" providerId="ADAL" clId="{FC83FA74-9C6C-494A-B4A7-F24DFB5E5CF4}" dt="2023-06-11T11:28:12.121" v="7290" actId="478"/>
          <ac:grpSpMkLst>
            <pc:docMk/>
            <pc:sldMk cId="1359187073" sldId="3729"/>
            <ac:grpSpMk id="112" creationId="{5B5EEDAB-57BA-4831-85D0-1C9E316A424D}"/>
          </ac:grpSpMkLst>
        </pc:grpChg>
        <pc:picChg chg="add mod">
          <ac:chgData name="Scott Sink" userId="007532c1-63dd-4f29-9932-df3a9735f490" providerId="ADAL" clId="{FC83FA74-9C6C-494A-B4A7-F24DFB5E5CF4}" dt="2023-06-11T11:28:56.121" v="7302" actId="571"/>
          <ac:picMkLst>
            <pc:docMk/>
            <pc:sldMk cId="1359187073" sldId="3729"/>
            <ac:picMk id="3" creationId="{EE5D77D0-16ED-CFD2-F2DB-783912837963}"/>
          </ac:picMkLst>
        </pc:picChg>
        <pc:picChg chg="mod">
          <ac:chgData name="Scott Sink" userId="007532c1-63dd-4f29-9932-df3a9735f490" providerId="ADAL" clId="{FC83FA74-9C6C-494A-B4A7-F24DFB5E5CF4}" dt="2023-06-11T11:28:40.246" v="7298" actId="1076"/>
          <ac:picMkLst>
            <pc:docMk/>
            <pc:sldMk cId="1359187073" sldId="3729"/>
            <ac:picMk id="19" creationId="{C722F620-7C0D-4868-B175-317B4B45599F}"/>
          </ac:picMkLst>
        </pc:picChg>
        <pc:picChg chg="del">
          <ac:chgData name="Scott Sink" userId="007532c1-63dd-4f29-9932-df3a9735f490" providerId="ADAL" clId="{FC83FA74-9C6C-494A-B4A7-F24DFB5E5CF4}" dt="2023-06-11T11:28:16.362" v="7292" actId="478"/>
          <ac:picMkLst>
            <pc:docMk/>
            <pc:sldMk cId="1359187073" sldId="3729"/>
            <ac:picMk id="1030" creationId="{A9683ACE-C08E-4FCF-B9FB-5AF3710313D8}"/>
          </ac:picMkLst>
        </pc:picChg>
        <pc:cxnChg chg="mod">
          <ac:chgData name="Scott Sink" userId="007532c1-63dd-4f29-9932-df3a9735f490" providerId="ADAL" clId="{FC83FA74-9C6C-494A-B4A7-F24DFB5E5CF4}" dt="2023-06-11T11:29:02.940" v="7303"/>
          <ac:cxnSpMkLst>
            <pc:docMk/>
            <pc:sldMk cId="1359187073" sldId="3729"/>
            <ac:cxnSpMk id="7" creationId="{EC609BC6-8D8E-0464-17C2-55DF16E2D35A}"/>
          </ac:cxnSpMkLst>
        </pc:cxnChg>
        <pc:cxnChg chg="mod">
          <ac:chgData name="Scott Sink" userId="007532c1-63dd-4f29-9932-df3a9735f490" providerId="ADAL" clId="{FC83FA74-9C6C-494A-B4A7-F24DFB5E5CF4}" dt="2023-06-11T11:29:02.940" v="7303"/>
          <ac:cxnSpMkLst>
            <pc:docMk/>
            <pc:sldMk cId="1359187073" sldId="3729"/>
            <ac:cxnSpMk id="8" creationId="{73BB92D1-F14D-A0DA-68D7-1CDE0C5AB30A}"/>
          </ac:cxnSpMkLst>
        </pc:cxnChg>
        <pc:cxnChg chg="mod">
          <ac:chgData name="Scott Sink" userId="007532c1-63dd-4f29-9932-df3a9735f490" providerId="ADAL" clId="{FC83FA74-9C6C-494A-B4A7-F24DFB5E5CF4}" dt="2023-06-11T11:29:02.940" v="7303"/>
          <ac:cxnSpMkLst>
            <pc:docMk/>
            <pc:sldMk cId="1359187073" sldId="3729"/>
            <ac:cxnSpMk id="9" creationId="{1941F0FE-ACD5-3F66-5A83-E3FE3DBA1367}"/>
          </ac:cxnSpMkLst>
        </pc:cxnChg>
        <pc:cxnChg chg="mod">
          <ac:chgData name="Scott Sink" userId="007532c1-63dd-4f29-9932-df3a9735f490" providerId="ADAL" clId="{FC83FA74-9C6C-494A-B4A7-F24DFB5E5CF4}" dt="2023-06-11T11:29:02.940" v="7303"/>
          <ac:cxnSpMkLst>
            <pc:docMk/>
            <pc:sldMk cId="1359187073" sldId="3729"/>
            <ac:cxnSpMk id="11" creationId="{E493491B-211F-2FE2-7EBE-3C3537BE0DD5}"/>
          </ac:cxnSpMkLst>
        </pc:cxnChg>
        <pc:cxnChg chg="mod">
          <ac:chgData name="Scott Sink" userId="007532c1-63dd-4f29-9932-df3a9735f490" providerId="ADAL" clId="{FC83FA74-9C6C-494A-B4A7-F24DFB5E5CF4}" dt="2023-06-11T11:29:49.826" v="7333"/>
          <ac:cxnSpMkLst>
            <pc:docMk/>
            <pc:sldMk cId="1359187073" sldId="3729"/>
            <ac:cxnSpMk id="15" creationId="{E686B793-C6DA-7C3B-B122-9A59F677E552}"/>
          </ac:cxnSpMkLst>
        </pc:cxnChg>
        <pc:cxnChg chg="mod">
          <ac:chgData name="Scott Sink" userId="007532c1-63dd-4f29-9932-df3a9735f490" providerId="ADAL" clId="{FC83FA74-9C6C-494A-B4A7-F24DFB5E5CF4}" dt="2023-06-11T11:29:49.826" v="7333"/>
          <ac:cxnSpMkLst>
            <pc:docMk/>
            <pc:sldMk cId="1359187073" sldId="3729"/>
            <ac:cxnSpMk id="16" creationId="{2D861903-DF8D-E631-5CBC-E734D55EA688}"/>
          </ac:cxnSpMkLst>
        </pc:cxnChg>
        <pc:cxnChg chg="mod">
          <ac:chgData name="Scott Sink" userId="007532c1-63dd-4f29-9932-df3a9735f490" providerId="ADAL" clId="{FC83FA74-9C6C-494A-B4A7-F24DFB5E5CF4}" dt="2023-06-11T11:29:49.826" v="7333"/>
          <ac:cxnSpMkLst>
            <pc:docMk/>
            <pc:sldMk cId="1359187073" sldId="3729"/>
            <ac:cxnSpMk id="17" creationId="{635A3B2F-55AD-4D72-BC05-2B712D4F7C3D}"/>
          </ac:cxnSpMkLst>
        </pc:cxnChg>
        <pc:cxnChg chg="mod">
          <ac:chgData name="Scott Sink" userId="007532c1-63dd-4f29-9932-df3a9735f490" providerId="ADAL" clId="{FC83FA74-9C6C-494A-B4A7-F24DFB5E5CF4}" dt="2023-06-11T11:29:49.826" v="7333"/>
          <ac:cxnSpMkLst>
            <pc:docMk/>
            <pc:sldMk cId="1359187073" sldId="3729"/>
            <ac:cxnSpMk id="18" creationId="{07820D9A-9541-3A35-D76D-9988AE42D963}"/>
          </ac:cxnSpMkLst>
        </pc:cxnChg>
      </pc:sldChg>
      <pc:sldChg chg="delSp modSp add del mod ord">
        <pc:chgData name="Scott Sink" userId="007532c1-63dd-4f29-9932-df3a9735f490" providerId="ADAL" clId="{FC83FA74-9C6C-494A-B4A7-F24DFB5E5CF4}" dt="2023-06-12T08:49:08.564" v="7637" actId="208"/>
        <pc:sldMkLst>
          <pc:docMk/>
          <pc:sldMk cId="119098387" sldId="3730"/>
        </pc:sldMkLst>
        <pc:spChg chg="mod">
          <ac:chgData name="Scott Sink" userId="007532c1-63dd-4f29-9932-df3a9735f490" providerId="ADAL" clId="{FC83FA74-9C6C-494A-B4A7-F24DFB5E5CF4}" dt="2023-06-12T08:46:37.832" v="7629" actId="478"/>
          <ac:spMkLst>
            <pc:docMk/>
            <pc:sldMk cId="119098387" sldId="3730"/>
            <ac:spMk id="5" creationId="{1CFCAD91-B0F7-4F0D-A039-4E997C3137E9}"/>
          </ac:spMkLst>
        </pc:spChg>
        <pc:spChg chg="mod">
          <ac:chgData name="Scott Sink" userId="007532c1-63dd-4f29-9932-df3a9735f490" providerId="ADAL" clId="{FC83FA74-9C6C-494A-B4A7-F24DFB5E5CF4}" dt="2023-06-12T08:46:37.832" v="7629" actId="478"/>
          <ac:spMkLst>
            <pc:docMk/>
            <pc:sldMk cId="119098387" sldId="3730"/>
            <ac:spMk id="8" creationId="{A31D1CF0-F471-413F-8950-7C34FED0A775}"/>
          </ac:spMkLst>
        </pc:spChg>
        <pc:spChg chg="mod">
          <ac:chgData name="Scott Sink" userId="007532c1-63dd-4f29-9932-df3a9735f490" providerId="ADAL" clId="{FC83FA74-9C6C-494A-B4A7-F24DFB5E5CF4}" dt="2023-06-12T08:46:37.832" v="7629" actId="478"/>
          <ac:spMkLst>
            <pc:docMk/>
            <pc:sldMk cId="119098387" sldId="3730"/>
            <ac:spMk id="9" creationId="{CE26577A-1A83-459D-9D29-595E63A23AB9}"/>
          </ac:spMkLst>
        </pc:spChg>
        <pc:spChg chg="mod">
          <ac:chgData name="Scott Sink" userId="007532c1-63dd-4f29-9932-df3a9735f490" providerId="ADAL" clId="{FC83FA74-9C6C-494A-B4A7-F24DFB5E5CF4}" dt="2023-06-12T08:46:37.832" v="7629" actId="478"/>
          <ac:spMkLst>
            <pc:docMk/>
            <pc:sldMk cId="119098387" sldId="3730"/>
            <ac:spMk id="10" creationId="{B248822B-B4B5-4968-BE76-F9CCBFF3EF29}"/>
          </ac:spMkLst>
        </pc:spChg>
        <pc:spChg chg="mod">
          <ac:chgData name="Scott Sink" userId="007532c1-63dd-4f29-9932-df3a9735f490" providerId="ADAL" clId="{FC83FA74-9C6C-494A-B4A7-F24DFB5E5CF4}" dt="2023-06-12T08:46:37.832" v="7629" actId="478"/>
          <ac:spMkLst>
            <pc:docMk/>
            <pc:sldMk cId="119098387" sldId="3730"/>
            <ac:spMk id="11" creationId="{F9F73316-CB56-4185-991C-03119509D8E3}"/>
          </ac:spMkLst>
        </pc:spChg>
        <pc:spChg chg="mod">
          <ac:chgData name="Scott Sink" userId="007532c1-63dd-4f29-9932-df3a9735f490" providerId="ADAL" clId="{FC83FA74-9C6C-494A-B4A7-F24DFB5E5CF4}" dt="2023-06-12T08:46:37.832" v="7629" actId="478"/>
          <ac:spMkLst>
            <pc:docMk/>
            <pc:sldMk cId="119098387" sldId="3730"/>
            <ac:spMk id="21" creationId="{AFACE195-A7A4-4C23-896A-042A86F95A70}"/>
          </ac:spMkLst>
        </pc:spChg>
        <pc:spChg chg="mod">
          <ac:chgData name="Scott Sink" userId="007532c1-63dd-4f29-9932-df3a9735f490" providerId="ADAL" clId="{FC83FA74-9C6C-494A-B4A7-F24DFB5E5CF4}" dt="2023-06-12T08:49:02.936" v="7636" actId="208"/>
          <ac:spMkLst>
            <pc:docMk/>
            <pc:sldMk cId="119098387" sldId="3730"/>
            <ac:spMk id="23" creationId="{48773753-88F0-4030-85B1-0FAD47D42813}"/>
          </ac:spMkLst>
        </pc:spChg>
        <pc:spChg chg="mod">
          <ac:chgData name="Scott Sink" userId="007532c1-63dd-4f29-9932-df3a9735f490" providerId="ADAL" clId="{FC83FA74-9C6C-494A-B4A7-F24DFB5E5CF4}" dt="2023-06-12T08:49:08.564" v="7637" actId="208"/>
          <ac:spMkLst>
            <pc:docMk/>
            <pc:sldMk cId="119098387" sldId="3730"/>
            <ac:spMk id="25" creationId="{2B41229C-F5CD-4E4E-B684-7F2083F6FB50}"/>
          </ac:spMkLst>
        </pc:spChg>
        <pc:spChg chg="mod">
          <ac:chgData name="Scott Sink" userId="007532c1-63dd-4f29-9932-df3a9735f490" providerId="ADAL" clId="{FC83FA74-9C6C-494A-B4A7-F24DFB5E5CF4}" dt="2023-06-12T08:46:37.832" v="7629" actId="478"/>
          <ac:spMkLst>
            <pc:docMk/>
            <pc:sldMk cId="119098387" sldId="3730"/>
            <ac:spMk id="26" creationId="{3C7B199D-F5CD-4DAC-A1DF-509104F6EB75}"/>
          </ac:spMkLst>
        </pc:spChg>
        <pc:spChg chg="del">
          <ac:chgData name="Scott Sink" userId="007532c1-63dd-4f29-9932-df3a9735f490" providerId="ADAL" clId="{FC83FA74-9C6C-494A-B4A7-F24DFB5E5CF4}" dt="2023-06-12T08:46:25.694" v="7626" actId="478"/>
          <ac:spMkLst>
            <pc:docMk/>
            <pc:sldMk cId="119098387" sldId="3730"/>
            <ac:spMk id="27" creationId="{2FF7A2AB-60D0-4ADF-A924-E524B3115835}"/>
          </ac:spMkLst>
        </pc:spChg>
        <pc:spChg chg="del">
          <ac:chgData name="Scott Sink" userId="007532c1-63dd-4f29-9932-df3a9735f490" providerId="ADAL" clId="{FC83FA74-9C6C-494A-B4A7-F24DFB5E5CF4}" dt="2023-06-12T08:46:37.832" v="7629" actId="478"/>
          <ac:spMkLst>
            <pc:docMk/>
            <pc:sldMk cId="119098387" sldId="3730"/>
            <ac:spMk id="28" creationId="{0149BC82-5294-4D46-B818-5B7F243B9D16}"/>
          </ac:spMkLst>
        </pc:spChg>
        <pc:spChg chg="mod">
          <ac:chgData name="Scott Sink" userId="007532c1-63dd-4f29-9932-df3a9735f490" providerId="ADAL" clId="{FC83FA74-9C6C-494A-B4A7-F24DFB5E5CF4}" dt="2023-06-12T08:46:37.832" v="7629" actId="478"/>
          <ac:spMkLst>
            <pc:docMk/>
            <pc:sldMk cId="119098387" sldId="3730"/>
            <ac:spMk id="29" creationId="{4DDD79A7-7543-4ECD-A368-E9ACD507C43E}"/>
          </ac:spMkLst>
        </pc:spChg>
        <pc:spChg chg="mod">
          <ac:chgData name="Scott Sink" userId="007532c1-63dd-4f29-9932-df3a9735f490" providerId="ADAL" clId="{FC83FA74-9C6C-494A-B4A7-F24DFB5E5CF4}" dt="2023-06-12T08:46:37.832" v="7629" actId="478"/>
          <ac:spMkLst>
            <pc:docMk/>
            <pc:sldMk cId="119098387" sldId="3730"/>
            <ac:spMk id="30" creationId="{BFCB82B5-6012-401F-8659-BCA91AB63664}"/>
          </ac:spMkLst>
        </pc:spChg>
        <pc:spChg chg="mod">
          <ac:chgData name="Scott Sink" userId="007532c1-63dd-4f29-9932-df3a9735f490" providerId="ADAL" clId="{FC83FA74-9C6C-494A-B4A7-F24DFB5E5CF4}" dt="2023-06-12T08:46:37.832" v="7629" actId="478"/>
          <ac:spMkLst>
            <pc:docMk/>
            <pc:sldMk cId="119098387" sldId="3730"/>
            <ac:spMk id="31" creationId="{9A8B9EA3-F8E1-4010-BDD7-B509149F0D8B}"/>
          </ac:spMkLst>
        </pc:spChg>
        <pc:spChg chg="mod">
          <ac:chgData name="Scott Sink" userId="007532c1-63dd-4f29-9932-df3a9735f490" providerId="ADAL" clId="{FC83FA74-9C6C-494A-B4A7-F24DFB5E5CF4}" dt="2023-06-12T08:46:37.832" v="7629" actId="478"/>
          <ac:spMkLst>
            <pc:docMk/>
            <pc:sldMk cId="119098387" sldId="3730"/>
            <ac:spMk id="32" creationId="{96CC856B-486B-4F24-8F23-CA9FC6162F9C}"/>
          </ac:spMkLst>
        </pc:spChg>
        <pc:spChg chg="mod">
          <ac:chgData name="Scott Sink" userId="007532c1-63dd-4f29-9932-df3a9735f490" providerId="ADAL" clId="{FC83FA74-9C6C-494A-B4A7-F24DFB5E5CF4}" dt="2023-06-12T08:46:37.832" v="7629" actId="478"/>
          <ac:spMkLst>
            <pc:docMk/>
            <pc:sldMk cId="119098387" sldId="3730"/>
            <ac:spMk id="39" creationId="{89B5AFD2-24B7-463A-A991-FD59943D6F40}"/>
          </ac:spMkLst>
        </pc:spChg>
        <pc:grpChg chg="mod">
          <ac:chgData name="Scott Sink" userId="007532c1-63dd-4f29-9932-df3a9735f490" providerId="ADAL" clId="{FC83FA74-9C6C-494A-B4A7-F24DFB5E5CF4}" dt="2023-06-12T08:46:37.832" v="7629" actId="478"/>
          <ac:grpSpMkLst>
            <pc:docMk/>
            <pc:sldMk cId="119098387" sldId="3730"/>
            <ac:grpSpMk id="2" creationId="{C6219531-88F5-40A5-A039-B586DA3EC594}"/>
          </ac:grpSpMkLst>
        </pc:grpChg>
        <pc:picChg chg="mod">
          <ac:chgData name="Scott Sink" userId="007532c1-63dd-4f29-9932-df3a9735f490" providerId="ADAL" clId="{FC83FA74-9C6C-494A-B4A7-F24DFB5E5CF4}" dt="2023-06-12T08:46:37.832" v="7629" actId="478"/>
          <ac:picMkLst>
            <pc:docMk/>
            <pc:sldMk cId="119098387" sldId="3730"/>
            <ac:picMk id="68633" creationId="{1031AA4C-A6FD-4C7C-A144-B6C83431A0F2}"/>
          </ac:picMkLst>
        </pc:picChg>
        <pc:cxnChg chg="mod">
          <ac:chgData name="Scott Sink" userId="007532c1-63dd-4f29-9932-df3a9735f490" providerId="ADAL" clId="{FC83FA74-9C6C-494A-B4A7-F24DFB5E5CF4}" dt="2023-06-12T08:46:37.832" v="7629" actId="478"/>
          <ac:cxnSpMkLst>
            <pc:docMk/>
            <pc:sldMk cId="119098387" sldId="3730"/>
            <ac:cxnSpMk id="16" creationId="{ECFD1F2F-4772-448A-899E-933B87CD8A36}"/>
          </ac:cxnSpMkLst>
        </pc:cxnChg>
        <pc:cxnChg chg="mod">
          <ac:chgData name="Scott Sink" userId="007532c1-63dd-4f29-9932-df3a9735f490" providerId="ADAL" clId="{FC83FA74-9C6C-494A-B4A7-F24DFB5E5CF4}" dt="2023-06-12T08:46:37.832" v="7629" actId="478"/>
          <ac:cxnSpMkLst>
            <pc:docMk/>
            <pc:sldMk cId="119098387" sldId="3730"/>
            <ac:cxnSpMk id="34" creationId="{9DBFCDF8-7155-48EA-8DD3-1EFD4EEFE83C}"/>
          </ac:cxnSpMkLst>
        </pc:cxnChg>
        <pc:cxnChg chg="mod">
          <ac:chgData name="Scott Sink" userId="007532c1-63dd-4f29-9932-df3a9735f490" providerId="ADAL" clId="{FC83FA74-9C6C-494A-B4A7-F24DFB5E5CF4}" dt="2023-06-12T08:46:37.832" v="7629" actId="478"/>
          <ac:cxnSpMkLst>
            <pc:docMk/>
            <pc:sldMk cId="119098387" sldId="3730"/>
            <ac:cxnSpMk id="41" creationId="{EE7833D6-17C3-45A9-B47E-B79684DC2B8B}"/>
          </ac:cxnSpMkLst>
        </pc:cxnChg>
      </pc:sldChg>
      <pc:sldChg chg="add ord">
        <pc:chgData name="Scott Sink" userId="007532c1-63dd-4f29-9932-df3a9735f490" providerId="ADAL" clId="{FC83FA74-9C6C-494A-B4A7-F24DFB5E5CF4}" dt="2023-06-13T06:19:44.916" v="12914"/>
        <pc:sldMkLst>
          <pc:docMk/>
          <pc:sldMk cId="4117063728" sldId="3731"/>
        </pc:sldMkLst>
      </pc:sldChg>
      <pc:sldChg chg="delSp modSp add mod">
        <pc:chgData name="Scott Sink" userId="007532c1-63dd-4f29-9932-df3a9735f490" providerId="ADAL" clId="{FC83FA74-9C6C-494A-B4A7-F24DFB5E5CF4}" dt="2023-06-13T06:21:51.963" v="12966" actId="20577"/>
        <pc:sldMkLst>
          <pc:docMk/>
          <pc:sldMk cId="1765412184" sldId="3732"/>
        </pc:sldMkLst>
        <pc:spChg chg="mod">
          <ac:chgData name="Scott Sink" userId="007532c1-63dd-4f29-9932-df3a9735f490" providerId="ADAL" clId="{FC83FA74-9C6C-494A-B4A7-F24DFB5E5CF4}" dt="2023-06-12T08:59:13.149" v="7670" actId="20577"/>
          <ac:spMkLst>
            <pc:docMk/>
            <pc:sldMk cId="1765412184" sldId="3732"/>
            <ac:spMk id="2" creationId="{00000000-0000-0000-0000-000000000000}"/>
          </ac:spMkLst>
        </pc:spChg>
        <pc:spChg chg="mod">
          <ac:chgData name="Scott Sink" userId="007532c1-63dd-4f29-9932-df3a9735f490" providerId="ADAL" clId="{FC83FA74-9C6C-494A-B4A7-F24DFB5E5CF4}" dt="2023-06-13T06:21:51.963" v="12966" actId="20577"/>
          <ac:spMkLst>
            <pc:docMk/>
            <pc:sldMk cId="1765412184" sldId="3732"/>
            <ac:spMk id="3" creationId="{00000000-0000-0000-0000-000000000000}"/>
          </ac:spMkLst>
        </pc:spChg>
        <pc:spChg chg="del">
          <ac:chgData name="Scott Sink" userId="007532c1-63dd-4f29-9932-df3a9735f490" providerId="ADAL" clId="{FC83FA74-9C6C-494A-B4A7-F24DFB5E5CF4}" dt="2023-06-12T08:59:05.660" v="7658" actId="478"/>
          <ac:spMkLst>
            <pc:docMk/>
            <pc:sldMk cId="1765412184" sldId="3732"/>
            <ac:spMk id="4" creationId="{00000000-0000-0000-0000-000000000000}"/>
          </ac:spMkLst>
        </pc:spChg>
      </pc:sldChg>
      <pc:sldChg chg="delSp modSp add mod">
        <pc:chgData name="Scott Sink" userId="007532c1-63dd-4f29-9932-df3a9735f490" providerId="ADAL" clId="{FC83FA74-9C6C-494A-B4A7-F24DFB5E5CF4}" dt="2023-06-13T06:24:01.028" v="13172" actId="20577"/>
        <pc:sldMkLst>
          <pc:docMk/>
          <pc:sldMk cId="3309833769" sldId="3733"/>
        </pc:sldMkLst>
        <pc:spChg chg="mod">
          <ac:chgData name="Scott Sink" userId="007532c1-63dd-4f29-9932-df3a9735f490" providerId="ADAL" clId="{FC83FA74-9C6C-494A-B4A7-F24DFB5E5CF4}" dt="2023-06-12T09:00:57.804" v="7966" actId="20577"/>
          <ac:spMkLst>
            <pc:docMk/>
            <pc:sldMk cId="3309833769" sldId="3733"/>
            <ac:spMk id="2" creationId="{00000000-0000-0000-0000-000000000000}"/>
          </ac:spMkLst>
        </pc:spChg>
        <pc:spChg chg="mod">
          <ac:chgData name="Scott Sink" userId="007532c1-63dd-4f29-9932-df3a9735f490" providerId="ADAL" clId="{FC83FA74-9C6C-494A-B4A7-F24DFB5E5CF4}" dt="2023-06-13T06:24:01.028" v="13172" actId="20577"/>
          <ac:spMkLst>
            <pc:docMk/>
            <pc:sldMk cId="3309833769" sldId="3733"/>
            <ac:spMk id="3" creationId="{00000000-0000-0000-0000-000000000000}"/>
          </ac:spMkLst>
        </pc:spChg>
        <pc:spChg chg="del">
          <ac:chgData name="Scott Sink" userId="007532c1-63dd-4f29-9932-df3a9735f490" providerId="ADAL" clId="{FC83FA74-9C6C-494A-B4A7-F24DFB5E5CF4}" dt="2023-06-12T09:01:35.110" v="8038" actId="478"/>
          <ac:spMkLst>
            <pc:docMk/>
            <pc:sldMk cId="3309833769" sldId="3733"/>
            <ac:spMk id="4" creationId="{00000000-0000-0000-0000-000000000000}"/>
          </ac:spMkLst>
        </pc:spChg>
      </pc:sldChg>
      <pc:sldChg chg="modSp add mod">
        <pc:chgData name="Scott Sink" userId="007532c1-63dd-4f29-9932-df3a9735f490" providerId="ADAL" clId="{FC83FA74-9C6C-494A-B4A7-F24DFB5E5CF4}" dt="2023-06-13T06:27:25.769" v="13571" actId="27636"/>
        <pc:sldMkLst>
          <pc:docMk/>
          <pc:sldMk cId="3254246654" sldId="3734"/>
        </pc:sldMkLst>
        <pc:spChg chg="mod">
          <ac:chgData name="Scott Sink" userId="007532c1-63dd-4f29-9932-df3a9735f490" providerId="ADAL" clId="{FC83FA74-9C6C-494A-B4A7-F24DFB5E5CF4}" dt="2023-06-13T06:27:23.116" v="13569" actId="1076"/>
          <ac:spMkLst>
            <pc:docMk/>
            <pc:sldMk cId="3254246654" sldId="3734"/>
            <ac:spMk id="2" creationId="{00000000-0000-0000-0000-000000000000}"/>
          </ac:spMkLst>
        </pc:spChg>
        <pc:spChg chg="mod">
          <ac:chgData name="Scott Sink" userId="007532c1-63dd-4f29-9932-df3a9735f490" providerId="ADAL" clId="{FC83FA74-9C6C-494A-B4A7-F24DFB5E5CF4}" dt="2023-06-13T06:27:25.769" v="13571" actId="27636"/>
          <ac:spMkLst>
            <pc:docMk/>
            <pc:sldMk cId="3254246654" sldId="3734"/>
            <ac:spMk id="3" creationId="{00000000-0000-0000-0000-000000000000}"/>
          </ac:spMkLst>
        </pc:spChg>
      </pc:sldChg>
      <pc:sldChg chg="add ord">
        <pc:chgData name="Scott Sink" userId="007532c1-63dd-4f29-9932-df3a9735f490" providerId="ADAL" clId="{FC83FA74-9C6C-494A-B4A7-F24DFB5E5CF4}" dt="2023-06-13T14:40:12.659" v="14488"/>
        <pc:sldMkLst>
          <pc:docMk/>
          <pc:sldMk cId="3582924897" sldId="3735"/>
        </pc:sldMkLst>
      </pc:sldChg>
      <pc:sldChg chg="add">
        <pc:chgData name="Scott Sink" userId="007532c1-63dd-4f29-9932-df3a9735f490" providerId="ADAL" clId="{FC83FA74-9C6C-494A-B4A7-F24DFB5E5CF4}" dt="2023-06-12T09:04:44.133" v="8064"/>
        <pc:sldMkLst>
          <pc:docMk/>
          <pc:sldMk cId="3706266293" sldId="3736"/>
        </pc:sldMkLst>
      </pc:sldChg>
      <pc:sldChg chg="addSp delSp modSp new mod">
        <pc:chgData name="Scott Sink" userId="007532c1-63dd-4f29-9932-df3a9735f490" providerId="ADAL" clId="{FC83FA74-9C6C-494A-B4A7-F24DFB5E5CF4}" dt="2023-06-12T09:30:14.643" v="8907" actId="1076"/>
        <pc:sldMkLst>
          <pc:docMk/>
          <pc:sldMk cId="89679871" sldId="3737"/>
        </pc:sldMkLst>
        <pc:spChg chg="mod">
          <ac:chgData name="Scott Sink" userId="007532c1-63dd-4f29-9932-df3a9735f490" providerId="ADAL" clId="{FC83FA74-9C6C-494A-B4A7-F24DFB5E5CF4}" dt="2023-06-12T09:10:44.653" v="8365" actId="404"/>
          <ac:spMkLst>
            <pc:docMk/>
            <pc:sldMk cId="89679871" sldId="3737"/>
            <ac:spMk id="2" creationId="{497C1C4B-9B45-9F7F-7CC7-F40B273F38EF}"/>
          </ac:spMkLst>
        </pc:spChg>
        <pc:spChg chg="del">
          <ac:chgData name="Scott Sink" userId="007532c1-63dd-4f29-9932-df3a9735f490" providerId="ADAL" clId="{FC83FA74-9C6C-494A-B4A7-F24DFB5E5CF4}" dt="2023-06-12T09:09:45.686" v="8322" actId="478"/>
          <ac:spMkLst>
            <pc:docMk/>
            <pc:sldMk cId="89679871" sldId="3737"/>
            <ac:spMk id="3" creationId="{4C2790D9-5C44-C416-915E-979B66653F7F}"/>
          </ac:spMkLst>
        </pc:spChg>
        <pc:spChg chg="add mod">
          <ac:chgData name="Scott Sink" userId="007532c1-63dd-4f29-9932-df3a9735f490" providerId="ADAL" clId="{FC83FA74-9C6C-494A-B4A7-F24DFB5E5CF4}" dt="2023-06-12T09:10:52.655" v="8366" actId="207"/>
          <ac:spMkLst>
            <pc:docMk/>
            <pc:sldMk cId="89679871" sldId="3737"/>
            <ac:spMk id="4" creationId="{485F5316-08B8-8EFF-F36D-A57C3DBBE398}"/>
          </ac:spMkLst>
        </pc:spChg>
        <pc:spChg chg="add mod">
          <ac:chgData name="Scott Sink" userId="007532c1-63dd-4f29-9932-df3a9735f490" providerId="ADAL" clId="{FC83FA74-9C6C-494A-B4A7-F24DFB5E5CF4}" dt="2023-06-12T09:28:16.823" v="8892" actId="207"/>
          <ac:spMkLst>
            <pc:docMk/>
            <pc:sldMk cId="89679871" sldId="3737"/>
            <ac:spMk id="5" creationId="{33DB4E3F-E37E-9790-9ACE-806BF253F4E1}"/>
          </ac:spMkLst>
        </pc:spChg>
        <pc:spChg chg="add mod">
          <ac:chgData name="Scott Sink" userId="007532c1-63dd-4f29-9932-df3a9735f490" providerId="ADAL" clId="{FC83FA74-9C6C-494A-B4A7-F24DFB5E5CF4}" dt="2023-06-12T09:26:42.676" v="8851" actId="1076"/>
          <ac:spMkLst>
            <pc:docMk/>
            <pc:sldMk cId="89679871" sldId="3737"/>
            <ac:spMk id="6" creationId="{3CA71570-6B1E-E585-4771-D466FFB3B7E5}"/>
          </ac:spMkLst>
        </pc:spChg>
        <pc:spChg chg="add mod">
          <ac:chgData name="Scott Sink" userId="007532c1-63dd-4f29-9932-df3a9735f490" providerId="ADAL" clId="{FC83FA74-9C6C-494A-B4A7-F24DFB5E5CF4}" dt="2023-06-12T09:28:04.124" v="8891" actId="207"/>
          <ac:spMkLst>
            <pc:docMk/>
            <pc:sldMk cId="89679871" sldId="3737"/>
            <ac:spMk id="7" creationId="{DD5BFD8B-1A77-84AF-9F16-21772F5973B0}"/>
          </ac:spMkLst>
        </pc:spChg>
        <pc:spChg chg="add mod">
          <ac:chgData name="Scott Sink" userId="007532c1-63dd-4f29-9932-df3a9735f490" providerId="ADAL" clId="{FC83FA74-9C6C-494A-B4A7-F24DFB5E5CF4}" dt="2023-06-12T09:30:07.772" v="8906" actId="1076"/>
          <ac:spMkLst>
            <pc:docMk/>
            <pc:sldMk cId="89679871" sldId="3737"/>
            <ac:spMk id="8" creationId="{3D777DA8-4ED9-F60B-801A-2C4602162F24}"/>
          </ac:spMkLst>
        </pc:spChg>
        <pc:spChg chg="add mod">
          <ac:chgData name="Scott Sink" userId="007532c1-63dd-4f29-9932-df3a9735f490" providerId="ADAL" clId="{FC83FA74-9C6C-494A-B4A7-F24DFB5E5CF4}" dt="2023-06-12T09:28:41.981" v="8899" actId="20577"/>
          <ac:spMkLst>
            <pc:docMk/>
            <pc:sldMk cId="89679871" sldId="3737"/>
            <ac:spMk id="9" creationId="{4B5D45A9-EB7D-B62E-C46E-F31D365FD796}"/>
          </ac:spMkLst>
        </pc:spChg>
        <pc:spChg chg="add mod">
          <ac:chgData name="Scott Sink" userId="007532c1-63dd-4f29-9932-df3a9735f490" providerId="ADAL" clId="{FC83FA74-9C6C-494A-B4A7-F24DFB5E5CF4}" dt="2023-06-12T09:29:45.527" v="8904" actId="403"/>
          <ac:spMkLst>
            <pc:docMk/>
            <pc:sldMk cId="89679871" sldId="3737"/>
            <ac:spMk id="10" creationId="{1B03DC4D-1046-34EE-FDE0-100D01B67958}"/>
          </ac:spMkLst>
        </pc:spChg>
        <pc:spChg chg="add mod">
          <ac:chgData name="Scott Sink" userId="007532c1-63dd-4f29-9932-df3a9735f490" providerId="ADAL" clId="{FC83FA74-9C6C-494A-B4A7-F24DFB5E5CF4}" dt="2023-06-12T09:30:14.643" v="8907" actId="1076"/>
          <ac:spMkLst>
            <pc:docMk/>
            <pc:sldMk cId="89679871" sldId="3737"/>
            <ac:spMk id="11" creationId="{B848FBAB-E539-FDBA-F381-5614B7D9B0E4}"/>
          </ac:spMkLst>
        </pc:spChg>
        <pc:spChg chg="add mod">
          <ac:chgData name="Scott Sink" userId="007532c1-63dd-4f29-9932-df3a9735f490" providerId="ADAL" clId="{FC83FA74-9C6C-494A-B4A7-F24DFB5E5CF4}" dt="2023-06-12T09:27:56.496" v="8890" actId="207"/>
          <ac:spMkLst>
            <pc:docMk/>
            <pc:sldMk cId="89679871" sldId="3737"/>
            <ac:spMk id="12" creationId="{00ED43EC-03E5-F901-3884-06B9F131636A}"/>
          </ac:spMkLst>
        </pc:spChg>
        <pc:spChg chg="add mod">
          <ac:chgData name="Scott Sink" userId="007532c1-63dd-4f29-9932-df3a9735f490" providerId="ADAL" clId="{FC83FA74-9C6C-494A-B4A7-F24DFB5E5CF4}" dt="2023-06-12T09:22:28.430" v="8831" actId="1076"/>
          <ac:spMkLst>
            <pc:docMk/>
            <pc:sldMk cId="89679871" sldId="3737"/>
            <ac:spMk id="13" creationId="{FF7A4EB0-85E2-662A-E903-EDF477898837}"/>
          </ac:spMkLst>
        </pc:spChg>
        <pc:spChg chg="add mod">
          <ac:chgData name="Scott Sink" userId="007532c1-63dd-4f29-9932-df3a9735f490" providerId="ADAL" clId="{FC83FA74-9C6C-494A-B4A7-F24DFB5E5CF4}" dt="2023-06-12T09:22:38.713" v="8835" actId="20577"/>
          <ac:spMkLst>
            <pc:docMk/>
            <pc:sldMk cId="89679871" sldId="3737"/>
            <ac:spMk id="14" creationId="{D13418A5-7384-9AC3-7708-199758713B5B}"/>
          </ac:spMkLst>
        </pc:spChg>
        <pc:spChg chg="add mod">
          <ac:chgData name="Scott Sink" userId="007532c1-63dd-4f29-9932-df3a9735f490" providerId="ADAL" clId="{FC83FA74-9C6C-494A-B4A7-F24DFB5E5CF4}" dt="2023-06-12T09:22:50.926" v="8839" actId="20577"/>
          <ac:spMkLst>
            <pc:docMk/>
            <pc:sldMk cId="89679871" sldId="3737"/>
            <ac:spMk id="15" creationId="{E7C439FC-F268-8558-204A-0B4B15BBB394}"/>
          </ac:spMkLst>
        </pc:spChg>
        <pc:spChg chg="add mod">
          <ac:chgData name="Scott Sink" userId="007532c1-63dd-4f29-9932-df3a9735f490" providerId="ADAL" clId="{FC83FA74-9C6C-494A-B4A7-F24DFB5E5CF4}" dt="2023-06-12T09:23:11.081" v="8843" actId="20577"/>
          <ac:spMkLst>
            <pc:docMk/>
            <pc:sldMk cId="89679871" sldId="3737"/>
            <ac:spMk id="16" creationId="{E330B9F3-259D-E1D7-4378-1F9B3077C908}"/>
          </ac:spMkLst>
        </pc:spChg>
        <pc:spChg chg="add mod">
          <ac:chgData name="Scott Sink" userId="007532c1-63dd-4f29-9932-df3a9735f490" providerId="ADAL" clId="{FC83FA74-9C6C-494A-B4A7-F24DFB5E5CF4}" dt="2023-06-12T09:23:28.423" v="8847" actId="20577"/>
          <ac:spMkLst>
            <pc:docMk/>
            <pc:sldMk cId="89679871" sldId="3737"/>
            <ac:spMk id="17" creationId="{6A54E594-056F-B7C5-2AC2-818A1558E5B8}"/>
          </ac:spMkLst>
        </pc:spChg>
        <pc:spChg chg="add mod">
          <ac:chgData name="Scott Sink" userId="007532c1-63dd-4f29-9932-df3a9735f490" providerId="ADAL" clId="{FC83FA74-9C6C-494A-B4A7-F24DFB5E5CF4}" dt="2023-06-12T09:27:42.256" v="8889" actId="207"/>
          <ac:spMkLst>
            <pc:docMk/>
            <pc:sldMk cId="89679871" sldId="3737"/>
            <ac:spMk id="18" creationId="{A872337B-6819-51D1-C254-672FF06CFB36}"/>
          </ac:spMkLst>
        </pc:spChg>
      </pc:sldChg>
      <pc:sldChg chg="modSp new mod">
        <pc:chgData name="Scott Sink" userId="007532c1-63dd-4f29-9932-df3a9735f490" providerId="ADAL" clId="{FC83FA74-9C6C-494A-B4A7-F24DFB5E5CF4}" dt="2023-06-13T13:55:39.900" v="14446" actId="404"/>
        <pc:sldMkLst>
          <pc:docMk/>
          <pc:sldMk cId="4163520317" sldId="3738"/>
        </pc:sldMkLst>
        <pc:spChg chg="mod">
          <ac:chgData name="Scott Sink" userId="007532c1-63dd-4f29-9932-df3a9735f490" providerId="ADAL" clId="{FC83FA74-9C6C-494A-B4A7-F24DFB5E5CF4}" dt="2023-06-12T09:30:34.910" v="8925" actId="20577"/>
          <ac:spMkLst>
            <pc:docMk/>
            <pc:sldMk cId="4163520317" sldId="3738"/>
            <ac:spMk id="2" creationId="{5D9E7292-5830-3EF5-9C81-ED8522086C4A}"/>
          </ac:spMkLst>
        </pc:spChg>
        <pc:spChg chg="mod">
          <ac:chgData name="Scott Sink" userId="007532c1-63dd-4f29-9932-df3a9735f490" providerId="ADAL" clId="{FC83FA74-9C6C-494A-B4A7-F24DFB5E5CF4}" dt="2023-06-13T13:55:39.900" v="14446" actId="404"/>
          <ac:spMkLst>
            <pc:docMk/>
            <pc:sldMk cId="4163520317" sldId="3738"/>
            <ac:spMk id="3" creationId="{FD9CA1DB-A088-85AB-0C48-4A645B9AF2F5}"/>
          </ac:spMkLst>
        </pc:spChg>
      </pc:sldChg>
      <pc:sldChg chg="modSp add mod ord">
        <pc:chgData name="Scott Sink" userId="007532c1-63dd-4f29-9932-df3a9735f490" providerId="ADAL" clId="{FC83FA74-9C6C-494A-B4A7-F24DFB5E5CF4}" dt="2023-06-13T06:19:26.151" v="12912"/>
        <pc:sldMkLst>
          <pc:docMk/>
          <pc:sldMk cId="1007212286" sldId="3739"/>
        </pc:sldMkLst>
        <pc:spChg chg="mod">
          <ac:chgData name="Scott Sink" userId="007532c1-63dd-4f29-9932-df3a9735f490" providerId="ADAL" clId="{FC83FA74-9C6C-494A-B4A7-F24DFB5E5CF4}" dt="2023-06-12T09:47:17.260" v="9545" actId="403"/>
          <ac:spMkLst>
            <pc:docMk/>
            <pc:sldMk cId="1007212286" sldId="3739"/>
            <ac:spMk id="2" creationId="{00000000-0000-0000-0000-000000000000}"/>
          </ac:spMkLst>
        </pc:spChg>
        <pc:spChg chg="mod">
          <ac:chgData name="Scott Sink" userId="007532c1-63dd-4f29-9932-df3a9735f490" providerId="ADAL" clId="{FC83FA74-9C6C-494A-B4A7-F24DFB5E5CF4}" dt="2023-06-12T09:47:22.416" v="9550" actId="27636"/>
          <ac:spMkLst>
            <pc:docMk/>
            <pc:sldMk cId="1007212286" sldId="3739"/>
            <ac:spMk id="12" creationId="{00000000-0000-0000-0000-000000000000}"/>
          </ac:spMkLst>
        </pc:spChg>
      </pc:sldChg>
      <pc:sldChg chg="modSp add mod ord">
        <pc:chgData name="Scott Sink" userId="007532c1-63dd-4f29-9932-df3a9735f490" providerId="ADAL" clId="{FC83FA74-9C6C-494A-B4A7-F24DFB5E5CF4}" dt="2023-06-13T10:39:31.158" v="14148"/>
        <pc:sldMkLst>
          <pc:docMk/>
          <pc:sldMk cId="3080365828" sldId="3740"/>
        </pc:sldMkLst>
        <pc:spChg chg="mod">
          <ac:chgData name="Scott Sink" userId="007532c1-63dd-4f29-9932-df3a9735f490" providerId="ADAL" clId="{FC83FA74-9C6C-494A-B4A7-F24DFB5E5CF4}" dt="2023-06-12T09:48:08.459" v="9560" actId="5793"/>
          <ac:spMkLst>
            <pc:docMk/>
            <pc:sldMk cId="3080365828" sldId="3740"/>
            <ac:spMk id="12" creationId="{00000000-0000-0000-0000-000000000000}"/>
          </ac:spMkLst>
        </pc:spChg>
      </pc:sldChg>
      <pc:sldChg chg="delSp modSp add mod ord delAnim">
        <pc:chgData name="Scott Sink" userId="007532c1-63dd-4f29-9932-df3a9735f490" providerId="ADAL" clId="{FC83FA74-9C6C-494A-B4A7-F24DFB5E5CF4}" dt="2023-06-13T06:21:03.836" v="12922"/>
        <pc:sldMkLst>
          <pc:docMk/>
          <pc:sldMk cId="479280247" sldId="3741"/>
        </pc:sldMkLst>
        <pc:spChg chg="mod">
          <ac:chgData name="Scott Sink" userId="007532c1-63dd-4f29-9932-df3a9735f490" providerId="ADAL" clId="{FC83FA74-9C6C-494A-B4A7-F24DFB5E5CF4}" dt="2023-06-12T09:54:25.657" v="9879" actId="20577"/>
          <ac:spMkLst>
            <pc:docMk/>
            <pc:sldMk cId="479280247" sldId="3741"/>
            <ac:spMk id="2" creationId="{36D172E6-EB4D-4CA9-B032-D89C0DD951AC}"/>
          </ac:spMkLst>
        </pc:spChg>
        <pc:spChg chg="del mod">
          <ac:chgData name="Scott Sink" userId="007532c1-63dd-4f29-9932-df3a9735f490" providerId="ADAL" clId="{FC83FA74-9C6C-494A-B4A7-F24DFB5E5CF4}" dt="2023-06-12T09:54:31.478" v="9880" actId="478"/>
          <ac:spMkLst>
            <pc:docMk/>
            <pc:sldMk cId="479280247" sldId="3741"/>
            <ac:spMk id="3" creationId="{03CA8A39-A15A-4AA8-8B0C-A8350D023F1E}"/>
          </ac:spMkLst>
        </pc:spChg>
        <pc:spChg chg="del mod">
          <ac:chgData name="Scott Sink" userId="007532c1-63dd-4f29-9932-df3a9735f490" providerId="ADAL" clId="{FC83FA74-9C6C-494A-B4A7-F24DFB5E5CF4}" dt="2023-06-12T09:51:42.593" v="9568" actId="478"/>
          <ac:spMkLst>
            <pc:docMk/>
            <pc:sldMk cId="479280247" sldId="3741"/>
            <ac:spMk id="5" creationId="{7DD0B49D-EA7E-4765-B7FD-24B967ABF624}"/>
          </ac:spMkLst>
        </pc:spChg>
        <pc:spChg chg="mod">
          <ac:chgData name="Scott Sink" userId="007532c1-63dd-4f29-9932-df3a9735f490" providerId="ADAL" clId="{FC83FA74-9C6C-494A-B4A7-F24DFB5E5CF4}" dt="2023-06-12T09:58:00.743" v="10053" actId="20577"/>
          <ac:spMkLst>
            <pc:docMk/>
            <pc:sldMk cId="479280247" sldId="3741"/>
            <ac:spMk id="24" creationId="{FB0033A8-A525-4CD7-9D36-C762174413F8}"/>
          </ac:spMkLst>
        </pc:spChg>
        <pc:grpChg chg="mod">
          <ac:chgData name="Scott Sink" userId="007532c1-63dd-4f29-9932-df3a9735f490" providerId="ADAL" clId="{FC83FA74-9C6C-494A-B4A7-F24DFB5E5CF4}" dt="2023-06-12T09:54:47.159" v="9883" actId="1076"/>
          <ac:grpSpMkLst>
            <pc:docMk/>
            <pc:sldMk cId="479280247" sldId="3741"/>
            <ac:grpSpMk id="30" creationId="{B47C8FCA-9581-44A5-8180-C56A6150303A}"/>
          </ac:grpSpMkLst>
        </pc:grpChg>
        <pc:grpChg chg="mod">
          <ac:chgData name="Scott Sink" userId="007532c1-63dd-4f29-9932-df3a9735f490" providerId="ADAL" clId="{FC83FA74-9C6C-494A-B4A7-F24DFB5E5CF4}" dt="2023-06-12T09:54:55.859" v="9884" actId="1076"/>
          <ac:grpSpMkLst>
            <pc:docMk/>
            <pc:sldMk cId="479280247" sldId="3741"/>
            <ac:grpSpMk id="34" creationId="{E17D31DB-9B82-499E-BC20-D0F9A2B0C090}"/>
          </ac:grpSpMkLst>
        </pc:grpChg>
        <pc:grpChg chg="mod">
          <ac:chgData name="Scott Sink" userId="007532c1-63dd-4f29-9932-df3a9735f490" providerId="ADAL" clId="{FC83FA74-9C6C-494A-B4A7-F24DFB5E5CF4}" dt="2023-06-12T09:54:42.910" v="9882" actId="1076"/>
          <ac:grpSpMkLst>
            <pc:docMk/>
            <pc:sldMk cId="479280247" sldId="3741"/>
            <ac:grpSpMk id="39" creationId="{B0A4039F-5828-4F1A-B40F-0E7CC707A23B}"/>
          </ac:grpSpMkLst>
        </pc:grpChg>
        <pc:picChg chg="mod">
          <ac:chgData name="Scott Sink" userId="007532c1-63dd-4f29-9932-df3a9735f490" providerId="ADAL" clId="{FC83FA74-9C6C-494A-B4A7-F24DFB5E5CF4}" dt="2023-06-12T09:54:38.652" v="9881" actId="1076"/>
          <ac:picMkLst>
            <pc:docMk/>
            <pc:sldMk cId="479280247" sldId="3741"/>
            <ac:picMk id="19" creationId="{C722F620-7C0D-4868-B175-317B4B45599F}"/>
          </ac:picMkLst>
        </pc:picChg>
        <pc:picChg chg="mod">
          <ac:chgData name="Scott Sink" userId="007532c1-63dd-4f29-9932-df3a9735f490" providerId="ADAL" clId="{FC83FA74-9C6C-494A-B4A7-F24DFB5E5CF4}" dt="2023-06-12T09:55:01.612" v="9885" actId="1076"/>
          <ac:picMkLst>
            <pc:docMk/>
            <pc:sldMk cId="479280247" sldId="3741"/>
            <ac:picMk id="1030" creationId="{A9683ACE-C08E-4FCF-B9FB-5AF3710313D8}"/>
          </ac:picMkLst>
        </pc:picChg>
      </pc:sldChg>
      <pc:sldChg chg="modSp new mod ord">
        <pc:chgData name="Scott Sink" userId="007532c1-63dd-4f29-9932-df3a9735f490" providerId="ADAL" clId="{FC83FA74-9C6C-494A-B4A7-F24DFB5E5CF4}" dt="2023-06-13T06:00:01.455" v="12568" actId="20577"/>
        <pc:sldMkLst>
          <pc:docMk/>
          <pc:sldMk cId="3714319097" sldId="3742"/>
        </pc:sldMkLst>
        <pc:spChg chg="mod">
          <ac:chgData name="Scott Sink" userId="007532c1-63dd-4f29-9932-df3a9735f490" providerId="ADAL" clId="{FC83FA74-9C6C-494A-B4A7-F24DFB5E5CF4}" dt="2023-06-12T10:56:30.877" v="10139" actId="1076"/>
          <ac:spMkLst>
            <pc:docMk/>
            <pc:sldMk cId="3714319097" sldId="3742"/>
            <ac:spMk id="2" creationId="{13737913-3D1E-DA8D-63B6-A020BE9DA04F}"/>
          </ac:spMkLst>
        </pc:spChg>
        <pc:spChg chg="mod">
          <ac:chgData name="Scott Sink" userId="007532c1-63dd-4f29-9932-df3a9735f490" providerId="ADAL" clId="{FC83FA74-9C6C-494A-B4A7-F24DFB5E5CF4}" dt="2023-06-13T06:00:01.455" v="12568" actId="20577"/>
          <ac:spMkLst>
            <pc:docMk/>
            <pc:sldMk cId="3714319097" sldId="3742"/>
            <ac:spMk id="3" creationId="{EC53E337-0102-53E1-22F1-24C03D261F87}"/>
          </ac:spMkLst>
        </pc:spChg>
      </pc:sldChg>
      <pc:sldChg chg="addSp delSp modSp new mod">
        <pc:chgData name="Scott Sink" userId="007532c1-63dd-4f29-9932-df3a9735f490" providerId="ADAL" clId="{FC83FA74-9C6C-494A-B4A7-F24DFB5E5CF4}" dt="2023-06-12T11:16:08.529" v="11248" actId="20577"/>
        <pc:sldMkLst>
          <pc:docMk/>
          <pc:sldMk cId="2081871205" sldId="3743"/>
        </pc:sldMkLst>
        <pc:spChg chg="mod">
          <ac:chgData name="Scott Sink" userId="007532c1-63dd-4f29-9932-df3a9735f490" providerId="ADAL" clId="{FC83FA74-9C6C-494A-B4A7-F24DFB5E5CF4}" dt="2023-06-12T11:16:08.529" v="11248" actId="20577"/>
          <ac:spMkLst>
            <pc:docMk/>
            <pc:sldMk cId="2081871205" sldId="3743"/>
            <ac:spMk id="2" creationId="{04821A8A-A9B9-6673-2083-B98129BBF227}"/>
          </ac:spMkLst>
        </pc:spChg>
        <pc:spChg chg="del">
          <ac:chgData name="Scott Sink" userId="007532c1-63dd-4f29-9932-df3a9735f490" providerId="ADAL" clId="{FC83FA74-9C6C-494A-B4A7-F24DFB5E5CF4}" dt="2023-06-12T11:14:32.257" v="11041" actId="478"/>
          <ac:spMkLst>
            <pc:docMk/>
            <pc:sldMk cId="2081871205" sldId="3743"/>
            <ac:spMk id="3" creationId="{D0782E2F-D2B9-122C-AACA-A775C67439D0}"/>
          </ac:spMkLst>
        </pc:spChg>
        <pc:spChg chg="del">
          <ac:chgData name="Scott Sink" userId="007532c1-63dd-4f29-9932-df3a9735f490" providerId="ADAL" clId="{FC83FA74-9C6C-494A-B4A7-F24DFB5E5CF4}" dt="2023-06-12T11:14:16.010" v="11017"/>
          <ac:spMkLst>
            <pc:docMk/>
            <pc:sldMk cId="2081871205" sldId="3743"/>
            <ac:spMk id="4" creationId="{63FA2236-9752-49E6-220B-71289B8BD1DC}"/>
          </ac:spMkLst>
        </pc:spChg>
        <pc:spChg chg="del">
          <ac:chgData name="Scott Sink" userId="007532c1-63dd-4f29-9932-df3a9735f490" providerId="ADAL" clId="{FC83FA74-9C6C-494A-B4A7-F24DFB5E5CF4}" dt="2023-06-12T11:14:33.543" v="11042" actId="478"/>
          <ac:spMkLst>
            <pc:docMk/>
            <pc:sldMk cId="2081871205" sldId="3743"/>
            <ac:spMk id="5" creationId="{62FFF2CB-11F7-A8FD-C267-EF170354272C}"/>
          </ac:spMkLst>
        </pc:spChg>
        <pc:spChg chg="del">
          <ac:chgData name="Scott Sink" userId="007532c1-63dd-4f29-9932-df3a9735f490" providerId="ADAL" clId="{FC83FA74-9C6C-494A-B4A7-F24DFB5E5CF4}" dt="2023-06-12T11:14:35.162" v="11043" actId="478"/>
          <ac:spMkLst>
            <pc:docMk/>
            <pc:sldMk cId="2081871205" sldId="3743"/>
            <ac:spMk id="6" creationId="{0F9B19F1-1480-36CB-603C-60A1AF2CC85E}"/>
          </ac:spMkLst>
        </pc:spChg>
        <pc:picChg chg="add mod">
          <ac:chgData name="Scott Sink" userId="007532c1-63dd-4f29-9932-df3a9735f490" providerId="ADAL" clId="{FC83FA74-9C6C-494A-B4A7-F24DFB5E5CF4}" dt="2023-06-12T11:14:48.276" v="11047" actId="14100"/>
          <ac:picMkLst>
            <pc:docMk/>
            <pc:sldMk cId="2081871205" sldId="3743"/>
            <ac:picMk id="9" creationId="{5F2ED315-9BAD-2409-0C07-68B7594121B0}"/>
          </ac:picMkLst>
        </pc:picChg>
      </pc:sldChg>
      <pc:sldChg chg="modSp new mod ord">
        <pc:chgData name="Scott Sink" userId="007532c1-63dd-4f29-9932-df3a9735f490" providerId="ADAL" clId="{FC83FA74-9C6C-494A-B4A7-F24DFB5E5CF4}" dt="2023-06-13T05:50:43.216" v="12185" actId="20577"/>
        <pc:sldMkLst>
          <pc:docMk/>
          <pc:sldMk cId="154761168" sldId="3744"/>
        </pc:sldMkLst>
        <pc:spChg chg="mod">
          <ac:chgData name="Scott Sink" userId="007532c1-63dd-4f29-9932-df3a9735f490" providerId="ADAL" clId="{FC83FA74-9C6C-494A-B4A7-F24DFB5E5CF4}" dt="2023-06-13T05:43:34.949" v="11462" actId="20577"/>
          <ac:spMkLst>
            <pc:docMk/>
            <pc:sldMk cId="154761168" sldId="3744"/>
            <ac:spMk id="2" creationId="{5B9B7EB2-A212-FCF7-119B-97BE26ED2D21}"/>
          </ac:spMkLst>
        </pc:spChg>
        <pc:spChg chg="mod">
          <ac:chgData name="Scott Sink" userId="007532c1-63dd-4f29-9932-df3a9735f490" providerId="ADAL" clId="{FC83FA74-9C6C-494A-B4A7-F24DFB5E5CF4}" dt="2023-06-13T05:50:43.216" v="12185" actId="20577"/>
          <ac:spMkLst>
            <pc:docMk/>
            <pc:sldMk cId="154761168" sldId="3744"/>
            <ac:spMk id="3" creationId="{9068D7F9-6821-85F2-E3CB-6EC90C75AD30}"/>
          </ac:spMkLst>
        </pc:spChg>
      </pc:sldChg>
      <pc:sldChg chg="addSp delSp modSp add mod">
        <pc:chgData name="Scott Sink" userId="007532c1-63dd-4f29-9932-df3a9735f490" providerId="ADAL" clId="{FC83FA74-9C6C-494A-B4A7-F24DFB5E5CF4}" dt="2023-06-13T05:53:22.759" v="12293" actId="1076"/>
        <pc:sldMkLst>
          <pc:docMk/>
          <pc:sldMk cId="1908783343" sldId="3745"/>
        </pc:sldMkLst>
        <pc:spChg chg="mod">
          <ac:chgData name="Scott Sink" userId="007532c1-63dd-4f29-9932-df3a9735f490" providerId="ADAL" clId="{FC83FA74-9C6C-494A-B4A7-F24DFB5E5CF4}" dt="2023-06-13T05:53:22.759" v="12293" actId="1076"/>
          <ac:spMkLst>
            <pc:docMk/>
            <pc:sldMk cId="1908783343" sldId="3745"/>
            <ac:spMk id="2" creationId="{F57C5E07-DB5B-55F2-6F01-6B61AC3D8F04}"/>
          </ac:spMkLst>
        </pc:spChg>
        <pc:spChg chg="del mod">
          <ac:chgData name="Scott Sink" userId="007532c1-63dd-4f29-9932-df3a9735f490" providerId="ADAL" clId="{FC83FA74-9C6C-494A-B4A7-F24DFB5E5CF4}" dt="2023-06-13T05:52:28.419" v="12204" actId="478"/>
          <ac:spMkLst>
            <pc:docMk/>
            <pc:sldMk cId="1908783343" sldId="3745"/>
            <ac:spMk id="3" creationId="{D52268DB-61E4-27E1-5D29-0E7DE9B5711D}"/>
          </ac:spMkLst>
        </pc:spChg>
        <pc:spChg chg="add del mod">
          <ac:chgData name="Scott Sink" userId="007532c1-63dd-4f29-9932-df3a9735f490" providerId="ADAL" clId="{FC83FA74-9C6C-494A-B4A7-F24DFB5E5CF4}" dt="2023-06-13T05:52:38.100" v="12206"/>
          <ac:spMkLst>
            <pc:docMk/>
            <pc:sldMk cId="1908783343" sldId="3745"/>
            <ac:spMk id="4" creationId="{28C69535-7DA1-0B92-3581-96FA3F1099CC}"/>
          </ac:spMkLst>
        </pc:spChg>
        <pc:picChg chg="add mod">
          <ac:chgData name="Scott Sink" userId="007532c1-63dd-4f29-9932-df3a9735f490" providerId="ADAL" clId="{FC83FA74-9C6C-494A-B4A7-F24DFB5E5CF4}" dt="2023-06-13T05:52:50.058" v="12210" actId="14100"/>
          <ac:picMkLst>
            <pc:docMk/>
            <pc:sldMk cId="1908783343" sldId="3745"/>
            <ac:picMk id="5" creationId="{F6DFBB88-9AA1-772E-699D-81B09FF6AAF3}"/>
          </ac:picMkLst>
        </pc:picChg>
      </pc:sldChg>
      <pc:sldChg chg="modSp add mod modClrScheme chgLayout">
        <pc:chgData name="Scott Sink" userId="007532c1-63dd-4f29-9932-df3a9735f490" providerId="ADAL" clId="{FC83FA74-9C6C-494A-B4A7-F24DFB5E5CF4}" dt="2023-06-13T06:03:05.292" v="12692" actId="1076"/>
        <pc:sldMkLst>
          <pc:docMk/>
          <pc:sldMk cId="2252823602" sldId="3746"/>
        </pc:sldMkLst>
        <pc:spChg chg="mod ord">
          <ac:chgData name="Scott Sink" userId="007532c1-63dd-4f29-9932-df3a9735f490" providerId="ADAL" clId="{FC83FA74-9C6C-494A-B4A7-F24DFB5E5CF4}" dt="2023-06-13T06:02:53.517" v="12689" actId="700"/>
          <ac:spMkLst>
            <pc:docMk/>
            <pc:sldMk cId="2252823602" sldId="3746"/>
            <ac:spMk id="2" creationId="{0256664E-48AC-4EC7-B938-D31E570F7EB5}"/>
          </ac:spMkLst>
        </pc:spChg>
        <pc:picChg chg="mod">
          <ac:chgData name="Scott Sink" userId="007532c1-63dd-4f29-9932-df3a9735f490" providerId="ADAL" clId="{FC83FA74-9C6C-494A-B4A7-F24DFB5E5CF4}" dt="2023-06-13T06:03:05.292" v="12692" actId="1076"/>
          <ac:picMkLst>
            <pc:docMk/>
            <pc:sldMk cId="2252823602" sldId="3746"/>
            <ac:picMk id="4" creationId="{168E3AB8-F01B-4BAA-8BD0-09B0F5F65C69}"/>
          </ac:picMkLst>
        </pc:picChg>
        <pc:picChg chg="mod ord">
          <ac:chgData name="Scott Sink" userId="007532c1-63dd-4f29-9932-df3a9735f490" providerId="ADAL" clId="{FC83FA74-9C6C-494A-B4A7-F24DFB5E5CF4}" dt="2023-06-13T06:03:00.916" v="12690" actId="1076"/>
          <ac:picMkLst>
            <pc:docMk/>
            <pc:sldMk cId="2252823602" sldId="3746"/>
            <ac:picMk id="5" creationId="{82681B15-219F-4CBD-80B7-01EC6202C201}"/>
          </ac:picMkLst>
        </pc:picChg>
        <pc:picChg chg="mod">
          <ac:chgData name="Scott Sink" userId="007532c1-63dd-4f29-9932-df3a9735f490" providerId="ADAL" clId="{FC83FA74-9C6C-494A-B4A7-F24DFB5E5CF4}" dt="2023-06-13T06:03:02.713" v="12691" actId="1076"/>
          <ac:picMkLst>
            <pc:docMk/>
            <pc:sldMk cId="2252823602" sldId="3746"/>
            <ac:picMk id="1026" creationId="{D8706658-0295-46C1-973F-E6F2BC5FE202}"/>
          </ac:picMkLst>
        </pc:picChg>
      </pc:sldChg>
      <pc:sldChg chg="addSp delSp modSp new del mod">
        <pc:chgData name="Scott Sink" userId="007532c1-63dd-4f29-9932-df3a9735f490" providerId="ADAL" clId="{FC83FA74-9C6C-494A-B4A7-F24DFB5E5CF4}" dt="2023-06-13T06:16:20.486" v="12880" actId="47"/>
        <pc:sldMkLst>
          <pc:docMk/>
          <pc:sldMk cId="983868815" sldId="3747"/>
        </pc:sldMkLst>
        <pc:spChg chg="del">
          <ac:chgData name="Scott Sink" userId="007532c1-63dd-4f29-9932-df3a9735f490" providerId="ADAL" clId="{FC83FA74-9C6C-494A-B4A7-F24DFB5E5CF4}" dt="2023-06-13T06:06:01.651" v="12698"/>
          <ac:spMkLst>
            <pc:docMk/>
            <pc:sldMk cId="983868815" sldId="3747"/>
            <ac:spMk id="3" creationId="{94E9BE5A-B975-76CC-1D91-C75D9A5BB89D}"/>
          </ac:spMkLst>
        </pc:spChg>
        <pc:picChg chg="add mod">
          <ac:chgData name="Scott Sink" userId="007532c1-63dd-4f29-9932-df3a9735f490" providerId="ADAL" clId="{FC83FA74-9C6C-494A-B4A7-F24DFB5E5CF4}" dt="2023-06-13T06:06:02.549" v="12700" actId="962"/>
          <ac:picMkLst>
            <pc:docMk/>
            <pc:sldMk cId="983868815" sldId="3747"/>
            <ac:picMk id="5" creationId="{539F40CF-DFFC-B402-E207-6E1CFB170C15}"/>
          </ac:picMkLst>
        </pc:picChg>
      </pc:sldChg>
      <pc:sldChg chg="addSp delSp modSp new mod ord">
        <pc:chgData name="Scott Sink" userId="007532c1-63dd-4f29-9932-df3a9735f490" providerId="ADAL" clId="{FC83FA74-9C6C-494A-B4A7-F24DFB5E5CF4}" dt="2023-06-13T06:21:11.216" v="12924"/>
        <pc:sldMkLst>
          <pc:docMk/>
          <pc:sldMk cId="3178020124" sldId="3748"/>
        </pc:sldMkLst>
        <pc:spChg chg="del">
          <ac:chgData name="Scott Sink" userId="007532c1-63dd-4f29-9932-df3a9735f490" providerId="ADAL" clId="{FC83FA74-9C6C-494A-B4A7-F24DFB5E5CF4}" dt="2023-06-13T06:13:51.769" v="12746" actId="478"/>
          <ac:spMkLst>
            <pc:docMk/>
            <pc:sldMk cId="3178020124" sldId="3748"/>
            <ac:spMk id="2" creationId="{6D5FD929-5356-2469-AB7F-9D1CFDC65EFE}"/>
          </ac:spMkLst>
        </pc:spChg>
        <pc:spChg chg="del">
          <ac:chgData name="Scott Sink" userId="007532c1-63dd-4f29-9932-df3a9735f490" providerId="ADAL" clId="{FC83FA74-9C6C-494A-B4A7-F24DFB5E5CF4}" dt="2023-06-13T06:06:54.066" v="12702"/>
          <ac:spMkLst>
            <pc:docMk/>
            <pc:sldMk cId="3178020124" sldId="3748"/>
            <ac:spMk id="3" creationId="{9A140556-A4E2-FDC5-BC8A-0D3F7436F53C}"/>
          </ac:spMkLst>
        </pc:spChg>
        <pc:picChg chg="add mod">
          <ac:chgData name="Scott Sink" userId="007532c1-63dd-4f29-9932-df3a9735f490" providerId="ADAL" clId="{FC83FA74-9C6C-494A-B4A7-F24DFB5E5CF4}" dt="2023-06-13T06:14:15.803" v="12750" actId="14100"/>
          <ac:picMkLst>
            <pc:docMk/>
            <pc:sldMk cId="3178020124" sldId="3748"/>
            <ac:picMk id="5" creationId="{2CC7A5B9-1D4E-FB38-5CA9-3565BDD9AB35}"/>
          </ac:picMkLst>
        </pc:picChg>
      </pc:sldChg>
      <pc:sldChg chg="addSp delSp modSp new mod ord">
        <pc:chgData name="Scott Sink" userId="007532c1-63dd-4f29-9932-df3a9735f490" providerId="ADAL" clId="{FC83FA74-9C6C-494A-B4A7-F24DFB5E5CF4}" dt="2023-06-13T06:16:10.370" v="12879" actId="20577"/>
        <pc:sldMkLst>
          <pc:docMk/>
          <pc:sldMk cId="4172800225" sldId="3749"/>
        </pc:sldMkLst>
        <pc:spChg chg="mod">
          <ac:chgData name="Scott Sink" userId="007532c1-63dd-4f29-9932-df3a9735f490" providerId="ADAL" clId="{FC83FA74-9C6C-494A-B4A7-F24DFB5E5CF4}" dt="2023-06-13T06:16:10.370" v="12879" actId="20577"/>
          <ac:spMkLst>
            <pc:docMk/>
            <pc:sldMk cId="4172800225" sldId="3749"/>
            <ac:spMk id="2" creationId="{2B37521D-9573-DEE0-5B51-AACECBD02228}"/>
          </ac:spMkLst>
        </pc:spChg>
        <pc:spChg chg="del">
          <ac:chgData name="Scott Sink" userId="007532c1-63dd-4f29-9932-df3a9735f490" providerId="ADAL" clId="{FC83FA74-9C6C-494A-B4A7-F24DFB5E5CF4}" dt="2023-06-13T06:09:25" v="12706"/>
          <ac:spMkLst>
            <pc:docMk/>
            <pc:sldMk cId="4172800225" sldId="3749"/>
            <ac:spMk id="3" creationId="{6E0324ED-74B1-7BE3-88A2-2DC0CEB806E2}"/>
          </ac:spMkLst>
        </pc:spChg>
        <pc:spChg chg="add mod">
          <ac:chgData name="Scott Sink" userId="007532c1-63dd-4f29-9932-df3a9735f490" providerId="ADAL" clId="{FC83FA74-9C6C-494A-B4A7-F24DFB5E5CF4}" dt="2023-06-13T06:15:14.607" v="12787" actId="207"/>
          <ac:spMkLst>
            <pc:docMk/>
            <pc:sldMk cId="4172800225" sldId="3749"/>
            <ac:spMk id="6" creationId="{43AE6C09-C8AF-F3E2-3329-695B17CAEC50}"/>
          </ac:spMkLst>
        </pc:spChg>
        <pc:picChg chg="add mod">
          <ac:chgData name="Scott Sink" userId="007532c1-63dd-4f29-9932-df3a9735f490" providerId="ADAL" clId="{FC83FA74-9C6C-494A-B4A7-F24DFB5E5CF4}" dt="2023-06-13T06:09:40.216" v="12714" actId="14100"/>
          <ac:picMkLst>
            <pc:docMk/>
            <pc:sldMk cId="4172800225" sldId="3749"/>
            <ac:picMk id="5" creationId="{D23F8108-63F8-58AA-9C99-13ADFBFA0489}"/>
          </ac:picMkLst>
        </pc:picChg>
      </pc:sldChg>
      <pc:sldChg chg="addSp modSp add mod ord">
        <pc:chgData name="Scott Sink" userId="007532c1-63dd-4f29-9932-df3a9735f490" providerId="ADAL" clId="{FC83FA74-9C6C-494A-B4A7-F24DFB5E5CF4}" dt="2023-06-13T06:17:51.358" v="12902" actId="14100"/>
        <pc:sldMkLst>
          <pc:docMk/>
          <pc:sldMk cId="1380569140" sldId="3750"/>
        </pc:sldMkLst>
        <pc:spChg chg="mod">
          <ac:chgData name="Scott Sink" userId="007532c1-63dd-4f29-9932-df3a9735f490" providerId="ADAL" clId="{FC83FA74-9C6C-494A-B4A7-F24DFB5E5CF4}" dt="2023-06-13T06:11:33.219" v="12718" actId="1076"/>
          <ac:spMkLst>
            <pc:docMk/>
            <pc:sldMk cId="1380569140" sldId="3750"/>
            <ac:spMk id="2" creationId="{C3B6F9E1-5D4E-4727-1554-0B5EFDFA542F}"/>
          </ac:spMkLst>
        </pc:spChg>
        <pc:picChg chg="add mod">
          <ac:chgData name="Scott Sink" userId="007532c1-63dd-4f29-9932-df3a9735f490" providerId="ADAL" clId="{FC83FA74-9C6C-494A-B4A7-F24DFB5E5CF4}" dt="2023-06-13T06:17:28.146" v="12899" actId="1076"/>
          <ac:picMkLst>
            <pc:docMk/>
            <pc:sldMk cId="1380569140" sldId="3750"/>
            <ac:picMk id="6" creationId="{C2EA1236-F158-E54A-4627-D3BCCF794401}"/>
          </ac:picMkLst>
        </pc:picChg>
        <pc:picChg chg="mod">
          <ac:chgData name="Scott Sink" userId="007532c1-63dd-4f29-9932-df3a9735f490" providerId="ADAL" clId="{FC83FA74-9C6C-494A-B4A7-F24DFB5E5CF4}" dt="2023-06-13T06:17:24.870" v="12897" actId="1076"/>
          <ac:picMkLst>
            <pc:docMk/>
            <pc:sldMk cId="1380569140" sldId="3750"/>
            <ac:picMk id="10242" creationId="{E8BE3962-895C-9685-382F-993C84F04474}"/>
          </ac:picMkLst>
        </pc:picChg>
        <pc:picChg chg="mod">
          <ac:chgData name="Scott Sink" userId="007532c1-63dd-4f29-9932-df3a9735f490" providerId="ADAL" clId="{FC83FA74-9C6C-494A-B4A7-F24DFB5E5CF4}" dt="2023-06-13T06:17:26.650" v="12898" actId="1076"/>
          <ac:picMkLst>
            <pc:docMk/>
            <pc:sldMk cId="1380569140" sldId="3750"/>
            <ac:picMk id="10244" creationId="{CFF94AAC-919A-AF6D-6366-214E437A530C}"/>
          </ac:picMkLst>
        </pc:picChg>
        <pc:picChg chg="mod">
          <ac:chgData name="Scott Sink" userId="007532c1-63dd-4f29-9932-df3a9735f490" providerId="ADAL" clId="{FC83FA74-9C6C-494A-B4A7-F24DFB5E5CF4}" dt="2023-06-13T06:17:31.939" v="12900" actId="1076"/>
          <ac:picMkLst>
            <pc:docMk/>
            <pc:sldMk cId="1380569140" sldId="3750"/>
            <ac:picMk id="10248" creationId="{506E9424-7CD9-A66A-E486-7016CF497EA4}"/>
          </ac:picMkLst>
        </pc:picChg>
        <pc:picChg chg="mod">
          <ac:chgData name="Scott Sink" userId="007532c1-63dd-4f29-9932-df3a9735f490" providerId="ADAL" clId="{FC83FA74-9C6C-494A-B4A7-F24DFB5E5CF4}" dt="2023-06-13T06:17:38.533" v="12901" actId="14100"/>
          <ac:picMkLst>
            <pc:docMk/>
            <pc:sldMk cId="1380569140" sldId="3750"/>
            <ac:picMk id="10254" creationId="{0DD33540-674D-2566-75D1-B512606F3799}"/>
          </ac:picMkLst>
        </pc:picChg>
        <pc:cxnChg chg="mod">
          <ac:chgData name="Scott Sink" userId="007532c1-63dd-4f29-9932-df3a9735f490" providerId="ADAL" clId="{FC83FA74-9C6C-494A-B4A7-F24DFB5E5CF4}" dt="2023-06-13T06:17:51.358" v="12902" actId="14100"/>
          <ac:cxnSpMkLst>
            <pc:docMk/>
            <pc:sldMk cId="1380569140" sldId="3750"/>
            <ac:cxnSpMk id="8" creationId="{52DDE793-63E3-03B6-C893-838A4057D725}"/>
          </ac:cxnSpMkLst>
        </pc:cxnChg>
      </pc:sldChg>
      <pc:sldChg chg="modSp add mod ord">
        <pc:chgData name="Scott Sink" userId="007532c1-63dd-4f29-9932-df3a9735f490" providerId="ADAL" clId="{FC83FA74-9C6C-494A-B4A7-F24DFB5E5CF4}" dt="2023-06-13T06:16:28.487" v="12884"/>
        <pc:sldMkLst>
          <pc:docMk/>
          <pc:sldMk cId="997594699" sldId="3751"/>
        </pc:sldMkLst>
        <pc:spChg chg="mod">
          <ac:chgData name="Scott Sink" userId="007532c1-63dd-4f29-9932-df3a9735f490" providerId="ADAL" clId="{FC83FA74-9C6C-494A-B4A7-F24DFB5E5CF4}" dt="2023-06-13T06:13:17.618" v="12741" actId="403"/>
          <ac:spMkLst>
            <pc:docMk/>
            <pc:sldMk cId="997594699" sldId="3751"/>
            <ac:spMk id="3" creationId="{FDD72910-0577-1B27-89DE-FF19F6E6EFF0}"/>
          </ac:spMkLst>
        </pc:spChg>
        <pc:picChg chg="mod">
          <ac:chgData name="Scott Sink" userId="007532c1-63dd-4f29-9932-df3a9735f490" providerId="ADAL" clId="{FC83FA74-9C6C-494A-B4A7-F24DFB5E5CF4}" dt="2023-06-13T06:13:24.501" v="12744" actId="14100"/>
          <ac:picMkLst>
            <pc:docMk/>
            <pc:sldMk cId="997594699" sldId="3751"/>
            <ac:picMk id="2" creationId="{26BD4517-554A-8A17-FFA4-F57FCBB5E1FF}"/>
          </ac:picMkLst>
        </pc:picChg>
      </pc:sldChg>
      <pc:sldChg chg="add del">
        <pc:chgData name="Scott Sink" userId="007532c1-63dd-4f29-9932-df3a9735f490" providerId="ADAL" clId="{FC83FA74-9C6C-494A-B4A7-F24DFB5E5CF4}" dt="2023-06-13T06:11:47.701" v="12721" actId="27028"/>
        <pc:sldMkLst>
          <pc:docMk/>
          <pc:sldMk cId="2654162770" sldId="3751"/>
        </pc:sldMkLst>
      </pc:sldChg>
      <pc:sldChg chg="modSp add mod ord">
        <pc:chgData name="Scott Sink" userId="007532c1-63dd-4f29-9932-df3a9735f490" providerId="ADAL" clId="{FC83FA74-9C6C-494A-B4A7-F24DFB5E5CF4}" dt="2023-06-13T06:16:31.226" v="12886"/>
        <pc:sldMkLst>
          <pc:docMk/>
          <pc:sldMk cId="2881422688" sldId="3752"/>
        </pc:sldMkLst>
        <pc:spChg chg="mod">
          <ac:chgData name="Scott Sink" userId="007532c1-63dd-4f29-9932-df3a9735f490" providerId="ADAL" clId="{FC83FA74-9C6C-494A-B4A7-F24DFB5E5CF4}" dt="2023-06-13T06:12:35.085" v="12729" actId="1076"/>
          <ac:spMkLst>
            <pc:docMk/>
            <pc:sldMk cId="2881422688" sldId="3752"/>
            <ac:spMk id="6" creationId="{D47AC3A1-907C-1C5D-1AD5-57C8DD50CC1D}"/>
          </ac:spMkLst>
        </pc:spChg>
        <pc:picChg chg="mod">
          <ac:chgData name="Scott Sink" userId="007532c1-63dd-4f29-9932-df3a9735f490" providerId="ADAL" clId="{FC83FA74-9C6C-494A-B4A7-F24DFB5E5CF4}" dt="2023-06-13T06:12:52.951" v="12735" actId="1076"/>
          <ac:picMkLst>
            <pc:docMk/>
            <pc:sldMk cId="2881422688" sldId="3752"/>
            <ac:picMk id="2" creationId="{EE425180-91E9-D179-969F-27F53A1F8003}"/>
          </ac:picMkLst>
        </pc:picChg>
        <pc:picChg chg="mod">
          <ac:chgData name="Scott Sink" userId="007532c1-63dd-4f29-9932-df3a9735f490" providerId="ADAL" clId="{FC83FA74-9C6C-494A-B4A7-F24DFB5E5CF4}" dt="2023-06-13T06:12:45.501" v="12732" actId="1076"/>
          <ac:picMkLst>
            <pc:docMk/>
            <pc:sldMk cId="2881422688" sldId="3752"/>
            <ac:picMk id="4" creationId="{A0A6081A-1DA1-5714-2EBF-C51EC3621F42}"/>
          </ac:picMkLst>
        </pc:picChg>
      </pc:sldChg>
      <pc:sldChg chg="add del">
        <pc:chgData name="Scott Sink" userId="007532c1-63dd-4f29-9932-df3a9735f490" providerId="ADAL" clId="{FC83FA74-9C6C-494A-B4A7-F24DFB5E5CF4}" dt="2023-06-13T06:12:14.552" v="12726" actId="27028"/>
        <pc:sldMkLst>
          <pc:docMk/>
          <pc:sldMk cId="3592724285" sldId="3752"/>
        </pc:sldMkLst>
      </pc:sldChg>
      <pc:sldChg chg="modSp add mod ord">
        <pc:chgData name="Scott Sink" userId="007532c1-63dd-4f29-9932-df3a9735f490" providerId="ADAL" clId="{FC83FA74-9C6C-494A-B4A7-F24DFB5E5CF4}" dt="2023-06-13T06:41:38.216" v="14057"/>
        <pc:sldMkLst>
          <pc:docMk/>
          <pc:sldMk cId="1982806834" sldId="3753"/>
        </pc:sldMkLst>
        <pc:spChg chg="mod">
          <ac:chgData name="Scott Sink" userId="007532c1-63dd-4f29-9932-df3a9735f490" providerId="ADAL" clId="{FC83FA74-9C6C-494A-B4A7-F24DFB5E5CF4}" dt="2023-06-13T06:28:37.466" v="13606" actId="20577"/>
          <ac:spMkLst>
            <pc:docMk/>
            <pc:sldMk cId="1982806834" sldId="3753"/>
            <ac:spMk id="2" creationId="{F57C5E07-DB5B-55F2-6F01-6B61AC3D8F04}"/>
          </ac:spMkLst>
        </pc:spChg>
      </pc:sldChg>
      <pc:sldChg chg="new del">
        <pc:chgData name="Scott Sink" userId="007532c1-63dd-4f29-9932-df3a9735f490" providerId="ADAL" clId="{FC83FA74-9C6C-494A-B4A7-F24DFB5E5CF4}" dt="2023-06-13T06:37:44.212" v="13611" actId="47"/>
        <pc:sldMkLst>
          <pc:docMk/>
          <pc:sldMk cId="2199993592" sldId="3754"/>
        </pc:sldMkLst>
      </pc:sldChg>
      <pc:sldChg chg="modSp new mod ord">
        <pc:chgData name="Scott Sink" userId="007532c1-63dd-4f29-9932-df3a9735f490" providerId="ADAL" clId="{FC83FA74-9C6C-494A-B4A7-F24DFB5E5CF4}" dt="2023-06-13T06:41:31.868" v="14055" actId="20577"/>
        <pc:sldMkLst>
          <pc:docMk/>
          <pc:sldMk cId="1369080686" sldId="3755"/>
        </pc:sldMkLst>
        <pc:spChg chg="mod">
          <ac:chgData name="Scott Sink" userId="007532c1-63dd-4f29-9932-df3a9735f490" providerId="ADAL" clId="{FC83FA74-9C6C-494A-B4A7-F24DFB5E5CF4}" dt="2023-06-13T06:38:04.582" v="13643" actId="20577"/>
          <ac:spMkLst>
            <pc:docMk/>
            <pc:sldMk cId="1369080686" sldId="3755"/>
            <ac:spMk id="2" creationId="{D61ED403-D791-78B6-17FA-9A3150B2A848}"/>
          </ac:spMkLst>
        </pc:spChg>
        <pc:spChg chg="mod">
          <ac:chgData name="Scott Sink" userId="007532c1-63dd-4f29-9932-df3a9735f490" providerId="ADAL" clId="{FC83FA74-9C6C-494A-B4A7-F24DFB5E5CF4}" dt="2023-06-13T06:41:31.868" v="14055" actId="20577"/>
          <ac:spMkLst>
            <pc:docMk/>
            <pc:sldMk cId="1369080686" sldId="3755"/>
            <ac:spMk id="3" creationId="{D857E3BC-9AFD-ED4A-C330-5782068A843B}"/>
          </ac:spMkLst>
        </pc:spChg>
      </pc:sldChg>
      <pc:sldMasterChg chg="add addSldLayout">
        <pc:chgData name="Scott Sink" userId="007532c1-63dd-4f29-9932-df3a9735f490" providerId="ADAL" clId="{FC83FA74-9C6C-494A-B4A7-F24DFB5E5CF4}" dt="2023-06-10T08:02:38.268" v="1080" actId="27028"/>
        <pc:sldMasterMkLst>
          <pc:docMk/>
          <pc:sldMasterMk cId="0" sldId="2147483658"/>
        </pc:sldMasterMkLst>
        <pc:sldLayoutChg chg="add">
          <pc:chgData name="Scott Sink" userId="007532c1-63dd-4f29-9932-df3a9735f490" providerId="ADAL" clId="{FC83FA74-9C6C-494A-B4A7-F24DFB5E5CF4}" dt="2023-06-10T08:02:38.268" v="1080" actId="27028"/>
          <pc:sldLayoutMkLst>
            <pc:docMk/>
            <pc:sldMasterMk cId="0" sldId="2147483658"/>
            <pc:sldLayoutMk cId="1335986753" sldId="2147497901"/>
          </pc:sldLayoutMkLst>
        </pc:sldLayoutChg>
      </pc:sldMasterChg>
      <pc:sldMasterChg chg="add addSldLayout delSldLayout">
        <pc:chgData name="Scott Sink" userId="007532c1-63dd-4f29-9932-df3a9735f490" providerId="ADAL" clId="{FC83FA74-9C6C-494A-B4A7-F24DFB5E5CF4}" dt="2023-06-13T06:11:59.307" v="12722" actId="27028"/>
        <pc:sldMasterMkLst>
          <pc:docMk/>
          <pc:sldMasterMk cId="0" sldId="2147483666"/>
        </pc:sldMasterMkLst>
        <pc:sldLayoutChg chg="add del">
          <pc:chgData name="Scott Sink" userId="007532c1-63dd-4f29-9932-df3a9735f490" providerId="ADAL" clId="{FC83FA74-9C6C-494A-B4A7-F24DFB5E5CF4}" dt="2023-06-13T06:11:59.307" v="12722" actId="27028"/>
          <pc:sldLayoutMkLst>
            <pc:docMk/>
            <pc:sldMasterMk cId="0" sldId="2147483666"/>
            <pc:sldLayoutMk cId="1393805021" sldId="2147483669"/>
          </pc:sldLayoutMkLst>
        </pc:sldLayoutChg>
        <pc:sldLayoutChg chg="add">
          <pc:chgData name="Scott Sink" userId="007532c1-63dd-4f29-9932-df3a9735f490" providerId="ADAL" clId="{FC83FA74-9C6C-494A-B4A7-F24DFB5E5CF4}" dt="2023-06-13T06:11:27.768" v="12715" actId="27028"/>
          <pc:sldLayoutMkLst>
            <pc:docMk/>
            <pc:sldMasterMk cId="0" sldId="2147483666"/>
            <pc:sldLayoutMk cId="0" sldId="2147497908"/>
          </pc:sldLayoutMkLst>
        </pc:sldLayoutChg>
      </pc:sldMasterChg>
      <pc:sldMasterChg chg="del delSldLayout">
        <pc:chgData name="Scott Sink" userId="007532c1-63dd-4f29-9932-df3a9735f490" providerId="ADAL" clId="{FC83FA74-9C6C-494A-B4A7-F24DFB5E5CF4}" dt="2023-06-04T06:45:30.751" v="33" actId="47"/>
        <pc:sldMasterMkLst>
          <pc:docMk/>
          <pc:sldMasterMk cId="1129140775" sldId="2147483674"/>
        </pc:sldMasterMkLst>
        <pc:sldLayoutChg chg="del">
          <pc:chgData name="Scott Sink" userId="007532c1-63dd-4f29-9932-df3a9735f490" providerId="ADAL" clId="{FC83FA74-9C6C-494A-B4A7-F24DFB5E5CF4}" dt="2023-06-04T06:45:30.751" v="33" actId="47"/>
          <pc:sldLayoutMkLst>
            <pc:docMk/>
            <pc:sldMasterMk cId="1129140775" sldId="2147483674"/>
            <pc:sldLayoutMk cId="3823185750" sldId="2147483676"/>
          </pc:sldLayoutMkLst>
        </pc:sldLayoutChg>
        <pc:sldLayoutChg chg="del">
          <pc:chgData name="Scott Sink" userId="007532c1-63dd-4f29-9932-df3a9735f490" providerId="ADAL" clId="{FC83FA74-9C6C-494A-B4A7-F24DFB5E5CF4}" dt="2023-06-04T06:45:30.751" v="33" actId="47"/>
          <pc:sldLayoutMkLst>
            <pc:docMk/>
            <pc:sldMasterMk cId="1129140775" sldId="2147483674"/>
            <pc:sldLayoutMk cId="761583877" sldId="2147483678"/>
          </pc:sldLayoutMkLst>
        </pc:sldLayoutChg>
        <pc:sldLayoutChg chg="del">
          <pc:chgData name="Scott Sink" userId="007532c1-63dd-4f29-9932-df3a9735f490" providerId="ADAL" clId="{FC83FA74-9C6C-494A-B4A7-F24DFB5E5CF4}" dt="2023-06-04T06:45:30.751" v="33" actId="47"/>
          <pc:sldLayoutMkLst>
            <pc:docMk/>
            <pc:sldMasterMk cId="1129140775" sldId="2147483674"/>
            <pc:sldLayoutMk cId="1049413771" sldId="2147483680"/>
          </pc:sldLayoutMkLst>
        </pc:sldLayoutChg>
        <pc:sldLayoutChg chg="del">
          <pc:chgData name="Scott Sink" userId="007532c1-63dd-4f29-9932-df3a9735f490" providerId="ADAL" clId="{FC83FA74-9C6C-494A-B4A7-F24DFB5E5CF4}" dt="2023-06-04T06:45:30.751" v="33" actId="47"/>
          <pc:sldLayoutMkLst>
            <pc:docMk/>
            <pc:sldMasterMk cId="1129140775" sldId="2147483674"/>
            <pc:sldLayoutMk cId="3939964797" sldId="2147483681"/>
          </pc:sldLayoutMkLst>
        </pc:sldLayoutChg>
        <pc:sldLayoutChg chg="del">
          <pc:chgData name="Scott Sink" userId="007532c1-63dd-4f29-9932-df3a9735f490" providerId="ADAL" clId="{FC83FA74-9C6C-494A-B4A7-F24DFB5E5CF4}" dt="2023-06-04T06:45:16.341" v="7" actId="47"/>
          <pc:sldLayoutMkLst>
            <pc:docMk/>
            <pc:sldMasterMk cId="1129140775" sldId="2147483674"/>
            <pc:sldLayoutMk cId="2578213539" sldId="2147483687"/>
          </pc:sldLayoutMkLst>
        </pc:sldLayoutChg>
      </pc:sldMasterChg>
      <pc:sldMasterChg chg="add addSldLayout">
        <pc:chgData name="Scott Sink" userId="007532c1-63dd-4f29-9932-df3a9735f490" providerId="ADAL" clId="{FC83FA74-9C6C-494A-B4A7-F24DFB5E5CF4}" dt="2023-06-10T08:02:11.344" v="1074" actId="27028"/>
        <pc:sldMasterMkLst>
          <pc:docMk/>
          <pc:sldMasterMk cId="2634445035" sldId="2147483712"/>
        </pc:sldMasterMkLst>
        <pc:sldLayoutChg chg="add">
          <pc:chgData name="Scott Sink" userId="007532c1-63dd-4f29-9932-df3a9735f490" providerId="ADAL" clId="{FC83FA74-9C6C-494A-B4A7-F24DFB5E5CF4}" dt="2023-06-10T08:02:11.344" v="1074" actId="27028"/>
          <pc:sldLayoutMkLst>
            <pc:docMk/>
            <pc:sldMasterMk cId="2634445035" sldId="2147483712"/>
            <pc:sldLayoutMk cId="2434317192" sldId="2147483715"/>
          </pc:sldLayoutMkLst>
        </pc:sldLayoutChg>
      </pc:sldMasterChg>
      <pc:sldMasterChg chg="add del addSldLayout delSldLayout">
        <pc:chgData name="Scott Sink" userId="007532c1-63dd-4f29-9932-df3a9735f490" providerId="ADAL" clId="{FC83FA74-9C6C-494A-B4A7-F24DFB5E5CF4}" dt="2023-06-10T08:03:07.303" v="1088" actId="27028"/>
        <pc:sldMasterMkLst>
          <pc:docMk/>
          <pc:sldMasterMk cId="2400706797" sldId="2147483740"/>
        </pc:sldMasterMkLst>
        <pc:sldLayoutChg chg="add del">
          <pc:chgData name="Scott Sink" userId="007532c1-63dd-4f29-9932-df3a9735f490" providerId="ADAL" clId="{FC83FA74-9C6C-494A-B4A7-F24DFB5E5CF4}" dt="2023-06-10T08:03:07.303" v="1088" actId="27028"/>
          <pc:sldLayoutMkLst>
            <pc:docMk/>
            <pc:sldMasterMk cId="2400706797" sldId="2147483740"/>
            <pc:sldLayoutMk cId="529473691" sldId="2147483741"/>
          </pc:sldLayoutMkLst>
        </pc:sldLayoutChg>
      </pc:sldMasterChg>
      <pc:sldMasterChg chg="add addSldLayout">
        <pc:chgData name="Scott Sink" userId="007532c1-63dd-4f29-9932-df3a9735f490" providerId="ADAL" clId="{FC83FA74-9C6C-494A-B4A7-F24DFB5E5CF4}" dt="2023-06-10T07:59:49.030" v="1044" actId="27028"/>
        <pc:sldMasterMkLst>
          <pc:docMk/>
          <pc:sldMasterMk cId="0" sldId="2147483873"/>
        </pc:sldMasterMkLst>
        <pc:sldLayoutChg chg="add">
          <pc:chgData name="Scott Sink" userId="007532c1-63dd-4f29-9932-df3a9735f490" providerId="ADAL" clId="{FC83FA74-9C6C-494A-B4A7-F24DFB5E5CF4}" dt="2023-06-10T07:59:49.030" v="1044" actId="27028"/>
          <pc:sldLayoutMkLst>
            <pc:docMk/>
            <pc:sldMasterMk cId="0" sldId="2147483873"/>
            <pc:sldLayoutMk cId="3723801766" sldId="2147484076"/>
          </pc:sldLayoutMkLst>
        </pc:sldLayoutChg>
      </pc:sldMasterChg>
      <pc:sldMasterChg chg="add del addSldLayout delSldLayout">
        <pc:chgData name="Scott Sink" userId="007532c1-63dd-4f29-9932-df3a9735f490" providerId="ADAL" clId="{FC83FA74-9C6C-494A-B4A7-F24DFB5E5CF4}" dt="2023-06-10T12:17:45.087" v="1942" actId="700"/>
        <pc:sldMasterMkLst>
          <pc:docMk/>
          <pc:sldMasterMk cId="0" sldId="2147483967"/>
        </pc:sldMasterMkLst>
        <pc:sldLayoutChg chg="add del">
          <pc:chgData name="Scott Sink" userId="007532c1-63dd-4f29-9932-df3a9735f490" providerId="ADAL" clId="{FC83FA74-9C6C-494A-B4A7-F24DFB5E5CF4}" dt="2023-06-10T12:17:45.087" v="1942" actId="700"/>
          <pc:sldLayoutMkLst>
            <pc:docMk/>
            <pc:sldMasterMk cId="0" sldId="2147483967"/>
            <pc:sldLayoutMk cId="4205824576" sldId="2147483968"/>
          </pc:sldLayoutMkLst>
        </pc:sldLayoutChg>
      </pc:sldMasterChg>
      <pc:sldMasterChg chg="add addSldLayout">
        <pc:chgData name="Scott Sink" userId="007532c1-63dd-4f29-9932-df3a9735f490" providerId="ADAL" clId="{FC83FA74-9C6C-494A-B4A7-F24DFB5E5CF4}" dt="2023-06-10T07:58:43.031" v="1034" actId="27028"/>
        <pc:sldMasterMkLst>
          <pc:docMk/>
          <pc:sldMasterMk cId="0" sldId="2147483978"/>
        </pc:sldMasterMkLst>
        <pc:sldLayoutChg chg="add">
          <pc:chgData name="Scott Sink" userId="007532c1-63dd-4f29-9932-df3a9735f490" providerId="ADAL" clId="{FC83FA74-9C6C-494A-B4A7-F24DFB5E5CF4}" dt="2023-06-10T07:58:43.031" v="1034" actId="27028"/>
          <pc:sldLayoutMkLst>
            <pc:docMk/>
            <pc:sldMasterMk cId="0" sldId="2147483978"/>
            <pc:sldLayoutMk cId="0" sldId="2147483662"/>
          </pc:sldLayoutMkLst>
        </pc:sldLayoutChg>
      </pc:sldMasterChg>
      <pc:sldMasterChg chg="add addSldLayout">
        <pc:chgData name="Scott Sink" userId="007532c1-63dd-4f29-9932-df3a9735f490" providerId="ADAL" clId="{FC83FA74-9C6C-494A-B4A7-F24DFB5E5CF4}" dt="2023-06-10T08:00:15.703" v="1052" actId="27028"/>
        <pc:sldMasterMkLst>
          <pc:docMk/>
          <pc:sldMasterMk cId="0" sldId="2147484521"/>
        </pc:sldMasterMkLst>
        <pc:sldLayoutChg chg="add">
          <pc:chgData name="Scott Sink" userId="007532c1-63dd-4f29-9932-df3a9735f490" providerId="ADAL" clId="{FC83FA74-9C6C-494A-B4A7-F24DFB5E5CF4}" dt="2023-06-10T08:00:15.703" v="1052" actId="27028"/>
          <pc:sldLayoutMkLst>
            <pc:docMk/>
            <pc:sldMasterMk cId="0" sldId="2147484521"/>
            <pc:sldLayoutMk cId="0" sldId="2147484522"/>
          </pc:sldLayoutMkLst>
        </pc:sldLayoutChg>
      </pc:sldMasterChg>
      <pc:sldMasterChg chg="del delSldLayout">
        <pc:chgData name="Scott Sink" userId="007532c1-63dd-4f29-9932-df3a9735f490" providerId="ADAL" clId="{FC83FA74-9C6C-494A-B4A7-F24DFB5E5CF4}" dt="2023-06-13T06:42:40.131" v="14099" actId="47"/>
        <pc:sldMasterMkLst>
          <pc:docMk/>
          <pc:sldMasterMk cId="0" sldId="2147489416"/>
        </pc:sldMasterMkLst>
        <pc:sldLayoutChg chg="del">
          <pc:chgData name="Scott Sink" userId="007532c1-63dd-4f29-9932-df3a9735f490" providerId="ADAL" clId="{FC83FA74-9C6C-494A-B4A7-F24DFB5E5CF4}" dt="2023-06-13T06:42:40.131" v="14099" actId="47"/>
          <pc:sldLayoutMkLst>
            <pc:docMk/>
            <pc:sldMasterMk cId="0" sldId="2147489416"/>
            <pc:sldLayoutMk cId="2216799841" sldId="2147489678"/>
          </pc:sldLayoutMkLst>
        </pc:sldLayoutChg>
      </pc:sldMasterChg>
      <pc:sldMasterChg chg="del delSldLayout">
        <pc:chgData name="Scott Sink" userId="007532c1-63dd-4f29-9932-df3a9735f490" providerId="ADAL" clId="{FC83FA74-9C6C-494A-B4A7-F24DFB5E5CF4}" dt="2023-06-13T06:43:05.549" v="14103" actId="47"/>
        <pc:sldMasterMkLst>
          <pc:docMk/>
          <pc:sldMasterMk cId="0" sldId="2147489519"/>
        </pc:sldMasterMkLst>
        <pc:sldLayoutChg chg="del">
          <pc:chgData name="Scott Sink" userId="007532c1-63dd-4f29-9932-df3a9735f490" providerId="ADAL" clId="{FC83FA74-9C6C-494A-B4A7-F24DFB5E5CF4}" dt="2023-06-13T06:43:05.549" v="14103" actId="47"/>
          <pc:sldLayoutMkLst>
            <pc:docMk/>
            <pc:sldMasterMk cId="0" sldId="2147489519"/>
            <pc:sldLayoutMk cId="1911845537" sldId="2147489679"/>
          </pc:sldLayoutMkLst>
        </pc:sldLayoutChg>
      </pc:sldMasterChg>
      <pc:sldMasterChg chg="add addSldLayout">
        <pc:chgData name="Scott Sink" userId="007532c1-63dd-4f29-9932-df3a9735f490" providerId="ADAL" clId="{FC83FA74-9C6C-494A-B4A7-F24DFB5E5CF4}" dt="2023-06-10T08:00:17.965" v="1054" actId="27028"/>
        <pc:sldMasterMkLst>
          <pc:docMk/>
          <pc:sldMasterMk cId="0" sldId="2147497328"/>
        </pc:sldMasterMkLst>
        <pc:sldLayoutChg chg="add">
          <pc:chgData name="Scott Sink" userId="007532c1-63dd-4f29-9932-df3a9735f490" providerId="ADAL" clId="{FC83FA74-9C6C-494A-B4A7-F24DFB5E5CF4}" dt="2023-06-10T08:00:17.965" v="1054" actId="27028"/>
          <pc:sldLayoutMkLst>
            <pc:docMk/>
            <pc:sldMasterMk cId="0" sldId="2147497328"/>
            <pc:sldLayoutMk cId="3956399100" sldId="2147497329"/>
          </pc:sldLayoutMkLst>
        </pc:sldLayoutChg>
      </pc:sldMasterChg>
      <pc:sldMasterChg chg="add addSldLayout">
        <pc:chgData name="Scott Sink" userId="007532c1-63dd-4f29-9932-df3a9735f490" providerId="ADAL" clId="{FC83FA74-9C6C-494A-B4A7-F24DFB5E5CF4}" dt="2023-06-10T08:01:15.186" v="1060" actId="27028"/>
        <pc:sldMasterMkLst>
          <pc:docMk/>
          <pc:sldMasterMk cId="0" sldId="2147497806"/>
        </pc:sldMasterMkLst>
        <pc:sldLayoutChg chg="add">
          <pc:chgData name="Scott Sink" userId="007532c1-63dd-4f29-9932-df3a9735f490" providerId="ADAL" clId="{FC83FA74-9C6C-494A-B4A7-F24DFB5E5CF4}" dt="2023-06-10T08:01:15.186" v="1060" actId="27028"/>
          <pc:sldLayoutMkLst>
            <pc:docMk/>
            <pc:sldMasterMk cId="0" sldId="2147497806"/>
            <pc:sldLayoutMk cId="0" sldId="2147483652"/>
          </pc:sldLayoutMkLst>
        </pc:sldLayoutChg>
        <pc:sldLayoutChg chg="add">
          <pc:chgData name="Scott Sink" userId="007532c1-63dd-4f29-9932-df3a9735f490" providerId="ADAL" clId="{FC83FA74-9C6C-494A-B4A7-F24DFB5E5CF4}" dt="2023-06-10T07:58:37.886" v="1032" actId="27028"/>
          <pc:sldLayoutMkLst>
            <pc:docMk/>
            <pc:sldMasterMk cId="0" sldId="2147497806"/>
            <pc:sldLayoutMk cId="0" sldId="2147497791"/>
          </pc:sldLayoutMkLst>
        </pc:sldLayoutChg>
      </pc:sldMasterChg>
      <pc:sldMasterChg chg="modSldLayout">
        <pc:chgData name="Scott Sink" userId="007532c1-63dd-4f29-9932-df3a9735f490" providerId="ADAL" clId="{FC83FA74-9C6C-494A-B4A7-F24DFB5E5CF4}" dt="2023-06-10T08:02:38.268" v="1080" actId="27028"/>
        <pc:sldMasterMkLst>
          <pc:docMk/>
          <pc:sldMasterMk cId="109284353" sldId="2147497892"/>
        </pc:sldMasterMkLst>
        <pc:sldLayoutChg chg="replId">
          <pc:chgData name="Scott Sink" userId="007532c1-63dd-4f29-9932-df3a9735f490" providerId="ADAL" clId="{FC83FA74-9C6C-494A-B4A7-F24DFB5E5CF4}" dt="2023-06-10T08:02:38.268" v="1080" actId="27028"/>
          <pc:sldLayoutMkLst>
            <pc:docMk/>
            <pc:sldMasterMk cId="109284353" sldId="2147497892"/>
            <pc:sldLayoutMk cId="2587822317" sldId="2147497899"/>
          </pc:sldLayoutMkLst>
        </pc:sldLayoutChg>
      </pc:sldMasterChg>
      <pc:sldMasterChg chg="addSldLayout">
        <pc:chgData name="Scott Sink" userId="007532c1-63dd-4f29-9932-df3a9735f490" providerId="ADAL" clId="{FC83FA74-9C6C-494A-B4A7-F24DFB5E5CF4}" dt="2023-06-10T08:01:16.253" v="1062" actId="27028"/>
        <pc:sldMasterMkLst>
          <pc:docMk/>
          <pc:sldMasterMk cId="1255074819" sldId="2147497898"/>
        </pc:sldMasterMkLst>
        <pc:sldLayoutChg chg="add">
          <pc:chgData name="Scott Sink" userId="007532c1-63dd-4f29-9932-df3a9735f490" providerId="ADAL" clId="{FC83FA74-9C6C-494A-B4A7-F24DFB5E5CF4}" dt="2023-06-10T08:01:16.253" v="1062" actId="27028"/>
          <pc:sldLayoutMkLst>
            <pc:docMk/>
            <pc:sldMasterMk cId="1255074819" sldId="2147497898"/>
            <pc:sldLayoutMk cId="1765230460" sldId="2147484644"/>
          </pc:sldLayoutMkLst>
        </pc:sldLayoutChg>
      </pc:sldMasterChg>
      <pc:sldMasterChg chg="addSldLayout">
        <pc:chgData name="Scott Sink" userId="007532c1-63dd-4f29-9932-df3a9735f490" providerId="ADAL" clId="{FC83FA74-9C6C-494A-B4A7-F24DFB5E5CF4}" dt="2023-06-10T08:02:44.028" v="1082" actId="27028"/>
        <pc:sldMasterMkLst>
          <pc:docMk/>
          <pc:sldMasterMk cId="109284353" sldId="2147497909"/>
        </pc:sldMasterMkLst>
        <pc:sldLayoutChg chg="add">
          <pc:chgData name="Scott Sink" userId="007532c1-63dd-4f29-9932-df3a9735f490" providerId="ADAL" clId="{FC83FA74-9C6C-494A-B4A7-F24DFB5E5CF4}" dt="2023-06-10T08:02:54.097" v="1084" actId="27028"/>
          <pc:sldLayoutMkLst>
            <pc:docMk/>
            <pc:sldMasterMk cId="109284353" sldId="2147497909"/>
            <pc:sldLayoutMk cId="4104728505" sldId="2147497903"/>
          </pc:sldLayoutMkLst>
        </pc:sldLayoutChg>
        <pc:sldLayoutChg chg="add">
          <pc:chgData name="Scott Sink" userId="007532c1-63dd-4f29-9932-df3a9735f490" providerId="ADAL" clId="{FC83FA74-9C6C-494A-B4A7-F24DFB5E5CF4}" dt="2023-06-10T08:02:44.028" v="1082" actId="27028"/>
          <pc:sldLayoutMkLst>
            <pc:docMk/>
            <pc:sldMasterMk cId="109284353" sldId="2147497909"/>
            <pc:sldLayoutMk cId="2017573220" sldId="2147497907"/>
          </pc:sldLayoutMkLst>
        </pc:sldLayoutChg>
      </pc:sldMasterChg>
    </pc:docChg>
  </pc:docChgLst>
  <pc:docChgLst>
    <pc:chgData name="Scott Sink" userId="007532c1-63dd-4f29-9932-df3a9735f490" providerId="ADAL" clId="{C2997A85-FA0E-4A15-BC96-D9C164783C31}"/>
    <pc:docChg chg="undo custSel addSld delSld modSld addMainMaster delMainMaster modMainMaster">
      <pc:chgData name="Scott Sink" userId="007532c1-63dd-4f29-9932-df3a9735f490" providerId="ADAL" clId="{C2997A85-FA0E-4A15-BC96-D9C164783C31}" dt="2023-06-03T23:51:59.753" v="1114"/>
      <pc:docMkLst>
        <pc:docMk/>
      </pc:docMkLst>
      <pc:sldChg chg="del">
        <pc:chgData name="Scott Sink" userId="007532c1-63dd-4f29-9932-df3a9735f490" providerId="ADAL" clId="{C2997A85-FA0E-4A15-BC96-D9C164783C31}" dt="2023-06-02T20:05:40.412" v="879" actId="47"/>
        <pc:sldMkLst>
          <pc:docMk/>
          <pc:sldMk cId="156984403" sldId="1022"/>
        </pc:sldMkLst>
      </pc:sldChg>
      <pc:sldChg chg="del">
        <pc:chgData name="Scott Sink" userId="007532c1-63dd-4f29-9932-df3a9735f490" providerId="ADAL" clId="{C2997A85-FA0E-4A15-BC96-D9C164783C31}" dt="2023-06-02T20:05:40.956" v="880" actId="47"/>
        <pc:sldMkLst>
          <pc:docMk/>
          <pc:sldMk cId="1319358326" sldId="1034"/>
        </pc:sldMkLst>
      </pc:sldChg>
      <pc:sldChg chg="del">
        <pc:chgData name="Scott Sink" userId="007532c1-63dd-4f29-9932-df3a9735f490" providerId="ADAL" clId="{C2997A85-FA0E-4A15-BC96-D9C164783C31}" dt="2023-06-02T20:05:41.819" v="881" actId="47"/>
        <pc:sldMkLst>
          <pc:docMk/>
          <pc:sldMk cId="1695089351" sldId="1035"/>
        </pc:sldMkLst>
      </pc:sldChg>
      <pc:sldChg chg="del">
        <pc:chgData name="Scott Sink" userId="007532c1-63dd-4f29-9932-df3a9735f490" providerId="ADAL" clId="{C2997A85-FA0E-4A15-BC96-D9C164783C31}" dt="2023-06-02T20:05:39.719" v="878" actId="47"/>
        <pc:sldMkLst>
          <pc:docMk/>
          <pc:sldMk cId="3394926519" sldId="3543"/>
        </pc:sldMkLst>
      </pc:sldChg>
      <pc:sldChg chg="del">
        <pc:chgData name="Scott Sink" userId="007532c1-63dd-4f29-9932-df3a9735f490" providerId="ADAL" clId="{C2997A85-FA0E-4A15-BC96-D9C164783C31}" dt="2023-06-02T20:03:51.792" v="783" actId="47"/>
        <pc:sldMkLst>
          <pc:docMk/>
          <pc:sldMk cId="2587135016" sldId="3583"/>
        </pc:sldMkLst>
      </pc:sldChg>
      <pc:sldChg chg="del">
        <pc:chgData name="Scott Sink" userId="007532c1-63dd-4f29-9932-df3a9735f490" providerId="ADAL" clId="{C2997A85-FA0E-4A15-BC96-D9C164783C31}" dt="2023-06-02T20:03:53.802" v="784" actId="47"/>
        <pc:sldMkLst>
          <pc:docMk/>
          <pc:sldMk cId="156920407" sldId="3584"/>
        </pc:sldMkLst>
      </pc:sldChg>
      <pc:sldChg chg="del">
        <pc:chgData name="Scott Sink" userId="007532c1-63dd-4f29-9932-df3a9735f490" providerId="ADAL" clId="{C2997A85-FA0E-4A15-BC96-D9C164783C31}" dt="2023-06-02T20:04:20.474" v="795" actId="47"/>
        <pc:sldMkLst>
          <pc:docMk/>
          <pc:sldMk cId="985217198" sldId="3603"/>
        </pc:sldMkLst>
      </pc:sldChg>
      <pc:sldChg chg="del">
        <pc:chgData name="Scott Sink" userId="007532c1-63dd-4f29-9932-df3a9735f490" providerId="ADAL" clId="{C2997A85-FA0E-4A15-BC96-D9C164783C31}" dt="2023-06-02T20:04:26.505" v="808" actId="47"/>
        <pc:sldMkLst>
          <pc:docMk/>
          <pc:sldMk cId="2956154196" sldId="3604"/>
        </pc:sldMkLst>
      </pc:sldChg>
      <pc:sldChg chg="del">
        <pc:chgData name="Scott Sink" userId="007532c1-63dd-4f29-9932-df3a9735f490" providerId="ADAL" clId="{C2997A85-FA0E-4A15-BC96-D9C164783C31}" dt="2023-06-02T20:04:29.843" v="816" actId="47"/>
        <pc:sldMkLst>
          <pc:docMk/>
          <pc:sldMk cId="3722812206" sldId="3605"/>
        </pc:sldMkLst>
      </pc:sldChg>
      <pc:sldChg chg="del">
        <pc:chgData name="Scott Sink" userId="007532c1-63dd-4f29-9932-df3a9735f490" providerId="ADAL" clId="{C2997A85-FA0E-4A15-BC96-D9C164783C31}" dt="2023-06-02T20:04:30.193" v="817" actId="47"/>
        <pc:sldMkLst>
          <pc:docMk/>
          <pc:sldMk cId="4034699046" sldId="3606"/>
        </pc:sldMkLst>
      </pc:sldChg>
      <pc:sldChg chg="del">
        <pc:chgData name="Scott Sink" userId="007532c1-63dd-4f29-9932-df3a9735f490" providerId="ADAL" clId="{C2997A85-FA0E-4A15-BC96-D9C164783C31}" dt="2023-06-02T20:04:30.519" v="818" actId="47"/>
        <pc:sldMkLst>
          <pc:docMk/>
          <pc:sldMk cId="1125228431" sldId="3607"/>
        </pc:sldMkLst>
      </pc:sldChg>
      <pc:sldChg chg="del">
        <pc:chgData name="Scott Sink" userId="007532c1-63dd-4f29-9932-df3a9735f490" providerId="ADAL" clId="{C2997A85-FA0E-4A15-BC96-D9C164783C31}" dt="2023-06-02T20:04:30.864" v="819" actId="47"/>
        <pc:sldMkLst>
          <pc:docMk/>
          <pc:sldMk cId="116316544" sldId="3608"/>
        </pc:sldMkLst>
      </pc:sldChg>
      <pc:sldChg chg="del">
        <pc:chgData name="Scott Sink" userId="007532c1-63dd-4f29-9932-df3a9735f490" providerId="ADAL" clId="{C2997A85-FA0E-4A15-BC96-D9C164783C31}" dt="2023-06-02T20:04:31.185" v="820" actId="47"/>
        <pc:sldMkLst>
          <pc:docMk/>
          <pc:sldMk cId="2836108606" sldId="3609"/>
        </pc:sldMkLst>
      </pc:sldChg>
      <pc:sldChg chg="del">
        <pc:chgData name="Scott Sink" userId="007532c1-63dd-4f29-9932-df3a9735f490" providerId="ADAL" clId="{C2997A85-FA0E-4A15-BC96-D9C164783C31}" dt="2023-06-02T20:04:31.550" v="821" actId="47"/>
        <pc:sldMkLst>
          <pc:docMk/>
          <pc:sldMk cId="1903822633" sldId="3610"/>
        </pc:sldMkLst>
      </pc:sldChg>
      <pc:sldChg chg="del">
        <pc:chgData name="Scott Sink" userId="007532c1-63dd-4f29-9932-df3a9735f490" providerId="ADAL" clId="{C2997A85-FA0E-4A15-BC96-D9C164783C31}" dt="2023-06-02T20:04:31.868" v="822" actId="47"/>
        <pc:sldMkLst>
          <pc:docMk/>
          <pc:sldMk cId="3686140456" sldId="3611"/>
        </pc:sldMkLst>
      </pc:sldChg>
      <pc:sldChg chg="del">
        <pc:chgData name="Scott Sink" userId="007532c1-63dd-4f29-9932-df3a9735f490" providerId="ADAL" clId="{C2997A85-FA0E-4A15-BC96-D9C164783C31}" dt="2023-06-02T20:04:29.385" v="815" actId="47"/>
        <pc:sldMkLst>
          <pc:docMk/>
          <pc:sldMk cId="3115082838" sldId="3612"/>
        </pc:sldMkLst>
      </pc:sldChg>
      <pc:sldChg chg="addSp modSp mod">
        <pc:chgData name="Scott Sink" userId="007532c1-63dd-4f29-9932-df3a9735f490" providerId="ADAL" clId="{C2997A85-FA0E-4A15-BC96-D9C164783C31}" dt="2023-06-02T20:03:48.119" v="782" actId="1076"/>
        <pc:sldMkLst>
          <pc:docMk/>
          <pc:sldMk cId="46988055" sldId="3614"/>
        </pc:sldMkLst>
        <pc:spChg chg="mod">
          <ac:chgData name="Scott Sink" userId="007532c1-63dd-4f29-9932-df3a9735f490" providerId="ADAL" clId="{C2997A85-FA0E-4A15-BC96-D9C164783C31}" dt="2023-06-02T20:03:37.922" v="779" actId="1076"/>
          <ac:spMkLst>
            <pc:docMk/>
            <pc:sldMk cId="46988055" sldId="3614"/>
            <ac:spMk id="2" creationId="{E1E0086A-5BF8-7173-D3A9-BF6931F43FA3}"/>
          </ac:spMkLst>
        </pc:spChg>
        <pc:picChg chg="mod">
          <ac:chgData name="Scott Sink" userId="007532c1-63dd-4f29-9932-df3a9735f490" providerId="ADAL" clId="{C2997A85-FA0E-4A15-BC96-D9C164783C31}" dt="2023-06-02T20:03:41.969" v="780" actId="1076"/>
          <ac:picMkLst>
            <pc:docMk/>
            <pc:sldMk cId="46988055" sldId="3614"/>
            <ac:picMk id="5" creationId="{350F6A6F-9254-169D-C554-7DBAAD8796CD}"/>
          </ac:picMkLst>
        </pc:picChg>
        <pc:picChg chg="add mod">
          <ac:chgData name="Scott Sink" userId="007532c1-63dd-4f29-9932-df3a9735f490" providerId="ADAL" clId="{C2997A85-FA0E-4A15-BC96-D9C164783C31}" dt="2023-06-02T20:03:48.119" v="782" actId="1076"/>
          <ac:picMkLst>
            <pc:docMk/>
            <pc:sldMk cId="46988055" sldId="3614"/>
            <ac:picMk id="6" creationId="{D3503E87-AEA2-2EC8-30AD-DC3FA938F7A2}"/>
          </ac:picMkLst>
        </pc:picChg>
      </pc:sldChg>
      <pc:sldChg chg="addSp delSp modSp mod">
        <pc:chgData name="Scott Sink" userId="007532c1-63dd-4f29-9932-df3a9735f490" providerId="ADAL" clId="{C2997A85-FA0E-4A15-BC96-D9C164783C31}" dt="2023-06-02T19:47:12.952" v="271" actId="20577"/>
        <pc:sldMkLst>
          <pc:docMk/>
          <pc:sldMk cId="3858186052" sldId="3617"/>
        </pc:sldMkLst>
        <pc:spChg chg="mod">
          <ac:chgData name="Scott Sink" userId="007532c1-63dd-4f29-9932-df3a9735f490" providerId="ADAL" clId="{C2997A85-FA0E-4A15-BC96-D9C164783C31}" dt="2023-06-02T19:42:30.774" v="132" actId="14100"/>
          <ac:spMkLst>
            <pc:docMk/>
            <pc:sldMk cId="3858186052" sldId="3617"/>
            <ac:spMk id="2" creationId="{00000000-0000-0000-0000-000000000000}"/>
          </ac:spMkLst>
        </pc:spChg>
        <pc:spChg chg="mod">
          <ac:chgData name="Scott Sink" userId="007532c1-63dd-4f29-9932-df3a9735f490" providerId="ADAL" clId="{C2997A85-FA0E-4A15-BC96-D9C164783C31}" dt="2023-06-02T19:47:12.952" v="271" actId="20577"/>
          <ac:spMkLst>
            <pc:docMk/>
            <pc:sldMk cId="3858186052" sldId="3617"/>
            <ac:spMk id="3" creationId="{5CB5E778-EB37-08BC-8A65-E0A5BEF24F5F}"/>
          </ac:spMkLst>
        </pc:spChg>
        <pc:spChg chg="mod">
          <ac:chgData name="Scott Sink" userId="007532c1-63dd-4f29-9932-df3a9735f490" providerId="ADAL" clId="{C2997A85-FA0E-4A15-BC96-D9C164783C31}" dt="2023-06-02T19:44:59.491" v="242" actId="14100"/>
          <ac:spMkLst>
            <pc:docMk/>
            <pc:sldMk cId="3858186052" sldId="3617"/>
            <ac:spMk id="6" creationId="{C5018F96-B3E6-1C7C-503A-A6964F5B4827}"/>
          </ac:spMkLst>
        </pc:spChg>
        <pc:spChg chg="mod">
          <ac:chgData name="Scott Sink" userId="007532c1-63dd-4f29-9932-df3a9735f490" providerId="ADAL" clId="{C2997A85-FA0E-4A15-BC96-D9C164783C31}" dt="2023-06-02T19:41:27.521" v="101" actId="14100"/>
          <ac:spMkLst>
            <pc:docMk/>
            <pc:sldMk cId="3858186052" sldId="3617"/>
            <ac:spMk id="10" creationId="{B47D77AC-10E5-F7CA-1821-CA4162CCE788}"/>
          </ac:spMkLst>
        </pc:spChg>
        <pc:spChg chg="add mod">
          <ac:chgData name="Scott Sink" userId="007532c1-63dd-4f29-9932-df3a9735f490" providerId="ADAL" clId="{C2997A85-FA0E-4A15-BC96-D9C164783C31}" dt="2023-06-02T19:46:44.519" v="255" actId="1076"/>
          <ac:spMkLst>
            <pc:docMk/>
            <pc:sldMk cId="3858186052" sldId="3617"/>
            <ac:spMk id="13" creationId="{D541DAC8-5E3F-B4ED-FB9B-45E6479E107E}"/>
          </ac:spMkLst>
        </pc:spChg>
        <pc:spChg chg="add del mod">
          <ac:chgData name="Scott Sink" userId="007532c1-63dd-4f29-9932-df3a9735f490" providerId="ADAL" clId="{C2997A85-FA0E-4A15-BC96-D9C164783C31}" dt="2023-06-02T19:42:42.885" v="135" actId="14100"/>
          <ac:spMkLst>
            <pc:docMk/>
            <pc:sldMk cId="3858186052" sldId="3617"/>
            <ac:spMk id="16" creationId="{11CCDDD1-47EC-CB45-F196-95722069A30A}"/>
          </ac:spMkLst>
        </pc:spChg>
        <pc:spChg chg="del mod">
          <ac:chgData name="Scott Sink" userId="007532c1-63dd-4f29-9932-df3a9735f490" providerId="ADAL" clId="{C2997A85-FA0E-4A15-BC96-D9C164783C31}" dt="2023-06-02T19:43:15.635" v="148"/>
          <ac:spMkLst>
            <pc:docMk/>
            <pc:sldMk cId="3858186052" sldId="3617"/>
            <ac:spMk id="19" creationId="{56B87C1C-A03F-D739-5E61-58304DA481D8}"/>
          </ac:spMkLst>
        </pc:spChg>
        <pc:spChg chg="mod">
          <ac:chgData name="Scott Sink" userId="007532c1-63dd-4f29-9932-df3a9735f490" providerId="ADAL" clId="{C2997A85-FA0E-4A15-BC96-D9C164783C31}" dt="2023-06-02T19:41:40.852" v="119" actId="20577"/>
          <ac:spMkLst>
            <pc:docMk/>
            <pc:sldMk cId="3858186052" sldId="3617"/>
            <ac:spMk id="22" creationId="{693B6C1D-D021-4EC9-AC66-7E12E6EAE67F}"/>
          </ac:spMkLst>
        </pc:spChg>
        <pc:spChg chg="mod">
          <ac:chgData name="Scott Sink" userId="007532c1-63dd-4f29-9932-df3a9735f490" providerId="ADAL" clId="{C2997A85-FA0E-4A15-BC96-D9C164783C31}" dt="2023-06-02T19:45:44.852" v="246" actId="20577"/>
          <ac:spMkLst>
            <pc:docMk/>
            <pc:sldMk cId="3858186052" sldId="3617"/>
            <ac:spMk id="23" creationId="{4EA0D366-CE29-FBA8-36F6-A526371ECC4E}"/>
          </ac:spMkLst>
        </pc:spChg>
        <pc:picChg chg="mod">
          <ac:chgData name="Scott Sink" userId="007532c1-63dd-4f29-9932-df3a9735f490" providerId="ADAL" clId="{C2997A85-FA0E-4A15-BC96-D9C164783C31}" dt="2023-06-02T19:46:59.175" v="258" actId="1076"/>
          <ac:picMkLst>
            <pc:docMk/>
            <pc:sldMk cId="3858186052" sldId="3617"/>
            <ac:picMk id="4" creationId="{3278AFBD-8904-291A-2A95-535DC0C61C7F}"/>
          </ac:picMkLst>
        </pc:picChg>
        <pc:picChg chg="add del mod">
          <ac:chgData name="Scott Sink" userId="007532c1-63dd-4f29-9932-df3a9735f490" providerId="ADAL" clId="{C2997A85-FA0E-4A15-BC96-D9C164783C31}" dt="2023-06-02T19:42:25.269" v="129"/>
          <ac:picMkLst>
            <pc:docMk/>
            <pc:sldMk cId="3858186052" sldId="3617"/>
            <ac:picMk id="7" creationId="{AE985393-AD5A-A5EB-5909-6ACF1754318B}"/>
          </ac:picMkLst>
        </pc:picChg>
        <pc:picChg chg="add mod">
          <ac:chgData name="Scott Sink" userId="007532c1-63dd-4f29-9932-df3a9735f490" providerId="ADAL" clId="{C2997A85-FA0E-4A15-BC96-D9C164783C31}" dt="2023-06-02T19:42:59.226" v="139" actId="1076"/>
          <ac:picMkLst>
            <pc:docMk/>
            <pc:sldMk cId="3858186052" sldId="3617"/>
            <ac:picMk id="8" creationId="{25E45EB0-482D-D81E-8519-364A604371DB}"/>
          </ac:picMkLst>
        </pc:picChg>
        <pc:picChg chg="add mod modCrop">
          <ac:chgData name="Scott Sink" userId="007532c1-63dd-4f29-9932-df3a9735f490" providerId="ADAL" clId="{C2997A85-FA0E-4A15-BC96-D9C164783C31}" dt="2023-06-02T19:44:17.802" v="188" actId="1076"/>
          <ac:picMkLst>
            <pc:docMk/>
            <pc:sldMk cId="3858186052" sldId="3617"/>
            <ac:picMk id="11" creationId="{C2D9B6FE-0BF0-6B49-D43F-2ABAEC69EEC2}"/>
          </ac:picMkLst>
        </pc:picChg>
        <pc:picChg chg="del">
          <ac:chgData name="Scott Sink" userId="007532c1-63dd-4f29-9932-df3a9735f490" providerId="ADAL" clId="{C2997A85-FA0E-4A15-BC96-D9C164783C31}" dt="2023-06-02T19:43:15.635" v="146" actId="478"/>
          <ac:picMkLst>
            <pc:docMk/>
            <pc:sldMk cId="3858186052" sldId="3617"/>
            <ac:picMk id="12" creationId="{521E15FE-920F-415A-3FC3-E38436698BAB}"/>
          </ac:picMkLst>
        </pc:picChg>
        <pc:picChg chg="del">
          <ac:chgData name="Scott Sink" userId="007532c1-63dd-4f29-9932-df3a9735f490" providerId="ADAL" clId="{C2997A85-FA0E-4A15-BC96-D9C164783C31}" dt="2023-06-02T19:43:18.239" v="149" actId="478"/>
          <ac:picMkLst>
            <pc:docMk/>
            <pc:sldMk cId="3858186052" sldId="3617"/>
            <ac:picMk id="21" creationId="{2D47B59B-5914-AD91-AD4B-1A595DEEE575}"/>
          </ac:picMkLst>
        </pc:picChg>
        <pc:picChg chg="add del">
          <ac:chgData name="Scott Sink" userId="007532c1-63dd-4f29-9932-df3a9735f490" providerId="ADAL" clId="{C2997A85-FA0E-4A15-BC96-D9C164783C31}" dt="2023-06-02T19:41:58.546" v="122" actId="478"/>
          <ac:picMkLst>
            <pc:docMk/>
            <pc:sldMk cId="3858186052" sldId="3617"/>
            <ac:picMk id="24" creationId="{A6A71D98-28D0-E3E9-275A-21B2E8EDB4D0}"/>
          </ac:picMkLst>
        </pc:picChg>
      </pc:sldChg>
      <pc:sldChg chg="delSp modSp mod">
        <pc:chgData name="Scott Sink" userId="007532c1-63dd-4f29-9932-df3a9735f490" providerId="ADAL" clId="{C2997A85-FA0E-4A15-BC96-D9C164783C31}" dt="2023-06-02T19:53:13.759" v="598" actId="1076"/>
        <pc:sldMkLst>
          <pc:docMk/>
          <pc:sldMk cId="3939640140" sldId="3618"/>
        </pc:sldMkLst>
        <pc:spChg chg="mod">
          <ac:chgData name="Scott Sink" userId="007532c1-63dd-4f29-9932-df3a9735f490" providerId="ADAL" clId="{C2997A85-FA0E-4A15-BC96-D9C164783C31}" dt="2023-06-02T19:53:13.759" v="598" actId="1076"/>
          <ac:spMkLst>
            <pc:docMk/>
            <pc:sldMk cId="3939640140" sldId="3618"/>
            <ac:spMk id="3" creationId="{A5A8E09D-F143-AC8C-4127-0ABEDD96C64B}"/>
          </ac:spMkLst>
        </pc:spChg>
        <pc:spChg chg="del">
          <ac:chgData name="Scott Sink" userId="007532c1-63dd-4f29-9932-df3a9735f490" providerId="ADAL" clId="{C2997A85-FA0E-4A15-BC96-D9C164783C31}" dt="2023-06-02T19:47:57.085" v="317" actId="478"/>
          <ac:spMkLst>
            <pc:docMk/>
            <pc:sldMk cId="3939640140" sldId="3618"/>
            <ac:spMk id="5" creationId="{BD119F5D-19E2-ECEF-100F-32C90BA4E4C8}"/>
          </ac:spMkLst>
        </pc:spChg>
        <pc:spChg chg="del">
          <ac:chgData name="Scott Sink" userId="007532c1-63dd-4f29-9932-df3a9735f490" providerId="ADAL" clId="{C2997A85-FA0E-4A15-BC96-D9C164783C31}" dt="2023-06-02T19:47:58.602" v="318" actId="478"/>
          <ac:spMkLst>
            <pc:docMk/>
            <pc:sldMk cId="3939640140" sldId="3618"/>
            <ac:spMk id="6" creationId="{A568D454-ADD5-6F63-CA8A-7EE4FE147F51}"/>
          </ac:spMkLst>
        </pc:spChg>
      </pc:sldChg>
      <pc:sldChg chg="del">
        <pc:chgData name="Scott Sink" userId="007532c1-63dd-4f29-9932-df3a9735f490" providerId="ADAL" clId="{C2997A85-FA0E-4A15-BC96-D9C164783C31}" dt="2023-06-02T20:03:54.786" v="785" actId="47"/>
        <pc:sldMkLst>
          <pc:docMk/>
          <pc:sldMk cId="4090951317" sldId="3623"/>
        </pc:sldMkLst>
      </pc:sldChg>
      <pc:sldChg chg="del">
        <pc:chgData name="Scott Sink" userId="007532c1-63dd-4f29-9932-df3a9735f490" providerId="ADAL" clId="{C2997A85-FA0E-4A15-BC96-D9C164783C31}" dt="2023-06-02T20:04:26.154" v="807" actId="47"/>
        <pc:sldMkLst>
          <pc:docMk/>
          <pc:sldMk cId="1989919581" sldId="3624"/>
        </pc:sldMkLst>
      </pc:sldChg>
      <pc:sldChg chg="del">
        <pc:chgData name="Scott Sink" userId="007532c1-63dd-4f29-9932-df3a9735f490" providerId="ADAL" clId="{C2997A85-FA0E-4A15-BC96-D9C164783C31}" dt="2023-06-02T20:04:21.074" v="796" actId="47"/>
        <pc:sldMkLst>
          <pc:docMk/>
          <pc:sldMk cId="1357997351" sldId="3626"/>
        </pc:sldMkLst>
      </pc:sldChg>
      <pc:sldChg chg="del">
        <pc:chgData name="Scott Sink" userId="007532c1-63dd-4f29-9932-df3a9735f490" providerId="ADAL" clId="{C2997A85-FA0E-4A15-BC96-D9C164783C31}" dt="2023-06-02T20:04:23.107" v="799" actId="47"/>
        <pc:sldMkLst>
          <pc:docMk/>
          <pc:sldMk cId="3912324480" sldId="3627"/>
        </pc:sldMkLst>
      </pc:sldChg>
      <pc:sldChg chg="del">
        <pc:chgData name="Scott Sink" userId="007532c1-63dd-4f29-9932-df3a9735f490" providerId="ADAL" clId="{C2997A85-FA0E-4A15-BC96-D9C164783C31}" dt="2023-06-02T20:04:23.509" v="800" actId="47"/>
        <pc:sldMkLst>
          <pc:docMk/>
          <pc:sldMk cId="1123099622" sldId="3628"/>
        </pc:sldMkLst>
      </pc:sldChg>
      <pc:sldChg chg="del">
        <pc:chgData name="Scott Sink" userId="007532c1-63dd-4f29-9932-df3a9735f490" providerId="ADAL" clId="{C2997A85-FA0E-4A15-BC96-D9C164783C31}" dt="2023-06-02T20:04:23.889" v="801" actId="47"/>
        <pc:sldMkLst>
          <pc:docMk/>
          <pc:sldMk cId="168551946" sldId="3629"/>
        </pc:sldMkLst>
      </pc:sldChg>
      <pc:sldChg chg="del">
        <pc:chgData name="Scott Sink" userId="007532c1-63dd-4f29-9932-df3a9735f490" providerId="ADAL" clId="{C2997A85-FA0E-4A15-BC96-D9C164783C31}" dt="2023-06-02T20:04:24.306" v="802" actId="47"/>
        <pc:sldMkLst>
          <pc:docMk/>
          <pc:sldMk cId="2387595628" sldId="3630"/>
        </pc:sldMkLst>
      </pc:sldChg>
      <pc:sldChg chg="del">
        <pc:chgData name="Scott Sink" userId="007532c1-63dd-4f29-9932-df3a9735f490" providerId="ADAL" clId="{C2997A85-FA0E-4A15-BC96-D9C164783C31}" dt="2023-06-02T20:04:24.802" v="803" actId="47"/>
        <pc:sldMkLst>
          <pc:docMk/>
          <pc:sldMk cId="628219299" sldId="3631"/>
        </pc:sldMkLst>
      </pc:sldChg>
      <pc:sldChg chg="del">
        <pc:chgData name="Scott Sink" userId="007532c1-63dd-4f29-9932-df3a9735f490" providerId="ADAL" clId="{C2997A85-FA0E-4A15-BC96-D9C164783C31}" dt="2023-06-02T20:04:25.405" v="805" actId="47"/>
        <pc:sldMkLst>
          <pc:docMk/>
          <pc:sldMk cId="1814918814" sldId="3632"/>
        </pc:sldMkLst>
      </pc:sldChg>
      <pc:sldChg chg="del">
        <pc:chgData name="Scott Sink" userId="007532c1-63dd-4f29-9932-df3a9735f490" providerId="ADAL" clId="{C2997A85-FA0E-4A15-BC96-D9C164783C31}" dt="2023-06-02T20:04:27.697" v="811" actId="47"/>
        <pc:sldMkLst>
          <pc:docMk/>
          <pc:sldMk cId="584441069" sldId="3634"/>
        </pc:sldMkLst>
      </pc:sldChg>
      <pc:sldChg chg="del">
        <pc:chgData name="Scott Sink" userId="007532c1-63dd-4f29-9932-df3a9735f490" providerId="ADAL" clId="{C2997A85-FA0E-4A15-BC96-D9C164783C31}" dt="2023-06-02T20:04:28.035" v="812" actId="47"/>
        <pc:sldMkLst>
          <pc:docMk/>
          <pc:sldMk cId="2340664371" sldId="3635"/>
        </pc:sldMkLst>
      </pc:sldChg>
      <pc:sldChg chg="del">
        <pc:chgData name="Scott Sink" userId="007532c1-63dd-4f29-9932-df3a9735f490" providerId="ADAL" clId="{C2997A85-FA0E-4A15-BC96-D9C164783C31}" dt="2023-06-02T20:04:28.386" v="813" actId="47"/>
        <pc:sldMkLst>
          <pc:docMk/>
          <pc:sldMk cId="3953636968" sldId="3636"/>
        </pc:sldMkLst>
      </pc:sldChg>
      <pc:sldChg chg="del">
        <pc:chgData name="Scott Sink" userId="007532c1-63dd-4f29-9932-df3a9735f490" providerId="ADAL" clId="{C2997A85-FA0E-4A15-BC96-D9C164783C31}" dt="2023-06-02T20:04:29.019" v="814" actId="47"/>
        <pc:sldMkLst>
          <pc:docMk/>
          <pc:sldMk cId="4241288852" sldId="3637"/>
        </pc:sldMkLst>
      </pc:sldChg>
      <pc:sldChg chg="del">
        <pc:chgData name="Scott Sink" userId="007532c1-63dd-4f29-9932-df3a9735f490" providerId="ADAL" clId="{C2997A85-FA0E-4A15-BC96-D9C164783C31}" dt="2023-06-02T20:04:32.525" v="824" actId="47"/>
        <pc:sldMkLst>
          <pc:docMk/>
          <pc:sldMk cId="346339292" sldId="3638"/>
        </pc:sldMkLst>
      </pc:sldChg>
      <pc:sldChg chg="del">
        <pc:chgData name="Scott Sink" userId="007532c1-63dd-4f29-9932-df3a9735f490" providerId="ADAL" clId="{C2997A85-FA0E-4A15-BC96-D9C164783C31}" dt="2023-06-02T20:04:25.056" v="804" actId="47"/>
        <pc:sldMkLst>
          <pc:docMk/>
          <pc:sldMk cId="2295474388" sldId="3641"/>
        </pc:sldMkLst>
      </pc:sldChg>
      <pc:sldChg chg="del">
        <pc:chgData name="Scott Sink" userId="007532c1-63dd-4f29-9932-df3a9735f490" providerId="ADAL" clId="{C2997A85-FA0E-4A15-BC96-D9C164783C31}" dt="2023-06-02T20:04:27.335" v="810" actId="47"/>
        <pc:sldMkLst>
          <pc:docMk/>
          <pc:sldMk cId="1397055606" sldId="3642"/>
        </pc:sldMkLst>
      </pc:sldChg>
      <pc:sldChg chg="add del">
        <pc:chgData name="Scott Sink" userId="007532c1-63dd-4f29-9932-df3a9735f490" providerId="ADAL" clId="{C2997A85-FA0E-4A15-BC96-D9C164783C31}" dt="2023-06-02T20:05:02.207" v="863" actId="47"/>
        <pc:sldMkLst>
          <pc:docMk/>
          <pc:sldMk cId="820912285" sldId="3643"/>
        </pc:sldMkLst>
      </pc:sldChg>
      <pc:sldChg chg="add del">
        <pc:chgData name="Scott Sink" userId="007532c1-63dd-4f29-9932-df3a9735f490" providerId="ADAL" clId="{C2997A85-FA0E-4A15-BC96-D9C164783C31}" dt="2023-06-02T20:04:45.359" v="848" actId="47"/>
        <pc:sldMkLst>
          <pc:docMk/>
          <pc:sldMk cId="3272150657" sldId="3646"/>
        </pc:sldMkLst>
      </pc:sldChg>
      <pc:sldChg chg="add del">
        <pc:chgData name="Scott Sink" userId="007532c1-63dd-4f29-9932-df3a9735f490" providerId="ADAL" clId="{C2997A85-FA0E-4A15-BC96-D9C164783C31}" dt="2023-06-02T20:04:44.767" v="846" actId="47"/>
        <pc:sldMkLst>
          <pc:docMk/>
          <pc:sldMk cId="185777116" sldId="3648"/>
        </pc:sldMkLst>
      </pc:sldChg>
      <pc:sldChg chg="add del">
        <pc:chgData name="Scott Sink" userId="007532c1-63dd-4f29-9932-df3a9735f490" providerId="ADAL" clId="{C2997A85-FA0E-4A15-BC96-D9C164783C31}" dt="2023-06-02T20:04:45.069" v="847" actId="47"/>
        <pc:sldMkLst>
          <pc:docMk/>
          <pc:sldMk cId="2570695360" sldId="3651"/>
        </pc:sldMkLst>
      </pc:sldChg>
      <pc:sldChg chg="del">
        <pc:chgData name="Scott Sink" userId="007532c1-63dd-4f29-9932-df3a9735f490" providerId="ADAL" clId="{C2997A85-FA0E-4A15-BC96-D9C164783C31}" dt="2023-06-02T20:05:21.903" v="872" actId="47"/>
        <pc:sldMkLst>
          <pc:docMk/>
          <pc:sldMk cId="3947518335" sldId="3655"/>
        </pc:sldMkLst>
      </pc:sldChg>
      <pc:sldChg chg="del">
        <pc:chgData name="Scott Sink" userId="007532c1-63dd-4f29-9932-df3a9735f490" providerId="ADAL" clId="{C2997A85-FA0E-4A15-BC96-D9C164783C31}" dt="2023-06-02T20:04:06.047" v="791" actId="47"/>
        <pc:sldMkLst>
          <pc:docMk/>
          <pc:sldMk cId="3739493891" sldId="3657"/>
        </pc:sldMkLst>
      </pc:sldChg>
      <pc:sldChg chg="del">
        <pc:chgData name="Scott Sink" userId="007532c1-63dd-4f29-9932-df3a9735f490" providerId="ADAL" clId="{C2997A85-FA0E-4A15-BC96-D9C164783C31}" dt="2023-06-02T20:04:15.219" v="792" actId="47"/>
        <pc:sldMkLst>
          <pc:docMk/>
          <pc:sldMk cId="3863865067" sldId="3658"/>
        </pc:sldMkLst>
      </pc:sldChg>
      <pc:sldChg chg="del">
        <pc:chgData name="Scott Sink" userId="007532c1-63dd-4f29-9932-df3a9735f490" providerId="ADAL" clId="{C2997A85-FA0E-4A15-BC96-D9C164783C31}" dt="2023-06-02T20:03:58.386" v="787" actId="47"/>
        <pc:sldMkLst>
          <pc:docMk/>
          <pc:sldMk cId="1072721253" sldId="3659"/>
        </pc:sldMkLst>
      </pc:sldChg>
      <pc:sldChg chg="del">
        <pc:chgData name="Scott Sink" userId="007532c1-63dd-4f29-9932-df3a9735f490" providerId="ADAL" clId="{C2997A85-FA0E-4A15-BC96-D9C164783C31}" dt="2023-06-02T20:04:02.690" v="788" actId="47"/>
        <pc:sldMkLst>
          <pc:docMk/>
          <pc:sldMk cId="3398813940" sldId="3660"/>
        </pc:sldMkLst>
      </pc:sldChg>
      <pc:sldChg chg="del">
        <pc:chgData name="Scott Sink" userId="007532c1-63dd-4f29-9932-df3a9735f490" providerId="ADAL" clId="{C2997A85-FA0E-4A15-BC96-D9C164783C31}" dt="2023-06-02T20:04:03.800" v="789" actId="47"/>
        <pc:sldMkLst>
          <pc:docMk/>
          <pc:sldMk cId="3679005368" sldId="3661"/>
        </pc:sldMkLst>
      </pc:sldChg>
      <pc:sldChg chg="del">
        <pc:chgData name="Scott Sink" userId="007532c1-63dd-4f29-9932-df3a9735f490" providerId="ADAL" clId="{C2997A85-FA0E-4A15-BC96-D9C164783C31}" dt="2023-06-02T20:04:04.772" v="790" actId="47"/>
        <pc:sldMkLst>
          <pc:docMk/>
          <pc:sldMk cId="1146381394" sldId="3662"/>
        </pc:sldMkLst>
      </pc:sldChg>
      <pc:sldChg chg="del">
        <pc:chgData name="Scott Sink" userId="007532c1-63dd-4f29-9932-df3a9735f490" providerId="ADAL" clId="{C2997A85-FA0E-4A15-BC96-D9C164783C31}" dt="2023-06-02T20:04:19.900" v="794" actId="47"/>
        <pc:sldMkLst>
          <pc:docMk/>
          <pc:sldMk cId="2959633687" sldId="3663"/>
        </pc:sldMkLst>
      </pc:sldChg>
      <pc:sldChg chg="del">
        <pc:chgData name="Scott Sink" userId="007532c1-63dd-4f29-9932-df3a9735f490" providerId="ADAL" clId="{C2997A85-FA0E-4A15-BC96-D9C164783C31}" dt="2023-06-02T20:04:22.486" v="798" actId="47"/>
        <pc:sldMkLst>
          <pc:docMk/>
          <pc:sldMk cId="2028695767" sldId="3664"/>
        </pc:sldMkLst>
      </pc:sldChg>
      <pc:sldChg chg="del">
        <pc:chgData name="Scott Sink" userId="007532c1-63dd-4f29-9932-df3a9735f490" providerId="ADAL" clId="{C2997A85-FA0E-4A15-BC96-D9C164783C31}" dt="2023-06-02T20:04:26.904" v="809" actId="47"/>
        <pc:sldMkLst>
          <pc:docMk/>
          <pc:sldMk cId="1419495277" sldId="3666"/>
        </pc:sldMkLst>
      </pc:sldChg>
      <pc:sldChg chg="del">
        <pc:chgData name="Scott Sink" userId="007532c1-63dd-4f29-9932-df3a9735f490" providerId="ADAL" clId="{C2997A85-FA0E-4A15-BC96-D9C164783C31}" dt="2023-06-02T20:04:21.819" v="797" actId="47"/>
        <pc:sldMkLst>
          <pc:docMk/>
          <pc:sldMk cId="4128266154" sldId="3667"/>
        </pc:sldMkLst>
      </pc:sldChg>
      <pc:sldChg chg="add del">
        <pc:chgData name="Scott Sink" userId="007532c1-63dd-4f29-9932-df3a9735f490" providerId="ADAL" clId="{C2997A85-FA0E-4A15-BC96-D9C164783C31}" dt="2023-06-02T20:04:56.535" v="861" actId="47"/>
        <pc:sldMkLst>
          <pc:docMk/>
          <pc:sldMk cId="2086568190" sldId="3668"/>
        </pc:sldMkLst>
      </pc:sldChg>
      <pc:sldChg chg="add del">
        <pc:chgData name="Scott Sink" userId="007532c1-63dd-4f29-9932-df3a9735f490" providerId="ADAL" clId="{C2997A85-FA0E-4A15-BC96-D9C164783C31}" dt="2023-06-02T20:04:51.024" v="858" actId="47"/>
        <pc:sldMkLst>
          <pc:docMk/>
          <pc:sldMk cId="1298455054" sldId="3669"/>
        </pc:sldMkLst>
      </pc:sldChg>
      <pc:sldChg chg="add del">
        <pc:chgData name="Scott Sink" userId="007532c1-63dd-4f29-9932-df3a9735f490" providerId="ADAL" clId="{C2997A85-FA0E-4A15-BC96-D9C164783C31}" dt="2023-06-02T20:05:05.657" v="864" actId="47"/>
        <pc:sldMkLst>
          <pc:docMk/>
          <pc:sldMk cId="3811734949" sldId="3670"/>
        </pc:sldMkLst>
      </pc:sldChg>
      <pc:sldChg chg="add del">
        <pc:chgData name="Scott Sink" userId="007532c1-63dd-4f29-9932-df3a9735f490" providerId="ADAL" clId="{C2997A85-FA0E-4A15-BC96-D9C164783C31}" dt="2023-06-02T20:05:06.930" v="865" actId="47"/>
        <pc:sldMkLst>
          <pc:docMk/>
          <pc:sldMk cId="2021225452" sldId="3671"/>
        </pc:sldMkLst>
      </pc:sldChg>
      <pc:sldChg chg="add del">
        <pc:chgData name="Scott Sink" userId="007532c1-63dd-4f29-9932-df3a9735f490" providerId="ADAL" clId="{C2997A85-FA0E-4A15-BC96-D9C164783C31}" dt="2023-06-02T20:05:07.535" v="866" actId="47"/>
        <pc:sldMkLst>
          <pc:docMk/>
          <pc:sldMk cId="3881647464" sldId="3672"/>
        </pc:sldMkLst>
      </pc:sldChg>
      <pc:sldChg chg="add del">
        <pc:chgData name="Scott Sink" userId="007532c1-63dd-4f29-9932-df3a9735f490" providerId="ADAL" clId="{C2997A85-FA0E-4A15-BC96-D9C164783C31}" dt="2023-06-02T20:05:08.731" v="867" actId="47"/>
        <pc:sldMkLst>
          <pc:docMk/>
          <pc:sldMk cId="2479828351" sldId="3673"/>
        </pc:sldMkLst>
      </pc:sldChg>
      <pc:sldChg chg="add del">
        <pc:chgData name="Scott Sink" userId="007532c1-63dd-4f29-9932-df3a9735f490" providerId="ADAL" clId="{C2997A85-FA0E-4A15-BC96-D9C164783C31}" dt="2023-06-02T20:05:09.769" v="868" actId="47"/>
        <pc:sldMkLst>
          <pc:docMk/>
          <pc:sldMk cId="2182207974" sldId="3674"/>
        </pc:sldMkLst>
      </pc:sldChg>
      <pc:sldChg chg="add del">
        <pc:chgData name="Scott Sink" userId="007532c1-63dd-4f29-9932-df3a9735f490" providerId="ADAL" clId="{C2997A85-FA0E-4A15-BC96-D9C164783C31}" dt="2023-06-02T20:05:12.469" v="869" actId="47"/>
        <pc:sldMkLst>
          <pc:docMk/>
          <pc:sldMk cId="606440969" sldId="3675"/>
        </pc:sldMkLst>
      </pc:sldChg>
      <pc:sldChg chg="add del">
        <pc:chgData name="Scott Sink" userId="007532c1-63dd-4f29-9932-df3a9735f490" providerId="ADAL" clId="{C2997A85-FA0E-4A15-BC96-D9C164783C31}" dt="2023-06-02T20:04:46.605" v="851" actId="47"/>
        <pc:sldMkLst>
          <pc:docMk/>
          <pc:sldMk cId="2306352246" sldId="3676"/>
        </pc:sldMkLst>
      </pc:sldChg>
      <pc:sldChg chg="add del">
        <pc:chgData name="Scott Sink" userId="007532c1-63dd-4f29-9932-df3a9735f490" providerId="ADAL" clId="{C2997A85-FA0E-4A15-BC96-D9C164783C31}" dt="2023-06-02T20:04:46.238" v="850" actId="47"/>
        <pc:sldMkLst>
          <pc:docMk/>
          <pc:sldMk cId="278842996" sldId="3677"/>
        </pc:sldMkLst>
      </pc:sldChg>
      <pc:sldChg chg="add del">
        <pc:chgData name="Scott Sink" userId="007532c1-63dd-4f29-9932-df3a9735f490" providerId="ADAL" clId="{C2997A85-FA0E-4A15-BC96-D9C164783C31}" dt="2023-06-02T20:04:45.719" v="849" actId="47"/>
        <pc:sldMkLst>
          <pc:docMk/>
          <pc:sldMk cId="1312695074" sldId="3678"/>
        </pc:sldMkLst>
      </pc:sldChg>
      <pc:sldChg chg="add del">
        <pc:chgData name="Scott Sink" userId="007532c1-63dd-4f29-9932-df3a9735f490" providerId="ADAL" clId="{C2997A85-FA0E-4A15-BC96-D9C164783C31}" dt="2023-06-02T20:05:18.746" v="870" actId="47"/>
        <pc:sldMkLst>
          <pc:docMk/>
          <pc:sldMk cId="2538638" sldId="3680"/>
        </pc:sldMkLst>
      </pc:sldChg>
      <pc:sldChg chg="del">
        <pc:chgData name="Scott Sink" userId="007532c1-63dd-4f29-9932-df3a9735f490" providerId="ADAL" clId="{C2997A85-FA0E-4A15-BC96-D9C164783C31}" dt="2023-06-02T20:03:56.743" v="786" actId="47"/>
        <pc:sldMkLst>
          <pc:docMk/>
          <pc:sldMk cId="2271784520" sldId="3681"/>
        </pc:sldMkLst>
      </pc:sldChg>
      <pc:sldChg chg="add del">
        <pc:chgData name="Scott Sink" userId="007532c1-63dd-4f29-9932-df3a9735f490" providerId="ADAL" clId="{C2997A85-FA0E-4A15-BC96-D9C164783C31}" dt="2023-06-02T20:05:20.695" v="871" actId="47"/>
        <pc:sldMkLst>
          <pc:docMk/>
          <pc:sldMk cId="3948270344" sldId="3682"/>
        </pc:sldMkLst>
      </pc:sldChg>
      <pc:sldChg chg="modSp mod">
        <pc:chgData name="Scott Sink" userId="007532c1-63dd-4f29-9932-df3a9735f490" providerId="ADAL" clId="{C2997A85-FA0E-4A15-BC96-D9C164783C31}" dt="2023-06-02T20:14:02.332" v="1051" actId="20577"/>
        <pc:sldMkLst>
          <pc:docMk/>
          <pc:sldMk cId="3083674499" sldId="3683"/>
        </pc:sldMkLst>
        <pc:spChg chg="mod">
          <ac:chgData name="Scott Sink" userId="007532c1-63dd-4f29-9932-df3a9735f490" providerId="ADAL" clId="{C2997A85-FA0E-4A15-BC96-D9C164783C31}" dt="2023-06-02T20:14:02.332" v="1051" actId="20577"/>
          <ac:spMkLst>
            <pc:docMk/>
            <pc:sldMk cId="3083674499" sldId="3683"/>
            <ac:spMk id="9" creationId="{5ACBF105-37A5-4EFF-9212-3A4FB813785F}"/>
          </ac:spMkLst>
        </pc:spChg>
      </pc:sldChg>
      <pc:sldChg chg="del">
        <pc:chgData name="Scott Sink" userId="007532c1-63dd-4f29-9932-df3a9735f490" providerId="ADAL" clId="{C2997A85-FA0E-4A15-BC96-D9C164783C31}" dt="2023-06-02T20:04:18.352" v="793" actId="47"/>
        <pc:sldMkLst>
          <pc:docMk/>
          <pc:sldMk cId="1332262258" sldId="3684"/>
        </pc:sldMkLst>
      </pc:sldChg>
      <pc:sldChg chg="del">
        <pc:chgData name="Scott Sink" userId="007532c1-63dd-4f29-9932-df3a9735f490" providerId="ADAL" clId="{C2997A85-FA0E-4A15-BC96-D9C164783C31}" dt="2023-06-02T20:04:25.803" v="806" actId="47"/>
        <pc:sldMkLst>
          <pc:docMk/>
          <pc:sldMk cId="1499946056" sldId="3685"/>
        </pc:sldMkLst>
      </pc:sldChg>
      <pc:sldChg chg="del">
        <pc:chgData name="Scott Sink" userId="007532c1-63dd-4f29-9932-df3a9735f490" providerId="ADAL" clId="{C2997A85-FA0E-4A15-BC96-D9C164783C31}" dt="2023-06-02T20:04:32.189" v="823" actId="47"/>
        <pc:sldMkLst>
          <pc:docMk/>
          <pc:sldMk cId="2305056567" sldId="3686"/>
        </pc:sldMkLst>
      </pc:sldChg>
      <pc:sldChg chg="add del">
        <pc:chgData name="Scott Sink" userId="007532c1-63dd-4f29-9932-df3a9735f490" providerId="ADAL" clId="{C2997A85-FA0E-4A15-BC96-D9C164783C31}" dt="2023-06-02T20:14:14.542" v="1052" actId="47"/>
        <pc:sldMkLst>
          <pc:docMk/>
          <pc:sldMk cId="355314602" sldId="3687"/>
        </pc:sldMkLst>
      </pc:sldChg>
      <pc:sldChg chg="addSp delSp modSp new mod">
        <pc:chgData name="Scott Sink" userId="007532c1-63dd-4f29-9932-df3a9735f490" providerId="ADAL" clId="{C2997A85-FA0E-4A15-BC96-D9C164783C31}" dt="2023-06-02T20:00:24.755" v="744" actId="20577"/>
        <pc:sldMkLst>
          <pc:docMk/>
          <pc:sldMk cId="528263807" sldId="3688"/>
        </pc:sldMkLst>
        <pc:spChg chg="del mod">
          <ac:chgData name="Scott Sink" userId="007532c1-63dd-4f29-9932-df3a9735f490" providerId="ADAL" clId="{C2997A85-FA0E-4A15-BC96-D9C164783C31}" dt="2023-06-02T19:55:38.370" v="611" actId="478"/>
          <ac:spMkLst>
            <pc:docMk/>
            <pc:sldMk cId="528263807" sldId="3688"/>
            <ac:spMk id="2" creationId="{DDF3CD6F-3E79-1229-EE67-1323CF9966FE}"/>
          </ac:spMkLst>
        </pc:spChg>
        <pc:spChg chg="del">
          <ac:chgData name="Scott Sink" userId="007532c1-63dd-4f29-9932-df3a9735f490" providerId="ADAL" clId="{C2997A85-FA0E-4A15-BC96-D9C164783C31}" dt="2023-06-02T19:54:44.945" v="600" actId="931"/>
          <ac:spMkLst>
            <pc:docMk/>
            <pc:sldMk cId="528263807" sldId="3688"/>
            <ac:spMk id="3" creationId="{CEE99911-812E-39E4-C25C-10E1CBBFEEED}"/>
          </ac:spMkLst>
        </pc:spChg>
        <pc:spChg chg="add del mod">
          <ac:chgData name="Scott Sink" userId="007532c1-63dd-4f29-9932-df3a9735f490" providerId="ADAL" clId="{C2997A85-FA0E-4A15-BC96-D9C164783C31}" dt="2023-06-02T19:55:12.328" v="603" actId="931"/>
          <ac:spMkLst>
            <pc:docMk/>
            <pc:sldMk cId="528263807" sldId="3688"/>
            <ac:spMk id="8" creationId="{18BFCA25-A8F8-B5B0-CE0C-A60795AE8F22}"/>
          </ac:spMkLst>
        </pc:spChg>
        <pc:spChg chg="add mod">
          <ac:chgData name="Scott Sink" userId="007532c1-63dd-4f29-9932-df3a9735f490" providerId="ADAL" clId="{C2997A85-FA0E-4A15-BC96-D9C164783C31}" dt="2023-06-02T20:00:24.755" v="744" actId="20577"/>
          <ac:spMkLst>
            <pc:docMk/>
            <pc:sldMk cId="528263807" sldId="3688"/>
            <ac:spMk id="11" creationId="{379F6106-0579-E644-C85A-0BA665F498EA}"/>
          </ac:spMkLst>
        </pc:spChg>
        <pc:picChg chg="add del mod">
          <ac:chgData name="Scott Sink" userId="007532c1-63dd-4f29-9932-df3a9735f490" providerId="ADAL" clId="{C2997A85-FA0E-4A15-BC96-D9C164783C31}" dt="2023-06-02T19:55:02.775" v="602" actId="478"/>
          <ac:picMkLst>
            <pc:docMk/>
            <pc:sldMk cId="528263807" sldId="3688"/>
            <ac:picMk id="6" creationId="{00605AB9-FD52-1E26-FB22-A9D5690E300E}"/>
          </ac:picMkLst>
        </pc:picChg>
        <pc:picChg chg="add mod">
          <ac:chgData name="Scott Sink" userId="007532c1-63dd-4f29-9932-df3a9735f490" providerId="ADAL" clId="{C2997A85-FA0E-4A15-BC96-D9C164783C31}" dt="2023-06-02T20:00:13.152" v="742" actId="14100"/>
          <ac:picMkLst>
            <pc:docMk/>
            <pc:sldMk cId="528263807" sldId="3688"/>
            <ac:picMk id="10" creationId="{C124FF29-7452-154A-4EF6-770BA05AD09C}"/>
          </ac:picMkLst>
        </pc:picChg>
      </pc:sldChg>
      <pc:sldChg chg="add">
        <pc:chgData name="Scott Sink" userId="007532c1-63dd-4f29-9932-df3a9735f490" providerId="ADAL" clId="{C2997A85-FA0E-4A15-BC96-D9C164783C31}" dt="2023-06-03T23:51:06.651" v="1054"/>
        <pc:sldMkLst>
          <pc:docMk/>
          <pc:sldMk cId="2799686858" sldId="3689"/>
        </pc:sldMkLst>
      </pc:sldChg>
      <pc:sldChg chg="add">
        <pc:chgData name="Scott Sink" userId="007532c1-63dd-4f29-9932-df3a9735f490" providerId="ADAL" clId="{C2997A85-FA0E-4A15-BC96-D9C164783C31}" dt="2023-06-03T23:51:08.637" v="1056"/>
        <pc:sldMkLst>
          <pc:docMk/>
          <pc:sldMk cId="968880051" sldId="3690"/>
        </pc:sldMkLst>
      </pc:sldChg>
      <pc:sldChg chg="add">
        <pc:chgData name="Scott Sink" userId="007532c1-63dd-4f29-9932-df3a9735f490" providerId="ADAL" clId="{C2997A85-FA0E-4A15-BC96-D9C164783C31}" dt="2023-06-03T23:51:12.553" v="1058"/>
        <pc:sldMkLst>
          <pc:docMk/>
          <pc:sldMk cId="3499263705" sldId="3691"/>
        </pc:sldMkLst>
      </pc:sldChg>
      <pc:sldChg chg="add">
        <pc:chgData name="Scott Sink" userId="007532c1-63dd-4f29-9932-df3a9735f490" providerId="ADAL" clId="{C2997A85-FA0E-4A15-BC96-D9C164783C31}" dt="2023-06-03T23:51:14.187" v="1060"/>
        <pc:sldMkLst>
          <pc:docMk/>
          <pc:sldMk cId="1139212183" sldId="3692"/>
        </pc:sldMkLst>
      </pc:sldChg>
      <pc:sldChg chg="add">
        <pc:chgData name="Scott Sink" userId="007532c1-63dd-4f29-9932-df3a9735f490" providerId="ADAL" clId="{C2997A85-FA0E-4A15-BC96-D9C164783C31}" dt="2023-06-03T23:51:16.366" v="1062"/>
        <pc:sldMkLst>
          <pc:docMk/>
          <pc:sldMk cId="2386247978" sldId="3693"/>
        </pc:sldMkLst>
      </pc:sldChg>
      <pc:sldChg chg="add">
        <pc:chgData name="Scott Sink" userId="007532c1-63dd-4f29-9932-df3a9735f490" providerId="ADAL" clId="{C2997A85-FA0E-4A15-BC96-D9C164783C31}" dt="2023-06-03T23:51:18.303" v="1064"/>
        <pc:sldMkLst>
          <pc:docMk/>
          <pc:sldMk cId="1983506577" sldId="3694"/>
        </pc:sldMkLst>
      </pc:sldChg>
      <pc:sldChg chg="add">
        <pc:chgData name="Scott Sink" userId="007532c1-63dd-4f29-9932-df3a9735f490" providerId="ADAL" clId="{C2997A85-FA0E-4A15-BC96-D9C164783C31}" dt="2023-06-03T23:51:20.803" v="1066"/>
        <pc:sldMkLst>
          <pc:docMk/>
          <pc:sldMk cId="3009266004" sldId="3695"/>
        </pc:sldMkLst>
      </pc:sldChg>
      <pc:sldChg chg="add">
        <pc:chgData name="Scott Sink" userId="007532c1-63dd-4f29-9932-df3a9735f490" providerId="ADAL" clId="{C2997A85-FA0E-4A15-BC96-D9C164783C31}" dt="2023-06-03T23:51:22.060" v="1068"/>
        <pc:sldMkLst>
          <pc:docMk/>
          <pc:sldMk cId="2565760412" sldId="3696"/>
        </pc:sldMkLst>
      </pc:sldChg>
      <pc:sldChg chg="add">
        <pc:chgData name="Scott Sink" userId="007532c1-63dd-4f29-9932-df3a9735f490" providerId="ADAL" clId="{C2997A85-FA0E-4A15-BC96-D9C164783C31}" dt="2023-06-03T23:51:23.457" v="1070"/>
        <pc:sldMkLst>
          <pc:docMk/>
          <pc:sldMk cId="3111554149" sldId="3697"/>
        </pc:sldMkLst>
      </pc:sldChg>
      <pc:sldChg chg="add">
        <pc:chgData name="Scott Sink" userId="007532c1-63dd-4f29-9932-df3a9735f490" providerId="ADAL" clId="{C2997A85-FA0E-4A15-BC96-D9C164783C31}" dt="2023-06-03T23:51:24.936" v="1072"/>
        <pc:sldMkLst>
          <pc:docMk/>
          <pc:sldMk cId="2504360793" sldId="3698"/>
        </pc:sldMkLst>
      </pc:sldChg>
      <pc:sldChg chg="add">
        <pc:chgData name="Scott Sink" userId="007532c1-63dd-4f29-9932-df3a9735f490" providerId="ADAL" clId="{C2997A85-FA0E-4A15-BC96-D9C164783C31}" dt="2023-06-03T23:51:27.070" v="1074"/>
        <pc:sldMkLst>
          <pc:docMk/>
          <pc:sldMk cId="3766282110" sldId="3699"/>
        </pc:sldMkLst>
      </pc:sldChg>
      <pc:sldChg chg="add">
        <pc:chgData name="Scott Sink" userId="007532c1-63dd-4f29-9932-df3a9735f490" providerId="ADAL" clId="{C2997A85-FA0E-4A15-BC96-D9C164783C31}" dt="2023-06-03T23:51:29.737" v="1076"/>
        <pc:sldMkLst>
          <pc:docMk/>
          <pc:sldMk cId="1589728508" sldId="3700"/>
        </pc:sldMkLst>
      </pc:sldChg>
      <pc:sldChg chg="add">
        <pc:chgData name="Scott Sink" userId="007532c1-63dd-4f29-9932-df3a9735f490" providerId="ADAL" clId="{C2997A85-FA0E-4A15-BC96-D9C164783C31}" dt="2023-06-03T23:51:31.893" v="1078"/>
        <pc:sldMkLst>
          <pc:docMk/>
          <pc:sldMk cId="896845260" sldId="3701"/>
        </pc:sldMkLst>
      </pc:sldChg>
      <pc:sldChg chg="add">
        <pc:chgData name="Scott Sink" userId="007532c1-63dd-4f29-9932-df3a9735f490" providerId="ADAL" clId="{C2997A85-FA0E-4A15-BC96-D9C164783C31}" dt="2023-06-03T23:51:33.303" v="1080"/>
        <pc:sldMkLst>
          <pc:docMk/>
          <pc:sldMk cId="1088496890" sldId="3702"/>
        </pc:sldMkLst>
      </pc:sldChg>
      <pc:sldChg chg="add">
        <pc:chgData name="Scott Sink" userId="007532c1-63dd-4f29-9932-df3a9735f490" providerId="ADAL" clId="{C2997A85-FA0E-4A15-BC96-D9C164783C31}" dt="2023-06-03T23:51:34.616" v="1082"/>
        <pc:sldMkLst>
          <pc:docMk/>
          <pc:sldMk cId="3899950260" sldId="3703"/>
        </pc:sldMkLst>
      </pc:sldChg>
      <pc:sldChg chg="add">
        <pc:chgData name="Scott Sink" userId="007532c1-63dd-4f29-9932-df3a9735f490" providerId="ADAL" clId="{C2997A85-FA0E-4A15-BC96-D9C164783C31}" dt="2023-06-03T23:51:36.387" v="1084"/>
        <pc:sldMkLst>
          <pc:docMk/>
          <pc:sldMk cId="3990148524" sldId="3704"/>
        </pc:sldMkLst>
      </pc:sldChg>
      <pc:sldChg chg="add">
        <pc:chgData name="Scott Sink" userId="007532c1-63dd-4f29-9932-df3a9735f490" providerId="ADAL" clId="{C2997A85-FA0E-4A15-BC96-D9C164783C31}" dt="2023-06-03T23:51:37.961" v="1086"/>
        <pc:sldMkLst>
          <pc:docMk/>
          <pc:sldMk cId="230616618" sldId="3705"/>
        </pc:sldMkLst>
      </pc:sldChg>
      <pc:sldChg chg="add">
        <pc:chgData name="Scott Sink" userId="007532c1-63dd-4f29-9932-df3a9735f490" providerId="ADAL" clId="{C2997A85-FA0E-4A15-BC96-D9C164783C31}" dt="2023-06-03T23:51:39.388" v="1088"/>
        <pc:sldMkLst>
          <pc:docMk/>
          <pc:sldMk cId="3195592877" sldId="3706"/>
        </pc:sldMkLst>
      </pc:sldChg>
      <pc:sldChg chg="add">
        <pc:chgData name="Scott Sink" userId="007532c1-63dd-4f29-9932-df3a9735f490" providerId="ADAL" clId="{C2997A85-FA0E-4A15-BC96-D9C164783C31}" dt="2023-06-03T23:51:41.304" v="1090"/>
        <pc:sldMkLst>
          <pc:docMk/>
          <pc:sldMk cId="735213613" sldId="3707"/>
        </pc:sldMkLst>
      </pc:sldChg>
      <pc:sldChg chg="add">
        <pc:chgData name="Scott Sink" userId="007532c1-63dd-4f29-9932-df3a9735f490" providerId="ADAL" clId="{C2997A85-FA0E-4A15-BC96-D9C164783C31}" dt="2023-06-03T23:51:42.936" v="1092"/>
        <pc:sldMkLst>
          <pc:docMk/>
          <pc:sldMk cId="337436359" sldId="3708"/>
        </pc:sldMkLst>
      </pc:sldChg>
      <pc:sldChg chg="add">
        <pc:chgData name="Scott Sink" userId="007532c1-63dd-4f29-9932-df3a9735f490" providerId="ADAL" clId="{C2997A85-FA0E-4A15-BC96-D9C164783C31}" dt="2023-06-03T23:51:44.877" v="1094"/>
        <pc:sldMkLst>
          <pc:docMk/>
          <pc:sldMk cId="3838641964" sldId="3709"/>
        </pc:sldMkLst>
      </pc:sldChg>
      <pc:sldChg chg="add">
        <pc:chgData name="Scott Sink" userId="007532c1-63dd-4f29-9932-df3a9735f490" providerId="ADAL" clId="{C2997A85-FA0E-4A15-BC96-D9C164783C31}" dt="2023-06-03T23:51:46.291" v="1096"/>
        <pc:sldMkLst>
          <pc:docMk/>
          <pc:sldMk cId="2469079551" sldId="3710"/>
        </pc:sldMkLst>
      </pc:sldChg>
      <pc:sldChg chg="add">
        <pc:chgData name="Scott Sink" userId="007532c1-63dd-4f29-9932-df3a9735f490" providerId="ADAL" clId="{C2997A85-FA0E-4A15-BC96-D9C164783C31}" dt="2023-06-03T23:51:47.809" v="1098"/>
        <pc:sldMkLst>
          <pc:docMk/>
          <pc:sldMk cId="1212769949" sldId="3711"/>
        </pc:sldMkLst>
      </pc:sldChg>
      <pc:sldChg chg="add">
        <pc:chgData name="Scott Sink" userId="007532c1-63dd-4f29-9932-df3a9735f490" providerId="ADAL" clId="{C2997A85-FA0E-4A15-BC96-D9C164783C31}" dt="2023-06-03T23:51:49.336" v="1100"/>
        <pc:sldMkLst>
          <pc:docMk/>
          <pc:sldMk cId="1777999867" sldId="3712"/>
        </pc:sldMkLst>
      </pc:sldChg>
      <pc:sldChg chg="add">
        <pc:chgData name="Scott Sink" userId="007532c1-63dd-4f29-9932-df3a9735f490" providerId="ADAL" clId="{C2997A85-FA0E-4A15-BC96-D9C164783C31}" dt="2023-06-03T23:51:50.873" v="1102"/>
        <pc:sldMkLst>
          <pc:docMk/>
          <pc:sldMk cId="2275490012" sldId="3713"/>
        </pc:sldMkLst>
      </pc:sldChg>
      <pc:sldChg chg="add">
        <pc:chgData name="Scott Sink" userId="007532c1-63dd-4f29-9932-df3a9735f490" providerId="ADAL" clId="{C2997A85-FA0E-4A15-BC96-D9C164783C31}" dt="2023-06-03T23:51:52.352" v="1104"/>
        <pc:sldMkLst>
          <pc:docMk/>
          <pc:sldMk cId="2859851823" sldId="3714"/>
        </pc:sldMkLst>
      </pc:sldChg>
      <pc:sldChg chg="add">
        <pc:chgData name="Scott Sink" userId="007532c1-63dd-4f29-9932-df3a9735f490" providerId="ADAL" clId="{C2997A85-FA0E-4A15-BC96-D9C164783C31}" dt="2023-06-03T23:51:53.985" v="1106"/>
        <pc:sldMkLst>
          <pc:docMk/>
          <pc:sldMk cId="2974356457" sldId="3715"/>
        </pc:sldMkLst>
      </pc:sldChg>
      <pc:sldChg chg="add">
        <pc:chgData name="Scott Sink" userId="007532c1-63dd-4f29-9932-df3a9735f490" providerId="ADAL" clId="{C2997A85-FA0E-4A15-BC96-D9C164783C31}" dt="2023-06-03T23:51:55.377" v="1108"/>
        <pc:sldMkLst>
          <pc:docMk/>
          <pc:sldMk cId="1580128679" sldId="3716"/>
        </pc:sldMkLst>
      </pc:sldChg>
      <pc:sldChg chg="add">
        <pc:chgData name="Scott Sink" userId="007532c1-63dd-4f29-9932-df3a9735f490" providerId="ADAL" clId="{C2997A85-FA0E-4A15-BC96-D9C164783C31}" dt="2023-06-03T23:51:56.776" v="1110"/>
        <pc:sldMkLst>
          <pc:docMk/>
          <pc:sldMk cId="3771296738" sldId="3717"/>
        </pc:sldMkLst>
      </pc:sldChg>
      <pc:sldChg chg="add">
        <pc:chgData name="Scott Sink" userId="007532c1-63dd-4f29-9932-df3a9735f490" providerId="ADAL" clId="{C2997A85-FA0E-4A15-BC96-D9C164783C31}" dt="2023-06-03T23:51:58.291" v="1112"/>
        <pc:sldMkLst>
          <pc:docMk/>
          <pc:sldMk cId="319426285" sldId="3718"/>
        </pc:sldMkLst>
      </pc:sldChg>
      <pc:sldChg chg="add">
        <pc:chgData name="Scott Sink" userId="007532c1-63dd-4f29-9932-df3a9735f490" providerId="ADAL" clId="{C2997A85-FA0E-4A15-BC96-D9C164783C31}" dt="2023-06-03T23:51:59.753" v="1114"/>
        <pc:sldMkLst>
          <pc:docMk/>
          <pc:sldMk cId="2577538415" sldId="3719"/>
        </pc:sldMkLst>
      </pc:sldChg>
      <pc:sldMasterChg chg="del delSldLayout">
        <pc:chgData name="Scott Sink" userId="007532c1-63dd-4f29-9932-df3a9735f490" providerId="ADAL" clId="{C2997A85-FA0E-4A15-BC96-D9C164783C31}" dt="2023-06-02T20:04:31.868" v="822" actId="47"/>
        <pc:sldMasterMkLst>
          <pc:docMk/>
          <pc:sldMasterMk cId="2012861398" sldId="2147483667"/>
        </pc:sldMasterMkLst>
        <pc:sldLayoutChg chg="del">
          <pc:chgData name="Scott Sink" userId="007532c1-63dd-4f29-9932-df3a9735f490" providerId="ADAL" clId="{C2997A85-FA0E-4A15-BC96-D9C164783C31}" dt="2023-06-02T20:04:31.868" v="822" actId="47"/>
          <pc:sldLayoutMkLst>
            <pc:docMk/>
            <pc:sldMasterMk cId="2012861398" sldId="2147483667"/>
            <pc:sldLayoutMk cId="3413945563" sldId="2147497900"/>
          </pc:sldLayoutMkLst>
        </pc:sldLayoutChg>
      </pc:sldMasterChg>
      <pc:sldMasterChg chg="add addSldLayout">
        <pc:chgData name="Scott Sink" userId="007532c1-63dd-4f29-9932-df3a9735f490" providerId="ADAL" clId="{C2997A85-FA0E-4A15-BC96-D9C164783C31}" dt="2023-06-03T23:51:24.936" v="1071" actId="27028"/>
        <pc:sldMasterMkLst>
          <pc:docMk/>
          <pc:sldMasterMk cId="1129140775" sldId="2147483674"/>
        </pc:sldMasterMkLst>
        <pc:sldLayoutChg chg="add">
          <pc:chgData name="Scott Sink" userId="007532c1-63dd-4f29-9932-df3a9735f490" providerId="ADAL" clId="{C2997A85-FA0E-4A15-BC96-D9C164783C31}" dt="2023-06-03T23:51:24.936" v="1071" actId="27028"/>
          <pc:sldLayoutMkLst>
            <pc:docMk/>
            <pc:sldMasterMk cId="1129140775" sldId="2147483674"/>
            <pc:sldLayoutMk cId="3823185750" sldId="2147483676"/>
          </pc:sldLayoutMkLst>
        </pc:sldLayoutChg>
        <pc:sldLayoutChg chg="add">
          <pc:chgData name="Scott Sink" userId="007532c1-63dd-4f29-9932-df3a9735f490" providerId="ADAL" clId="{C2997A85-FA0E-4A15-BC96-D9C164783C31}" dt="2023-06-03T23:51:23.457" v="1069" actId="27028"/>
          <pc:sldLayoutMkLst>
            <pc:docMk/>
            <pc:sldMasterMk cId="1129140775" sldId="2147483674"/>
            <pc:sldLayoutMk cId="761583877" sldId="2147483678"/>
          </pc:sldLayoutMkLst>
        </pc:sldLayoutChg>
        <pc:sldLayoutChg chg="add">
          <pc:chgData name="Scott Sink" userId="007532c1-63dd-4f29-9932-df3a9735f490" providerId="ADAL" clId="{C2997A85-FA0E-4A15-BC96-D9C164783C31}" dt="2023-06-03T23:51:18.303" v="1063" actId="27028"/>
          <pc:sldLayoutMkLst>
            <pc:docMk/>
            <pc:sldMasterMk cId="1129140775" sldId="2147483674"/>
            <pc:sldLayoutMk cId="1049413771" sldId="2147483680"/>
          </pc:sldLayoutMkLst>
        </pc:sldLayoutChg>
        <pc:sldLayoutChg chg="add">
          <pc:chgData name="Scott Sink" userId="007532c1-63dd-4f29-9932-df3a9735f490" providerId="ADAL" clId="{C2997A85-FA0E-4A15-BC96-D9C164783C31}" dt="2023-06-03T23:51:06.651" v="1053" actId="27028"/>
          <pc:sldLayoutMkLst>
            <pc:docMk/>
            <pc:sldMasterMk cId="1129140775" sldId="2147483674"/>
            <pc:sldLayoutMk cId="3939964797" sldId="2147483681"/>
          </pc:sldLayoutMkLst>
        </pc:sldLayoutChg>
        <pc:sldLayoutChg chg="add">
          <pc:chgData name="Scott Sink" userId="007532c1-63dd-4f29-9932-df3a9735f490" providerId="ADAL" clId="{C2997A85-FA0E-4A15-BC96-D9C164783C31}" dt="2023-06-03T23:51:08.637" v="1055" actId="27028"/>
          <pc:sldLayoutMkLst>
            <pc:docMk/>
            <pc:sldMasterMk cId="1129140775" sldId="2147483674"/>
            <pc:sldLayoutMk cId="2578213539" sldId="2147483687"/>
          </pc:sldLayoutMkLst>
        </pc:sldLayoutChg>
      </pc:sldMasterChg>
      <pc:sldMasterChg chg="add del addSldLayout delSldLayout">
        <pc:chgData name="Scott Sink" userId="007532c1-63dd-4f29-9932-df3a9735f490" providerId="ADAL" clId="{C2997A85-FA0E-4A15-BC96-D9C164783C31}" dt="2023-06-02T20:04:51.024" v="858" actId="47"/>
        <pc:sldMasterMkLst>
          <pc:docMk/>
          <pc:sldMasterMk cId="1310371896" sldId="2147483726"/>
        </pc:sldMasterMkLst>
        <pc:sldLayoutChg chg="add del">
          <pc:chgData name="Scott Sink" userId="007532c1-63dd-4f29-9932-df3a9735f490" providerId="ADAL" clId="{C2997A85-FA0E-4A15-BC96-D9C164783C31}" dt="2023-06-02T20:04:51.024" v="858" actId="47"/>
          <pc:sldLayoutMkLst>
            <pc:docMk/>
            <pc:sldMasterMk cId="1310371896" sldId="2147483726"/>
            <pc:sldLayoutMk cId="613140667" sldId="2147483728"/>
          </pc:sldLayoutMkLst>
        </pc:sldLayoutChg>
      </pc:sldMasterChg>
      <pc:sldMasterChg chg="add del addSldLayout delSldLayout">
        <pc:chgData name="Scott Sink" userId="007532c1-63dd-4f29-9932-df3a9735f490" providerId="ADAL" clId="{C2997A85-FA0E-4A15-BC96-D9C164783C31}" dt="2023-06-02T20:04:46.605" v="851" actId="47"/>
        <pc:sldMasterMkLst>
          <pc:docMk/>
          <pc:sldMasterMk cId="0" sldId="2147484151"/>
        </pc:sldMasterMkLst>
        <pc:sldLayoutChg chg="add del">
          <pc:chgData name="Scott Sink" userId="007532c1-63dd-4f29-9932-df3a9735f490" providerId="ADAL" clId="{C2997A85-FA0E-4A15-BC96-D9C164783C31}" dt="2023-06-02T20:04:46.605" v="851" actId="47"/>
          <pc:sldLayoutMkLst>
            <pc:docMk/>
            <pc:sldMasterMk cId="0" sldId="2147484151"/>
            <pc:sldLayoutMk cId="3956399100" sldId="2147497324"/>
          </pc:sldLayoutMkLst>
        </pc:sldLayoutChg>
      </pc:sldMasterChg>
      <pc:sldMasterChg chg="del delSldLayout">
        <pc:chgData name="Scott Sink" userId="007532c1-63dd-4f29-9932-df3a9735f490" providerId="ADAL" clId="{C2997A85-FA0E-4A15-BC96-D9C164783C31}" dt="2023-06-02T20:04:04.772" v="790" actId="47"/>
        <pc:sldMasterMkLst>
          <pc:docMk/>
          <pc:sldMasterMk cId="0" sldId="2147484577"/>
        </pc:sldMasterMkLst>
        <pc:sldLayoutChg chg="del">
          <pc:chgData name="Scott Sink" userId="007532c1-63dd-4f29-9932-df3a9735f490" providerId="ADAL" clId="{C2997A85-FA0E-4A15-BC96-D9C164783C31}" dt="2023-06-02T20:04:03.800" v="789" actId="47"/>
          <pc:sldLayoutMkLst>
            <pc:docMk/>
            <pc:sldMasterMk cId="0" sldId="2147484577"/>
            <pc:sldLayoutMk cId="0" sldId="2147484578"/>
          </pc:sldLayoutMkLst>
        </pc:sldLayoutChg>
        <pc:sldLayoutChg chg="del">
          <pc:chgData name="Scott Sink" userId="007532c1-63dd-4f29-9932-df3a9735f490" providerId="ADAL" clId="{C2997A85-FA0E-4A15-BC96-D9C164783C31}" dt="2023-06-02T20:04:04.772" v="790" actId="47"/>
          <pc:sldLayoutMkLst>
            <pc:docMk/>
            <pc:sldMasterMk cId="0" sldId="2147484577"/>
            <pc:sldLayoutMk cId="3919479767" sldId="2147497880"/>
          </pc:sldLayoutMkLst>
        </pc:sldLayoutChg>
      </pc:sldMasterChg>
      <pc:sldMasterChg chg="del delSldLayout">
        <pc:chgData name="Scott Sink" userId="007532c1-63dd-4f29-9932-df3a9735f490" providerId="ADAL" clId="{C2997A85-FA0E-4A15-BC96-D9C164783C31}" dt="2023-06-02T20:04:15.219" v="792" actId="47"/>
        <pc:sldMasterMkLst>
          <pc:docMk/>
          <pc:sldMasterMk cId="0" sldId="2147484581"/>
        </pc:sldMasterMkLst>
        <pc:sldLayoutChg chg="del">
          <pc:chgData name="Scott Sink" userId="007532c1-63dd-4f29-9932-df3a9735f490" providerId="ADAL" clId="{C2997A85-FA0E-4A15-BC96-D9C164783C31}" dt="2023-06-02T20:04:15.219" v="792" actId="47"/>
          <pc:sldLayoutMkLst>
            <pc:docMk/>
            <pc:sldMasterMk cId="0" sldId="2147484581"/>
            <pc:sldLayoutMk cId="0" sldId="2147484582"/>
          </pc:sldLayoutMkLst>
        </pc:sldLayoutChg>
      </pc:sldMasterChg>
      <pc:sldMasterChg chg="del delSldLayout">
        <pc:chgData name="Scott Sink" userId="007532c1-63dd-4f29-9932-df3a9735f490" providerId="ADAL" clId="{C2997A85-FA0E-4A15-BC96-D9C164783C31}" dt="2023-06-02T20:03:51.792" v="783" actId="47"/>
        <pc:sldMasterMkLst>
          <pc:docMk/>
          <pc:sldMasterMk cId="0" sldId="2147487193"/>
        </pc:sldMasterMkLst>
        <pc:sldLayoutChg chg="del">
          <pc:chgData name="Scott Sink" userId="007532c1-63dd-4f29-9932-df3a9735f490" providerId="ADAL" clId="{C2997A85-FA0E-4A15-BC96-D9C164783C31}" dt="2023-06-02T20:03:51.792" v="783" actId="47"/>
          <pc:sldLayoutMkLst>
            <pc:docMk/>
            <pc:sldMasterMk cId="0" sldId="2147487193"/>
            <pc:sldLayoutMk cId="2694063166" sldId="2147489676"/>
          </pc:sldLayoutMkLst>
        </pc:sldLayoutChg>
      </pc:sldMasterChg>
      <pc:sldMasterChg chg="delSldLayout">
        <pc:chgData name="Scott Sink" userId="007532c1-63dd-4f29-9932-df3a9735f490" providerId="ADAL" clId="{C2997A85-FA0E-4A15-BC96-D9C164783C31}" dt="2023-06-02T20:04:29.019" v="814" actId="47"/>
        <pc:sldMasterMkLst>
          <pc:docMk/>
          <pc:sldMasterMk cId="0" sldId="2147489416"/>
        </pc:sldMasterMkLst>
        <pc:sldLayoutChg chg="del">
          <pc:chgData name="Scott Sink" userId="007532c1-63dd-4f29-9932-df3a9735f490" providerId="ADAL" clId="{C2997A85-FA0E-4A15-BC96-D9C164783C31}" dt="2023-06-02T20:04:29.019" v="814" actId="47"/>
          <pc:sldLayoutMkLst>
            <pc:docMk/>
            <pc:sldMasterMk cId="0" sldId="2147489416"/>
            <pc:sldLayoutMk cId="301823395" sldId="2147497864"/>
          </pc:sldLayoutMkLst>
        </pc:sldLayoutChg>
        <pc:sldLayoutChg chg="del">
          <pc:chgData name="Scott Sink" userId="007532c1-63dd-4f29-9932-df3a9735f490" providerId="ADAL" clId="{C2997A85-FA0E-4A15-BC96-D9C164783C31}" dt="2023-06-02T20:04:28.386" v="813" actId="47"/>
          <pc:sldLayoutMkLst>
            <pc:docMk/>
            <pc:sldMasterMk cId="0" sldId="2147489416"/>
            <pc:sldLayoutMk cId="3202479907" sldId="2147497865"/>
          </pc:sldLayoutMkLst>
        </pc:sldLayoutChg>
      </pc:sldMasterChg>
      <pc:sldMasterChg chg="add del addSldLayout delSldLayout">
        <pc:chgData name="Scott Sink" userId="007532c1-63dd-4f29-9932-df3a9735f490" providerId="ADAL" clId="{C2997A85-FA0E-4A15-BC96-D9C164783C31}" dt="2023-06-02T20:05:12.469" v="869" actId="47"/>
        <pc:sldMasterMkLst>
          <pc:docMk/>
          <pc:sldMasterMk cId="0" sldId="2147497787"/>
        </pc:sldMasterMkLst>
        <pc:sldLayoutChg chg="add del">
          <pc:chgData name="Scott Sink" userId="007532c1-63dd-4f29-9932-df3a9735f490" providerId="ADAL" clId="{C2997A85-FA0E-4A15-BC96-D9C164783C31}" dt="2023-06-02T20:05:12.469" v="869" actId="47"/>
          <pc:sldLayoutMkLst>
            <pc:docMk/>
            <pc:sldMasterMk cId="0" sldId="2147497787"/>
            <pc:sldLayoutMk cId="1798974259" sldId="2147497743"/>
          </pc:sldLayoutMkLst>
        </pc:sldLayoutChg>
      </pc:sldMasterChg>
      <pc:sldMasterChg chg="add del addSldLayout delSldLayout">
        <pc:chgData name="Scott Sink" userId="007532c1-63dd-4f29-9932-df3a9735f490" providerId="ADAL" clId="{C2997A85-FA0E-4A15-BC96-D9C164783C31}" dt="2023-06-02T20:05:08.731" v="867" actId="47"/>
        <pc:sldMasterMkLst>
          <pc:docMk/>
          <pc:sldMasterMk cId="0" sldId="2147497789"/>
        </pc:sldMasterMkLst>
        <pc:sldLayoutChg chg="add del">
          <pc:chgData name="Scott Sink" userId="007532c1-63dd-4f29-9932-df3a9735f490" providerId="ADAL" clId="{C2997A85-FA0E-4A15-BC96-D9C164783C31}" dt="2023-06-02T20:05:08.731" v="867" actId="47"/>
          <pc:sldLayoutMkLst>
            <pc:docMk/>
            <pc:sldMasterMk cId="0" sldId="2147497789"/>
            <pc:sldLayoutMk cId="0" sldId="2147497790"/>
          </pc:sldLayoutMkLst>
        </pc:sldLayoutChg>
      </pc:sldMasterChg>
      <pc:sldMasterChg chg="add del addSldLayout delSldLayout">
        <pc:chgData name="Scott Sink" userId="007532c1-63dd-4f29-9932-df3a9735f490" providerId="ADAL" clId="{C2997A85-FA0E-4A15-BC96-D9C164783C31}" dt="2023-06-02T20:05:20.695" v="871" actId="47"/>
        <pc:sldMasterMkLst>
          <pc:docMk/>
          <pc:sldMasterMk cId="0" sldId="2147497863"/>
        </pc:sldMasterMkLst>
        <pc:sldLayoutChg chg="add del">
          <pc:chgData name="Scott Sink" userId="007532c1-63dd-4f29-9932-df3a9735f490" providerId="ADAL" clId="{C2997A85-FA0E-4A15-BC96-D9C164783C31}" dt="2023-06-02T20:05:20.695" v="871" actId="47"/>
          <pc:sldLayoutMkLst>
            <pc:docMk/>
            <pc:sldMasterMk cId="0" sldId="2147497863"/>
            <pc:sldLayoutMk cId="3548229126" sldId="2147497860"/>
          </pc:sldLayoutMkLst>
        </pc:sldLayoutChg>
      </pc:sldMasterChg>
      <pc:sldMasterChg chg="addSldLayout delSldLayout">
        <pc:chgData name="Scott Sink" userId="007532c1-63dd-4f29-9932-df3a9735f490" providerId="ADAL" clId="{C2997A85-FA0E-4A15-BC96-D9C164783C31}" dt="2023-06-02T20:05:09.769" v="868" actId="47"/>
        <pc:sldMasterMkLst>
          <pc:docMk/>
          <pc:sldMasterMk cId="109284353" sldId="2147497892"/>
        </pc:sldMasterMkLst>
        <pc:sldLayoutChg chg="add del">
          <pc:chgData name="Scott Sink" userId="007532c1-63dd-4f29-9932-df3a9735f490" providerId="ADAL" clId="{C2997A85-FA0E-4A15-BC96-D9C164783C31}" dt="2023-06-02T20:05:09.769" v="868" actId="47"/>
          <pc:sldLayoutMkLst>
            <pc:docMk/>
            <pc:sldMasterMk cId="109284353" sldId="2147497892"/>
            <pc:sldLayoutMk cId="1412939370" sldId="2147497883"/>
          </pc:sldLayoutMkLst>
        </pc:sldLayoutChg>
        <pc:sldLayoutChg chg="add del">
          <pc:chgData name="Scott Sink" userId="007532c1-63dd-4f29-9932-df3a9735f490" providerId="ADAL" clId="{C2997A85-FA0E-4A15-BC96-D9C164783C31}" dt="2023-06-02T20:04:45.069" v="847" actId="47"/>
          <pc:sldLayoutMkLst>
            <pc:docMk/>
            <pc:sldMasterMk cId="109284353" sldId="2147497892"/>
            <pc:sldLayoutMk cId="2587822317" sldId="2147497899"/>
          </pc:sldLayoutMkLst>
        </pc:sldLayoutChg>
      </pc:sldMasterChg>
      <pc:sldMasterChg chg="replId">
        <pc:chgData name="Scott Sink" userId="007532c1-63dd-4f29-9932-df3a9735f490" providerId="ADAL" clId="{C2997A85-FA0E-4A15-BC96-D9C164783C31}" dt="2023-06-03T23:51:06.651" v="1053" actId="27028"/>
        <pc:sldMasterMkLst>
          <pc:docMk/>
          <pc:sldMasterMk cId="1255074819" sldId="2147497898"/>
        </pc:sldMasterMkLst>
      </pc:sldMasterChg>
      <pc:sldMasterChg chg="del delSldLayout">
        <pc:chgData name="Scott Sink" userId="007532c1-63dd-4f29-9932-df3a9735f490" providerId="ADAL" clId="{C2997A85-FA0E-4A15-BC96-D9C164783C31}" dt="2023-06-02T20:05:21.903" v="872" actId="47"/>
        <pc:sldMasterMkLst>
          <pc:docMk/>
          <pc:sldMasterMk cId="0" sldId="2147497899"/>
        </pc:sldMasterMkLst>
        <pc:sldLayoutChg chg="del">
          <pc:chgData name="Scott Sink" userId="007532c1-63dd-4f29-9932-df3a9735f490" providerId="ADAL" clId="{C2997A85-FA0E-4A15-BC96-D9C164783C31}" dt="2023-06-02T20:05:21.903" v="872" actId="47"/>
          <pc:sldLayoutMkLst>
            <pc:docMk/>
            <pc:sldMasterMk cId="0" sldId="2147497899"/>
            <pc:sldLayoutMk cId="4141184889" sldId="2147488886"/>
          </pc:sldLayoutMkLst>
        </pc:sldLayoutChg>
      </pc:sldMasterChg>
      <pc:sldMasterChg chg="del delSldLayout">
        <pc:chgData name="Scott Sink" userId="007532c1-63dd-4f29-9932-df3a9735f490" providerId="ADAL" clId="{C2997A85-FA0E-4A15-BC96-D9C164783C31}" dt="2023-06-02T20:04:25.056" v="804" actId="47"/>
        <pc:sldMasterMkLst>
          <pc:docMk/>
          <pc:sldMasterMk cId="109284353" sldId="2147497909"/>
        </pc:sldMasterMkLst>
        <pc:sldLayoutChg chg="del">
          <pc:chgData name="Scott Sink" userId="007532c1-63dd-4f29-9932-df3a9735f490" providerId="ADAL" clId="{C2997A85-FA0E-4A15-BC96-D9C164783C31}" dt="2023-06-02T20:04:25.056" v="804" actId="47"/>
          <pc:sldLayoutMkLst>
            <pc:docMk/>
            <pc:sldMasterMk cId="109284353" sldId="2147497909"/>
            <pc:sldLayoutMk cId="0" sldId="2147497898"/>
          </pc:sldLayoutMkLst>
        </pc:sldLayoutChg>
      </pc:sldMasterChg>
    </pc:docChg>
  </pc:docChgLst>
  <pc:docChgLst>
    <pc:chgData name="Scott Sink" userId="007532c1-63dd-4f29-9932-df3a9735f490" providerId="ADAL" clId="{4E395113-EDD9-4523-BFC1-45F8993119F0}"/>
    <pc:docChg chg="undo custSel addSld delSld modSld sldOrd addMainMaster delMainMaster modMainMaster">
      <pc:chgData name="Scott Sink" userId="007532c1-63dd-4f29-9932-df3a9735f490" providerId="ADAL" clId="{4E395113-EDD9-4523-BFC1-45F8993119F0}" dt="2023-06-27T15:07:12.092" v="8779"/>
      <pc:docMkLst>
        <pc:docMk/>
      </pc:docMkLst>
      <pc:sldChg chg="modSp mod">
        <pc:chgData name="Scott Sink" userId="007532c1-63dd-4f29-9932-df3a9735f490" providerId="ADAL" clId="{4E395113-EDD9-4523-BFC1-45F8993119F0}" dt="2023-06-22T13:40:49.622" v="475" actId="1076"/>
        <pc:sldMkLst>
          <pc:docMk/>
          <pc:sldMk cId="3858186052" sldId="3617"/>
        </pc:sldMkLst>
        <pc:spChg chg="mod">
          <ac:chgData name="Scott Sink" userId="007532c1-63dd-4f29-9932-df3a9735f490" providerId="ADAL" clId="{4E395113-EDD9-4523-BFC1-45F8993119F0}" dt="2023-06-22T13:40:44.668" v="474" actId="20577"/>
          <ac:spMkLst>
            <pc:docMk/>
            <pc:sldMk cId="3858186052" sldId="3617"/>
            <ac:spMk id="3" creationId="{5CB5E778-EB37-08BC-8A65-E0A5BEF24F5F}"/>
          </ac:spMkLst>
        </pc:spChg>
        <pc:spChg chg="mod">
          <ac:chgData name="Scott Sink" userId="007532c1-63dd-4f29-9932-df3a9735f490" providerId="ADAL" clId="{4E395113-EDD9-4523-BFC1-45F8993119F0}" dt="2023-06-22T13:40:26.868" v="471" actId="20577"/>
          <ac:spMkLst>
            <pc:docMk/>
            <pc:sldMk cId="3858186052" sldId="3617"/>
            <ac:spMk id="10" creationId="{B47D77AC-10E5-F7CA-1821-CA4162CCE788}"/>
          </ac:spMkLst>
        </pc:spChg>
        <pc:spChg chg="mod">
          <ac:chgData name="Scott Sink" userId="007532c1-63dd-4f29-9932-df3a9735f490" providerId="ADAL" clId="{4E395113-EDD9-4523-BFC1-45F8993119F0}" dt="2023-06-22T13:40:41.037" v="472" actId="1076"/>
          <ac:spMkLst>
            <pc:docMk/>
            <pc:sldMk cId="3858186052" sldId="3617"/>
            <ac:spMk id="22" creationId="{693B6C1D-D021-4EC9-AC66-7E12E6EAE67F}"/>
          </ac:spMkLst>
        </pc:spChg>
        <pc:spChg chg="mod">
          <ac:chgData name="Scott Sink" userId="007532c1-63dd-4f29-9932-df3a9735f490" providerId="ADAL" clId="{4E395113-EDD9-4523-BFC1-45F8993119F0}" dt="2023-06-22T13:40:41.037" v="472" actId="1076"/>
          <ac:spMkLst>
            <pc:docMk/>
            <pc:sldMk cId="3858186052" sldId="3617"/>
            <ac:spMk id="28" creationId="{BA4CEFC9-7EA0-4E3D-8519-C99F7A7D0F70}"/>
          </ac:spMkLst>
        </pc:spChg>
        <pc:picChg chg="mod">
          <ac:chgData name="Scott Sink" userId="007532c1-63dd-4f29-9932-df3a9735f490" providerId="ADAL" clId="{4E395113-EDD9-4523-BFC1-45F8993119F0}" dt="2023-06-22T13:40:41.037" v="472" actId="1076"/>
          <ac:picMkLst>
            <pc:docMk/>
            <pc:sldMk cId="3858186052" sldId="3617"/>
            <ac:picMk id="5" creationId="{AFD8D61E-987F-4EB6-88A2-2F19E77A4CB7}"/>
          </ac:picMkLst>
        </pc:picChg>
        <pc:picChg chg="mod">
          <ac:chgData name="Scott Sink" userId="007532c1-63dd-4f29-9932-df3a9735f490" providerId="ADAL" clId="{4E395113-EDD9-4523-BFC1-45F8993119F0}" dt="2023-06-22T13:40:49.622" v="475" actId="1076"/>
          <ac:picMkLst>
            <pc:docMk/>
            <pc:sldMk cId="3858186052" sldId="3617"/>
            <ac:picMk id="9" creationId="{46755140-BD3E-5A69-9863-586A1EC8CADF}"/>
          </ac:picMkLst>
        </pc:picChg>
      </pc:sldChg>
      <pc:sldChg chg="modSp mod">
        <pc:chgData name="Scott Sink" userId="007532c1-63dd-4f29-9932-df3a9735f490" providerId="ADAL" clId="{4E395113-EDD9-4523-BFC1-45F8993119F0}" dt="2023-06-27T11:08:06.842" v="8720" actId="20577"/>
        <pc:sldMkLst>
          <pc:docMk/>
          <pc:sldMk cId="3939640140" sldId="3618"/>
        </pc:sldMkLst>
        <pc:spChg chg="mod">
          <ac:chgData name="Scott Sink" userId="007532c1-63dd-4f29-9932-df3a9735f490" providerId="ADAL" clId="{4E395113-EDD9-4523-BFC1-45F8993119F0}" dt="2023-06-27T11:08:06.842" v="8720" actId="20577"/>
          <ac:spMkLst>
            <pc:docMk/>
            <pc:sldMk cId="3939640140" sldId="3618"/>
            <ac:spMk id="3" creationId="{A5A8E09D-F143-AC8C-4127-0ABEDD96C64B}"/>
          </ac:spMkLst>
        </pc:spChg>
      </pc:sldChg>
      <pc:sldChg chg="modSp mod ord">
        <pc:chgData name="Scott Sink" userId="007532c1-63dd-4f29-9932-df3a9735f490" providerId="ADAL" clId="{4E395113-EDD9-4523-BFC1-45F8993119F0}" dt="2023-06-25T09:36:34.540" v="5407" actId="404"/>
        <pc:sldMkLst>
          <pc:docMk/>
          <pc:sldMk cId="3083674499" sldId="3683"/>
        </pc:sldMkLst>
        <pc:spChg chg="mod">
          <ac:chgData name="Scott Sink" userId="007532c1-63dd-4f29-9932-df3a9735f490" providerId="ADAL" clId="{4E395113-EDD9-4523-BFC1-45F8993119F0}" dt="2023-06-25T09:36:34.540" v="5407" actId="404"/>
          <ac:spMkLst>
            <pc:docMk/>
            <pc:sldMk cId="3083674499" sldId="3683"/>
            <ac:spMk id="9" creationId="{5ACBF105-37A5-4EFF-9212-3A4FB813785F}"/>
          </ac:spMkLst>
        </pc:spChg>
      </pc:sldChg>
      <pc:sldChg chg="ord">
        <pc:chgData name="Scott Sink" userId="007532c1-63dd-4f29-9932-df3a9735f490" providerId="ADAL" clId="{4E395113-EDD9-4523-BFC1-45F8993119F0}" dt="2023-06-22T13:50:00.328" v="603"/>
        <pc:sldMkLst>
          <pc:docMk/>
          <pc:sldMk cId="3239035081" sldId="3689"/>
        </pc:sldMkLst>
      </pc:sldChg>
      <pc:sldChg chg="modSp mod ord">
        <pc:chgData name="Scott Sink" userId="007532c1-63dd-4f29-9932-df3a9735f490" providerId="ADAL" clId="{4E395113-EDD9-4523-BFC1-45F8993119F0}" dt="2023-06-26T07:49:44.633" v="5419"/>
        <pc:sldMkLst>
          <pc:docMk/>
          <pc:sldMk cId="1025966195" sldId="3691"/>
        </pc:sldMkLst>
        <pc:spChg chg="mod">
          <ac:chgData name="Scott Sink" userId="007532c1-63dd-4f29-9932-df3a9735f490" providerId="ADAL" clId="{4E395113-EDD9-4523-BFC1-45F8993119F0}" dt="2023-06-25T08:50:47.839" v="3458" actId="20577"/>
          <ac:spMkLst>
            <pc:docMk/>
            <pc:sldMk cId="1025966195" sldId="3691"/>
            <ac:spMk id="2" creationId="{F57C5E07-DB5B-55F2-6F01-6B61AC3D8F04}"/>
          </ac:spMkLst>
        </pc:spChg>
      </pc:sldChg>
      <pc:sldChg chg="modSp mod ord">
        <pc:chgData name="Scott Sink" userId="007532c1-63dd-4f29-9932-df3a9735f490" providerId="ADAL" clId="{4E395113-EDD9-4523-BFC1-45F8993119F0}" dt="2023-06-26T07:49:56.087" v="5421"/>
        <pc:sldMkLst>
          <pc:docMk/>
          <pc:sldMk cId="1776187233" sldId="3692"/>
        </pc:sldMkLst>
        <pc:spChg chg="mod">
          <ac:chgData name="Scott Sink" userId="007532c1-63dd-4f29-9932-df3a9735f490" providerId="ADAL" clId="{4E395113-EDD9-4523-BFC1-45F8993119F0}" dt="2023-06-25T08:54:52.969" v="3829" actId="207"/>
          <ac:spMkLst>
            <pc:docMk/>
            <pc:sldMk cId="1776187233" sldId="3692"/>
            <ac:spMk id="2" creationId="{00000000-0000-0000-0000-000000000000}"/>
          </ac:spMkLst>
        </pc:spChg>
        <pc:spChg chg="mod">
          <ac:chgData name="Scott Sink" userId="007532c1-63dd-4f29-9932-df3a9735f490" providerId="ADAL" clId="{4E395113-EDD9-4523-BFC1-45F8993119F0}" dt="2023-06-25T08:53:10.076" v="3758" actId="1076"/>
          <ac:spMkLst>
            <pc:docMk/>
            <pc:sldMk cId="1776187233" sldId="3692"/>
            <ac:spMk id="6" creationId="{00000000-0000-0000-0000-000000000000}"/>
          </ac:spMkLst>
        </pc:spChg>
      </pc:sldChg>
      <pc:sldChg chg="ord">
        <pc:chgData name="Scott Sink" userId="007532c1-63dd-4f29-9932-df3a9735f490" providerId="ADAL" clId="{4E395113-EDD9-4523-BFC1-45F8993119F0}" dt="2023-06-27T15:06:40.058" v="8773"/>
        <pc:sldMkLst>
          <pc:docMk/>
          <pc:sldMk cId="1233541946" sldId="3698"/>
        </pc:sldMkLst>
      </pc:sldChg>
      <pc:sldChg chg="ord">
        <pc:chgData name="Scott Sink" userId="007532c1-63dd-4f29-9932-df3a9735f490" providerId="ADAL" clId="{4E395113-EDD9-4523-BFC1-45F8993119F0}" dt="2023-06-22T13:48:56.846" v="591"/>
        <pc:sldMkLst>
          <pc:docMk/>
          <pc:sldMk cId="3014079232" sldId="3699"/>
        </pc:sldMkLst>
      </pc:sldChg>
      <pc:sldChg chg="addSp modSp mod ord">
        <pc:chgData name="Scott Sink" userId="007532c1-63dd-4f29-9932-df3a9735f490" providerId="ADAL" clId="{4E395113-EDD9-4523-BFC1-45F8993119F0}" dt="2023-06-25T09:07:15.970" v="4840" actId="1076"/>
        <pc:sldMkLst>
          <pc:docMk/>
          <pc:sldMk cId="246832215" sldId="3701"/>
        </pc:sldMkLst>
        <pc:spChg chg="add mod">
          <ac:chgData name="Scott Sink" userId="007532c1-63dd-4f29-9932-df3a9735f490" providerId="ADAL" clId="{4E395113-EDD9-4523-BFC1-45F8993119F0}" dt="2023-06-25T09:07:15.970" v="4840" actId="1076"/>
          <ac:spMkLst>
            <pc:docMk/>
            <pc:sldMk cId="246832215" sldId="3701"/>
            <ac:spMk id="4" creationId="{20BD5C57-87C3-1BDC-D3E6-5CD9CD2C2836}"/>
          </ac:spMkLst>
        </pc:spChg>
      </pc:sldChg>
      <pc:sldChg chg="addSp delSp modSp mod ord">
        <pc:chgData name="Scott Sink" userId="007532c1-63dd-4f29-9932-df3a9735f490" providerId="ADAL" clId="{4E395113-EDD9-4523-BFC1-45F8993119F0}" dt="2023-06-25T09:17:27.501" v="5214"/>
        <pc:sldMkLst>
          <pc:docMk/>
          <pc:sldMk cId="2221338391" sldId="3702"/>
        </pc:sldMkLst>
        <pc:spChg chg="mod">
          <ac:chgData name="Scott Sink" userId="007532c1-63dd-4f29-9932-df3a9735f490" providerId="ADAL" clId="{4E395113-EDD9-4523-BFC1-45F8993119F0}" dt="2023-06-21T10:08:14.387" v="222" actId="1076"/>
          <ac:spMkLst>
            <pc:docMk/>
            <pc:sldMk cId="2221338391" sldId="3702"/>
            <ac:spMk id="2" creationId="{00000000-0000-0000-0000-000000000000}"/>
          </ac:spMkLst>
        </pc:spChg>
        <pc:spChg chg="del">
          <ac:chgData name="Scott Sink" userId="007532c1-63dd-4f29-9932-df3a9735f490" providerId="ADAL" clId="{4E395113-EDD9-4523-BFC1-45F8993119F0}" dt="2023-06-21T10:05:55.810" v="140" actId="478"/>
          <ac:spMkLst>
            <pc:docMk/>
            <pc:sldMk cId="2221338391" sldId="3702"/>
            <ac:spMk id="3" creationId="{C1764838-A0B5-4E58-B7BF-C4C82F4AC87C}"/>
          </ac:spMkLst>
        </pc:spChg>
        <pc:spChg chg="del">
          <ac:chgData name="Scott Sink" userId="007532c1-63dd-4f29-9932-df3a9735f490" providerId="ADAL" clId="{4E395113-EDD9-4523-BFC1-45F8993119F0}" dt="2023-06-21T10:02:15.408" v="100" actId="478"/>
          <ac:spMkLst>
            <pc:docMk/>
            <pc:sldMk cId="2221338391" sldId="3702"/>
            <ac:spMk id="4" creationId="{00000000-0000-0000-0000-000000000000}"/>
          </ac:spMkLst>
        </pc:spChg>
        <pc:spChg chg="del">
          <ac:chgData name="Scott Sink" userId="007532c1-63dd-4f29-9932-df3a9735f490" providerId="ADAL" clId="{4E395113-EDD9-4523-BFC1-45F8993119F0}" dt="2023-06-21T10:01:07.194" v="30" actId="478"/>
          <ac:spMkLst>
            <pc:docMk/>
            <pc:sldMk cId="2221338391" sldId="3702"/>
            <ac:spMk id="5" creationId="{7364D400-C3D8-A538-A517-DC599D21774A}"/>
          </ac:spMkLst>
        </pc:spChg>
        <pc:spChg chg="add del mod">
          <ac:chgData name="Scott Sink" userId="007532c1-63dd-4f29-9932-df3a9735f490" providerId="ADAL" clId="{4E395113-EDD9-4523-BFC1-45F8993119F0}" dt="2023-06-21T10:02:20.921" v="102" actId="478"/>
          <ac:spMkLst>
            <pc:docMk/>
            <pc:sldMk cId="2221338391" sldId="3702"/>
            <ac:spMk id="7" creationId="{80C7C193-350C-B81A-2D76-5608EF32AFEA}"/>
          </ac:spMkLst>
        </pc:spChg>
        <pc:spChg chg="add del mod">
          <ac:chgData name="Scott Sink" userId="007532c1-63dd-4f29-9932-df3a9735f490" providerId="ADAL" clId="{4E395113-EDD9-4523-BFC1-45F8993119F0}" dt="2023-06-21T10:04:24.505" v="132" actId="478"/>
          <ac:spMkLst>
            <pc:docMk/>
            <pc:sldMk cId="2221338391" sldId="3702"/>
            <ac:spMk id="10" creationId="{C1FFBB43-8168-E618-4CAB-A0D02FBB2D8D}"/>
          </ac:spMkLst>
        </pc:spChg>
        <pc:spChg chg="del">
          <ac:chgData name="Scott Sink" userId="007532c1-63dd-4f29-9932-df3a9735f490" providerId="ADAL" clId="{4E395113-EDD9-4523-BFC1-45F8993119F0}" dt="2023-06-21T10:02:17.554" v="101" actId="478"/>
          <ac:spMkLst>
            <pc:docMk/>
            <pc:sldMk cId="2221338391" sldId="3702"/>
            <ac:spMk id="11" creationId="{00000000-0000-0000-0000-000000000000}"/>
          </ac:spMkLst>
        </pc:spChg>
        <pc:spChg chg="mod ord">
          <ac:chgData name="Scott Sink" userId="007532c1-63dd-4f29-9932-df3a9735f490" providerId="ADAL" clId="{4E395113-EDD9-4523-BFC1-45F8993119F0}" dt="2023-06-21T10:11:53.083" v="241" actId="166"/>
          <ac:spMkLst>
            <pc:docMk/>
            <pc:sldMk cId="2221338391" sldId="3702"/>
            <ac:spMk id="12" creationId="{00000000-0000-0000-0000-000000000000}"/>
          </ac:spMkLst>
        </pc:spChg>
        <pc:spChg chg="del mod">
          <ac:chgData name="Scott Sink" userId="007532c1-63dd-4f29-9932-df3a9735f490" providerId="ADAL" clId="{4E395113-EDD9-4523-BFC1-45F8993119F0}" dt="2023-06-21T10:04:31.890" v="133" actId="478"/>
          <ac:spMkLst>
            <pc:docMk/>
            <pc:sldMk cId="2221338391" sldId="3702"/>
            <ac:spMk id="14" creationId="{00000000-0000-0000-0000-000000000000}"/>
          </ac:spMkLst>
        </pc:spChg>
        <pc:spChg chg="add del mod">
          <ac:chgData name="Scott Sink" userId="007532c1-63dd-4f29-9932-df3a9735f490" providerId="ADAL" clId="{4E395113-EDD9-4523-BFC1-45F8993119F0}" dt="2023-06-21T10:05:08.209" v="137"/>
          <ac:spMkLst>
            <pc:docMk/>
            <pc:sldMk cId="2221338391" sldId="3702"/>
            <ac:spMk id="15" creationId="{29B67EAF-E3ED-BA28-B764-4F7159C49481}"/>
          </ac:spMkLst>
        </pc:spChg>
        <pc:spChg chg="add del">
          <ac:chgData name="Scott Sink" userId="007532c1-63dd-4f29-9932-df3a9735f490" providerId="ADAL" clId="{4E395113-EDD9-4523-BFC1-45F8993119F0}" dt="2023-06-21T10:10:08.353" v="231" actId="478"/>
          <ac:spMkLst>
            <pc:docMk/>
            <pc:sldMk cId="2221338391" sldId="3702"/>
            <ac:spMk id="16" creationId="{7E7CFF49-EBBC-18E2-C1DA-58426385A3F5}"/>
          </ac:spMkLst>
        </pc:spChg>
        <pc:spChg chg="add mod">
          <ac:chgData name="Scott Sink" userId="007532c1-63dd-4f29-9932-df3a9735f490" providerId="ADAL" clId="{4E395113-EDD9-4523-BFC1-45F8993119F0}" dt="2023-06-21T10:12:58.738" v="391" actId="403"/>
          <ac:spMkLst>
            <pc:docMk/>
            <pc:sldMk cId="2221338391" sldId="3702"/>
            <ac:spMk id="34" creationId="{0D41584B-0448-D4DF-29ED-C1225E1C0862}"/>
          </ac:spMkLst>
        </pc:spChg>
        <pc:grpChg chg="add mod">
          <ac:chgData name="Scott Sink" userId="007532c1-63dd-4f29-9932-df3a9735f490" providerId="ADAL" clId="{4E395113-EDD9-4523-BFC1-45F8993119F0}" dt="2023-06-21T10:11:57.322" v="242" actId="1076"/>
          <ac:grpSpMkLst>
            <pc:docMk/>
            <pc:sldMk cId="2221338391" sldId="3702"/>
            <ac:grpSpMk id="17" creationId="{F135599B-8CA4-05B6-DCC9-75B2E678ED12}"/>
          </ac:grpSpMkLst>
        </pc:grpChg>
        <pc:grpChg chg="mod">
          <ac:chgData name="Scott Sink" userId="007532c1-63dd-4f29-9932-df3a9735f490" providerId="ADAL" clId="{4E395113-EDD9-4523-BFC1-45F8993119F0}" dt="2023-06-21T10:10:44.721" v="233"/>
          <ac:grpSpMkLst>
            <pc:docMk/>
            <pc:sldMk cId="2221338391" sldId="3702"/>
            <ac:grpSpMk id="19" creationId="{DD21097F-1E69-CA9B-5EE0-D5F429D3AF71}"/>
          </ac:grpSpMkLst>
        </pc:grpChg>
        <pc:grpChg chg="mod">
          <ac:chgData name="Scott Sink" userId="007532c1-63dd-4f29-9932-df3a9735f490" providerId="ADAL" clId="{4E395113-EDD9-4523-BFC1-45F8993119F0}" dt="2023-06-21T10:10:44.721" v="233"/>
          <ac:grpSpMkLst>
            <pc:docMk/>
            <pc:sldMk cId="2221338391" sldId="3702"/>
            <ac:grpSpMk id="20" creationId="{C03F83CB-7CB8-FE40-CA89-B1FC9F01044D}"/>
          </ac:grpSpMkLst>
        </pc:grpChg>
        <pc:grpChg chg="mod">
          <ac:chgData name="Scott Sink" userId="007532c1-63dd-4f29-9932-df3a9735f490" providerId="ADAL" clId="{4E395113-EDD9-4523-BFC1-45F8993119F0}" dt="2023-06-21T10:10:44.721" v="233"/>
          <ac:grpSpMkLst>
            <pc:docMk/>
            <pc:sldMk cId="2221338391" sldId="3702"/>
            <ac:grpSpMk id="21" creationId="{62DDCD3C-5CFA-B01F-220B-0BAC7FC33504}"/>
          </ac:grpSpMkLst>
        </pc:grpChg>
        <pc:picChg chg="mod">
          <ac:chgData name="Scott Sink" userId="007532c1-63dd-4f29-9932-df3a9735f490" providerId="ADAL" clId="{4E395113-EDD9-4523-BFC1-45F8993119F0}" dt="2023-06-21T10:10:44.721" v="233"/>
          <ac:picMkLst>
            <pc:docMk/>
            <pc:sldMk cId="2221338391" sldId="3702"/>
            <ac:picMk id="18" creationId="{789ABE91-0EC2-E03A-2651-BBA1CA1187BE}"/>
          </ac:picMkLst>
        </pc:picChg>
        <pc:picChg chg="mod">
          <ac:chgData name="Scott Sink" userId="007532c1-63dd-4f29-9932-df3a9735f490" providerId="ADAL" clId="{4E395113-EDD9-4523-BFC1-45F8993119F0}" dt="2023-06-21T10:09:53.918" v="229" actId="14100"/>
          <ac:picMkLst>
            <pc:docMk/>
            <pc:sldMk cId="2221338391" sldId="3702"/>
            <ac:picMk id="1026" creationId="{00000000-0000-0000-0000-000000000000}"/>
          </ac:picMkLst>
        </pc:picChg>
        <pc:picChg chg="del">
          <ac:chgData name="Scott Sink" userId="007532c1-63dd-4f29-9932-df3a9735f490" providerId="ADAL" clId="{4E395113-EDD9-4523-BFC1-45F8993119F0}" dt="2023-06-21T10:01:08.077" v="31" actId="478"/>
          <ac:picMkLst>
            <pc:docMk/>
            <pc:sldMk cId="2221338391" sldId="3702"/>
            <ac:picMk id="30722" creationId="{00000000-0000-0000-0000-000000000000}"/>
          </ac:picMkLst>
        </pc:picChg>
        <pc:cxnChg chg="mod">
          <ac:chgData name="Scott Sink" userId="007532c1-63dd-4f29-9932-df3a9735f490" providerId="ADAL" clId="{4E395113-EDD9-4523-BFC1-45F8993119F0}" dt="2023-06-21T10:08:07.076" v="220" actId="1076"/>
          <ac:cxnSpMkLst>
            <pc:docMk/>
            <pc:sldMk cId="2221338391" sldId="3702"/>
            <ac:cxnSpMk id="9" creationId="{00000000-0000-0000-0000-000000000000}"/>
          </ac:cxnSpMkLst>
        </pc:cxnChg>
        <pc:cxnChg chg="mod">
          <ac:chgData name="Scott Sink" userId="007532c1-63dd-4f29-9932-df3a9735f490" providerId="ADAL" clId="{4E395113-EDD9-4523-BFC1-45F8993119F0}" dt="2023-06-21T10:08:07.076" v="220" actId="1076"/>
          <ac:cxnSpMkLst>
            <pc:docMk/>
            <pc:sldMk cId="2221338391" sldId="3702"/>
            <ac:cxnSpMk id="13" creationId="{00000000-0000-0000-0000-000000000000}"/>
          </ac:cxnSpMkLst>
        </pc:cxnChg>
        <pc:cxnChg chg="mod">
          <ac:chgData name="Scott Sink" userId="007532c1-63dd-4f29-9932-df3a9735f490" providerId="ADAL" clId="{4E395113-EDD9-4523-BFC1-45F8993119F0}" dt="2023-06-21T10:10:44.721" v="233"/>
          <ac:cxnSpMkLst>
            <pc:docMk/>
            <pc:sldMk cId="2221338391" sldId="3702"/>
            <ac:cxnSpMk id="22" creationId="{EDCB4537-D4B4-BEC5-BC69-6C4FD34E7A97}"/>
          </ac:cxnSpMkLst>
        </pc:cxnChg>
        <pc:cxnChg chg="mod">
          <ac:chgData name="Scott Sink" userId="007532c1-63dd-4f29-9932-df3a9735f490" providerId="ADAL" clId="{4E395113-EDD9-4523-BFC1-45F8993119F0}" dt="2023-06-21T10:10:44.721" v="233"/>
          <ac:cxnSpMkLst>
            <pc:docMk/>
            <pc:sldMk cId="2221338391" sldId="3702"/>
            <ac:cxnSpMk id="23" creationId="{BEFAEBCA-9388-E141-A653-974D3BB68576}"/>
          </ac:cxnSpMkLst>
        </pc:cxnChg>
        <pc:cxnChg chg="mod">
          <ac:chgData name="Scott Sink" userId="007532c1-63dd-4f29-9932-df3a9735f490" providerId="ADAL" clId="{4E395113-EDD9-4523-BFC1-45F8993119F0}" dt="2023-06-21T10:10:44.721" v="233"/>
          <ac:cxnSpMkLst>
            <pc:docMk/>
            <pc:sldMk cId="2221338391" sldId="3702"/>
            <ac:cxnSpMk id="24" creationId="{A1187AA1-9FF1-9635-58B3-B59D81EB0A0F}"/>
          </ac:cxnSpMkLst>
        </pc:cxnChg>
        <pc:cxnChg chg="mod">
          <ac:chgData name="Scott Sink" userId="007532c1-63dd-4f29-9932-df3a9735f490" providerId="ADAL" clId="{4E395113-EDD9-4523-BFC1-45F8993119F0}" dt="2023-06-21T10:10:44.721" v="233"/>
          <ac:cxnSpMkLst>
            <pc:docMk/>
            <pc:sldMk cId="2221338391" sldId="3702"/>
            <ac:cxnSpMk id="25" creationId="{62527606-D920-CFAC-DE36-377348355CEF}"/>
          </ac:cxnSpMkLst>
        </pc:cxnChg>
        <pc:cxnChg chg="mod">
          <ac:chgData name="Scott Sink" userId="007532c1-63dd-4f29-9932-df3a9735f490" providerId="ADAL" clId="{4E395113-EDD9-4523-BFC1-45F8993119F0}" dt="2023-06-21T10:10:44.721" v="233"/>
          <ac:cxnSpMkLst>
            <pc:docMk/>
            <pc:sldMk cId="2221338391" sldId="3702"/>
            <ac:cxnSpMk id="26" creationId="{DC2CD05C-6ABA-DC6D-AC36-4A60C2A4B2F7}"/>
          </ac:cxnSpMkLst>
        </pc:cxnChg>
        <pc:cxnChg chg="mod">
          <ac:chgData name="Scott Sink" userId="007532c1-63dd-4f29-9932-df3a9735f490" providerId="ADAL" clId="{4E395113-EDD9-4523-BFC1-45F8993119F0}" dt="2023-06-21T10:10:44.721" v="233"/>
          <ac:cxnSpMkLst>
            <pc:docMk/>
            <pc:sldMk cId="2221338391" sldId="3702"/>
            <ac:cxnSpMk id="27" creationId="{4873166A-1185-C41F-A125-8A90F37C4C4D}"/>
          </ac:cxnSpMkLst>
        </pc:cxnChg>
        <pc:cxnChg chg="mod">
          <ac:chgData name="Scott Sink" userId="007532c1-63dd-4f29-9932-df3a9735f490" providerId="ADAL" clId="{4E395113-EDD9-4523-BFC1-45F8993119F0}" dt="2023-06-21T10:10:44.721" v="233"/>
          <ac:cxnSpMkLst>
            <pc:docMk/>
            <pc:sldMk cId="2221338391" sldId="3702"/>
            <ac:cxnSpMk id="28" creationId="{31FE2E82-2D60-5119-4970-39CE1CDB5148}"/>
          </ac:cxnSpMkLst>
        </pc:cxnChg>
        <pc:cxnChg chg="mod">
          <ac:chgData name="Scott Sink" userId="007532c1-63dd-4f29-9932-df3a9735f490" providerId="ADAL" clId="{4E395113-EDD9-4523-BFC1-45F8993119F0}" dt="2023-06-21T10:10:44.721" v="233"/>
          <ac:cxnSpMkLst>
            <pc:docMk/>
            <pc:sldMk cId="2221338391" sldId="3702"/>
            <ac:cxnSpMk id="29" creationId="{C0DE354C-2CBB-2257-29F2-8EEE25C5EE5F}"/>
          </ac:cxnSpMkLst>
        </pc:cxnChg>
        <pc:cxnChg chg="mod">
          <ac:chgData name="Scott Sink" userId="007532c1-63dd-4f29-9932-df3a9735f490" providerId="ADAL" clId="{4E395113-EDD9-4523-BFC1-45F8993119F0}" dt="2023-06-21T10:10:44.721" v="233"/>
          <ac:cxnSpMkLst>
            <pc:docMk/>
            <pc:sldMk cId="2221338391" sldId="3702"/>
            <ac:cxnSpMk id="30" creationId="{B13CBF9A-BA07-6A2A-008E-BBBC18067EDF}"/>
          </ac:cxnSpMkLst>
        </pc:cxnChg>
        <pc:cxnChg chg="mod">
          <ac:chgData name="Scott Sink" userId="007532c1-63dd-4f29-9932-df3a9735f490" providerId="ADAL" clId="{4E395113-EDD9-4523-BFC1-45F8993119F0}" dt="2023-06-21T10:10:44.721" v="233"/>
          <ac:cxnSpMkLst>
            <pc:docMk/>
            <pc:sldMk cId="2221338391" sldId="3702"/>
            <ac:cxnSpMk id="31" creationId="{297E3C56-60D8-4A4B-82FC-AE002D790D41}"/>
          </ac:cxnSpMkLst>
        </pc:cxnChg>
        <pc:cxnChg chg="mod">
          <ac:chgData name="Scott Sink" userId="007532c1-63dd-4f29-9932-df3a9735f490" providerId="ADAL" clId="{4E395113-EDD9-4523-BFC1-45F8993119F0}" dt="2023-06-21T10:10:44.721" v="233"/>
          <ac:cxnSpMkLst>
            <pc:docMk/>
            <pc:sldMk cId="2221338391" sldId="3702"/>
            <ac:cxnSpMk id="32" creationId="{5C27C6C9-C29C-3554-E583-3F9A77E891B9}"/>
          </ac:cxnSpMkLst>
        </pc:cxnChg>
        <pc:cxnChg chg="mod">
          <ac:chgData name="Scott Sink" userId="007532c1-63dd-4f29-9932-df3a9735f490" providerId="ADAL" clId="{4E395113-EDD9-4523-BFC1-45F8993119F0}" dt="2023-06-21T10:10:44.721" v="233"/>
          <ac:cxnSpMkLst>
            <pc:docMk/>
            <pc:sldMk cId="2221338391" sldId="3702"/>
            <ac:cxnSpMk id="33" creationId="{9CE38885-CC38-C315-77DA-C7C4C311F050}"/>
          </ac:cxnSpMkLst>
        </pc:cxnChg>
      </pc:sldChg>
      <pc:sldChg chg="ord">
        <pc:chgData name="Scott Sink" userId="007532c1-63dd-4f29-9932-df3a9735f490" providerId="ADAL" clId="{4E395113-EDD9-4523-BFC1-45F8993119F0}" dt="2023-06-25T09:19:35.542" v="5222"/>
        <pc:sldMkLst>
          <pc:docMk/>
          <pc:sldMk cId="99492927" sldId="3706"/>
        </pc:sldMkLst>
      </pc:sldChg>
      <pc:sldChg chg="ord">
        <pc:chgData name="Scott Sink" userId="007532c1-63dd-4f29-9932-df3a9735f490" providerId="ADAL" clId="{4E395113-EDD9-4523-BFC1-45F8993119F0}" dt="2023-06-26T10:47:52.545" v="7926"/>
        <pc:sldMkLst>
          <pc:docMk/>
          <pc:sldMk cId="1725456752" sldId="3707"/>
        </pc:sldMkLst>
      </pc:sldChg>
      <pc:sldChg chg="ord">
        <pc:chgData name="Scott Sink" userId="007532c1-63dd-4f29-9932-df3a9735f490" providerId="ADAL" clId="{4E395113-EDD9-4523-BFC1-45F8993119F0}" dt="2023-06-25T09:19:35.542" v="5222"/>
        <pc:sldMkLst>
          <pc:docMk/>
          <pc:sldMk cId="820505946" sldId="3708"/>
        </pc:sldMkLst>
      </pc:sldChg>
      <pc:sldChg chg="ord">
        <pc:chgData name="Scott Sink" userId="007532c1-63dd-4f29-9932-df3a9735f490" providerId="ADAL" clId="{4E395113-EDD9-4523-BFC1-45F8993119F0}" dt="2023-06-25T09:19:35.542" v="5222"/>
        <pc:sldMkLst>
          <pc:docMk/>
          <pc:sldMk cId="1376378033" sldId="3709"/>
        </pc:sldMkLst>
      </pc:sldChg>
      <pc:sldChg chg="ord">
        <pc:chgData name="Scott Sink" userId="007532c1-63dd-4f29-9932-df3a9735f490" providerId="ADAL" clId="{4E395113-EDD9-4523-BFC1-45F8993119F0}" dt="2023-06-25T09:19:35.542" v="5222"/>
        <pc:sldMkLst>
          <pc:docMk/>
          <pc:sldMk cId="1670056216" sldId="3710"/>
        </pc:sldMkLst>
      </pc:sldChg>
      <pc:sldChg chg="del ord">
        <pc:chgData name="Scott Sink" userId="007532c1-63dd-4f29-9932-df3a9735f490" providerId="ADAL" clId="{4E395113-EDD9-4523-BFC1-45F8993119F0}" dt="2023-06-25T08:56:14.232" v="3870" actId="47"/>
        <pc:sldMkLst>
          <pc:docMk/>
          <pc:sldMk cId="3854666165" sldId="3711"/>
        </pc:sldMkLst>
      </pc:sldChg>
      <pc:sldChg chg="modSp mod ord">
        <pc:chgData name="Scott Sink" userId="007532c1-63dd-4f29-9932-df3a9735f490" providerId="ADAL" clId="{4E395113-EDD9-4523-BFC1-45F8993119F0}" dt="2023-06-25T09:09:38.506" v="5204" actId="20577"/>
        <pc:sldMkLst>
          <pc:docMk/>
          <pc:sldMk cId="2092835934" sldId="3713"/>
        </pc:sldMkLst>
        <pc:spChg chg="mod">
          <ac:chgData name="Scott Sink" userId="007532c1-63dd-4f29-9932-df3a9735f490" providerId="ADAL" clId="{4E395113-EDD9-4523-BFC1-45F8993119F0}" dt="2023-06-25T09:09:38.506" v="5204" actId="20577"/>
          <ac:spMkLst>
            <pc:docMk/>
            <pc:sldMk cId="2092835934" sldId="3713"/>
            <ac:spMk id="13" creationId="{9988262A-4CE8-4497-AFAB-CDE3938AAC06}"/>
          </ac:spMkLst>
        </pc:spChg>
      </pc:sldChg>
      <pc:sldChg chg="modSp mod ord">
        <pc:chgData name="Scott Sink" userId="007532c1-63dd-4f29-9932-df3a9735f490" providerId="ADAL" clId="{4E395113-EDD9-4523-BFC1-45F8993119F0}" dt="2023-06-25T08:56:02.105" v="3869" actId="1076"/>
        <pc:sldMkLst>
          <pc:docMk/>
          <pc:sldMk cId="2994697881" sldId="3722"/>
        </pc:sldMkLst>
        <pc:spChg chg="mod">
          <ac:chgData name="Scott Sink" userId="007532c1-63dd-4f29-9932-df3a9735f490" providerId="ADAL" clId="{4E395113-EDD9-4523-BFC1-45F8993119F0}" dt="2023-06-25T08:56:02.105" v="3869" actId="1076"/>
          <ac:spMkLst>
            <pc:docMk/>
            <pc:sldMk cId="2994697881" sldId="3722"/>
            <ac:spMk id="2" creationId="{00000000-0000-0000-0000-000000000000}"/>
          </ac:spMkLst>
        </pc:spChg>
      </pc:sldChg>
      <pc:sldChg chg="add del ord">
        <pc:chgData name="Scott Sink" userId="007532c1-63dd-4f29-9932-df3a9735f490" providerId="ADAL" clId="{4E395113-EDD9-4523-BFC1-45F8993119F0}" dt="2023-06-25T08:58:24.927" v="3890"/>
        <pc:sldMkLst>
          <pc:docMk/>
          <pc:sldMk cId="3987754599" sldId="3723"/>
        </pc:sldMkLst>
      </pc:sldChg>
      <pc:sldChg chg="ord">
        <pc:chgData name="Scott Sink" userId="007532c1-63dd-4f29-9932-df3a9735f490" providerId="ADAL" clId="{4E395113-EDD9-4523-BFC1-45F8993119F0}" dt="2023-06-26T07:51:03.134" v="5427"/>
        <pc:sldMkLst>
          <pc:docMk/>
          <pc:sldMk cId="3830039475" sldId="3727"/>
        </pc:sldMkLst>
      </pc:sldChg>
      <pc:sldChg chg="modSp mod ord">
        <pc:chgData name="Scott Sink" userId="007532c1-63dd-4f29-9932-df3a9735f490" providerId="ADAL" clId="{4E395113-EDD9-4523-BFC1-45F8993119F0}" dt="2023-06-26T07:51:29.052" v="5429"/>
        <pc:sldMkLst>
          <pc:docMk/>
          <pc:sldMk cId="3325468415" sldId="3728"/>
        </pc:sldMkLst>
        <pc:spChg chg="mod">
          <ac:chgData name="Scott Sink" userId="007532c1-63dd-4f29-9932-df3a9735f490" providerId="ADAL" clId="{4E395113-EDD9-4523-BFC1-45F8993119F0}" dt="2023-06-25T09:37:25.924" v="5412" actId="403"/>
          <ac:spMkLst>
            <pc:docMk/>
            <pc:sldMk cId="3325468415" sldId="3728"/>
            <ac:spMk id="3" creationId="{D52268DB-61E4-27E1-5D29-0E7DE9B5711D}"/>
          </ac:spMkLst>
        </pc:spChg>
      </pc:sldChg>
      <pc:sldChg chg="modSp mod ord">
        <pc:chgData name="Scott Sink" userId="007532c1-63dd-4f29-9932-df3a9735f490" providerId="ADAL" clId="{4E395113-EDD9-4523-BFC1-45F8993119F0}" dt="2023-06-25T08:48:51.902" v="3443" actId="20577"/>
        <pc:sldMkLst>
          <pc:docMk/>
          <pc:sldMk cId="119098387" sldId="3730"/>
        </pc:sldMkLst>
        <pc:spChg chg="mod">
          <ac:chgData name="Scott Sink" userId="007532c1-63dd-4f29-9932-df3a9735f490" providerId="ADAL" clId="{4E395113-EDD9-4523-BFC1-45F8993119F0}" dt="2023-06-25T08:48:51.902" v="3443" actId="20577"/>
          <ac:spMkLst>
            <pc:docMk/>
            <pc:sldMk cId="119098387" sldId="3730"/>
            <ac:spMk id="5" creationId="{1CFCAD91-B0F7-4F0D-A039-4E997C3137E9}"/>
          </ac:spMkLst>
        </pc:spChg>
        <pc:spChg chg="mod">
          <ac:chgData name="Scott Sink" userId="007532c1-63dd-4f29-9932-df3a9735f490" providerId="ADAL" clId="{4E395113-EDD9-4523-BFC1-45F8993119F0}" dt="2023-06-25T08:48:32.174" v="3428" actId="20577"/>
          <ac:spMkLst>
            <pc:docMk/>
            <pc:sldMk cId="119098387" sldId="3730"/>
            <ac:spMk id="68610" creationId="{E590AAF4-5EC4-4395-B45C-55DFFA5E7CAD}"/>
          </ac:spMkLst>
        </pc:spChg>
      </pc:sldChg>
      <pc:sldChg chg="ord">
        <pc:chgData name="Scott Sink" userId="007532c1-63dd-4f29-9932-df3a9735f490" providerId="ADAL" clId="{4E395113-EDD9-4523-BFC1-45F8993119F0}" dt="2023-06-25T09:16:56.214" v="5210"/>
        <pc:sldMkLst>
          <pc:docMk/>
          <pc:sldMk cId="4117063728" sldId="3731"/>
        </pc:sldMkLst>
      </pc:sldChg>
      <pc:sldChg chg="ord">
        <pc:chgData name="Scott Sink" userId="007532c1-63dd-4f29-9932-df3a9735f490" providerId="ADAL" clId="{4E395113-EDD9-4523-BFC1-45F8993119F0}" dt="2023-06-22T13:48:35.215" v="587"/>
        <pc:sldMkLst>
          <pc:docMk/>
          <pc:sldMk cId="3706266293" sldId="3736"/>
        </pc:sldMkLst>
      </pc:sldChg>
      <pc:sldChg chg="ord">
        <pc:chgData name="Scott Sink" userId="007532c1-63dd-4f29-9932-df3a9735f490" providerId="ADAL" clId="{4E395113-EDD9-4523-BFC1-45F8993119F0}" dt="2023-06-22T13:49:09.131" v="593"/>
        <pc:sldMkLst>
          <pc:docMk/>
          <pc:sldMk cId="89679871" sldId="3737"/>
        </pc:sldMkLst>
      </pc:sldChg>
      <pc:sldChg chg="ord">
        <pc:chgData name="Scott Sink" userId="007532c1-63dd-4f29-9932-df3a9735f490" providerId="ADAL" clId="{4E395113-EDD9-4523-BFC1-45F8993119F0}" dt="2023-06-25T09:07:23.490" v="4842"/>
        <pc:sldMkLst>
          <pc:docMk/>
          <pc:sldMk cId="1007212286" sldId="3739"/>
        </pc:sldMkLst>
      </pc:sldChg>
      <pc:sldChg chg="ord">
        <pc:chgData name="Scott Sink" userId="007532c1-63dd-4f29-9932-df3a9735f490" providerId="ADAL" clId="{4E395113-EDD9-4523-BFC1-45F8993119F0}" dt="2023-06-26T08:48:01.467" v="6743"/>
        <pc:sldMkLst>
          <pc:docMk/>
          <pc:sldMk cId="3080365828" sldId="3740"/>
        </pc:sldMkLst>
      </pc:sldChg>
      <pc:sldChg chg="addSp modSp ord modAnim">
        <pc:chgData name="Scott Sink" userId="007532c1-63dd-4f29-9932-df3a9735f490" providerId="ADAL" clId="{4E395113-EDD9-4523-BFC1-45F8993119F0}" dt="2023-06-25T09:17:11.683" v="5212"/>
        <pc:sldMkLst>
          <pc:docMk/>
          <pc:sldMk cId="479280247" sldId="3741"/>
        </pc:sldMkLst>
        <pc:grpChg chg="add mod">
          <ac:chgData name="Scott Sink" userId="007532c1-63dd-4f29-9932-df3a9735f490" providerId="ADAL" clId="{4E395113-EDD9-4523-BFC1-45F8993119F0}" dt="2023-06-21T10:10:37.622" v="232" actId="164"/>
          <ac:grpSpMkLst>
            <pc:docMk/>
            <pc:sldMk cId="479280247" sldId="3741"/>
            <ac:grpSpMk id="3" creationId="{AB64E09E-A5A4-1A11-31F2-DB3A84131561}"/>
          </ac:grpSpMkLst>
        </pc:grpChg>
        <pc:grpChg chg="mod">
          <ac:chgData name="Scott Sink" userId="007532c1-63dd-4f29-9932-df3a9735f490" providerId="ADAL" clId="{4E395113-EDD9-4523-BFC1-45F8993119F0}" dt="2023-06-21T10:10:37.622" v="232" actId="164"/>
          <ac:grpSpMkLst>
            <pc:docMk/>
            <pc:sldMk cId="479280247" sldId="3741"/>
            <ac:grpSpMk id="30" creationId="{B47C8FCA-9581-44A5-8180-C56A6150303A}"/>
          </ac:grpSpMkLst>
        </pc:grpChg>
        <pc:grpChg chg="mod">
          <ac:chgData name="Scott Sink" userId="007532c1-63dd-4f29-9932-df3a9735f490" providerId="ADAL" clId="{4E395113-EDD9-4523-BFC1-45F8993119F0}" dt="2023-06-21T10:10:37.622" v="232" actId="164"/>
          <ac:grpSpMkLst>
            <pc:docMk/>
            <pc:sldMk cId="479280247" sldId="3741"/>
            <ac:grpSpMk id="34" creationId="{E17D31DB-9B82-499E-BC20-D0F9A2B0C090}"/>
          </ac:grpSpMkLst>
        </pc:grpChg>
        <pc:grpChg chg="mod">
          <ac:chgData name="Scott Sink" userId="007532c1-63dd-4f29-9932-df3a9735f490" providerId="ADAL" clId="{4E395113-EDD9-4523-BFC1-45F8993119F0}" dt="2023-06-21T10:10:37.622" v="232" actId="164"/>
          <ac:grpSpMkLst>
            <pc:docMk/>
            <pc:sldMk cId="479280247" sldId="3741"/>
            <ac:grpSpMk id="39" creationId="{B0A4039F-5828-4F1A-B40F-0E7CC707A23B}"/>
          </ac:grpSpMkLst>
        </pc:grpChg>
        <pc:picChg chg="mod">
          <ac:chgData name="Scott Sink" userId="007532c1-63dd-4f29-9932-df3a9735f490" providerId="ADAL" clId="{4E395113-EDD9-4523-BFC1-45F8993119F0}" dt="2023-06-21T10:10:37.622" v="232" actId="164"/>
          <ac:picMkLst>
            <pc:docMk/>
            <pc:sldMk cId="479280247" sldId="3741"/>
            <ac:picMk id="19" creationId="{C722F620-7C0D-4868-B175-317B4B45599F}"/>
          </ac:picMkLst>
        </pc:picChg>
      </pc:sldChg>
      <pc:sldChg chg="del ord">
        <pc:chgData name="Scott Sink" userId="007532c1-63dd-4f29-9932-df3a9735f490" providerId="ADAL" clId="{4E395113-EDD9-4523-BFC1-45F8993119F0}" dt="2023-06-25T09:37:13.801" v="5410" actId="47"/>
        <pc:sldMkLst>
          <pc:docMk/>
          <pc:sldMk cId="1982806834" sldId="3753"/>
        </pc:sldMkLst>
      </pc:sldChg>
      <pc:sldChg chg="ord">
        <pc:chgData name="Scott Sink" userId="007532c1-63dd-4f29-9932-df3a9735f490" providerId="ADAL" clId="{4E395113-EDD9-4523-BFC1-45F8993119F0}" dt="2023-06-25T09:19:35.542" v="5222"/>
        <pc:sldMkLst>
          <pc:docMk/>
          <pc:sldMk cId="1369080686" sldId="3755"/>
        </pc:sldMkLst>
      </pc:sldChg>
      <pc:sldChg chg="addSp delSp modSp new mod">
        <pc:chgData name="Scott Sink" userId="007532c1-63dd-4f29-9932-df3a9735f490" providerId="ADAL" clId="{4E395113-EDD9-4523-BFC1-45F8993119F0}" dt="2023-06-16T16:34:45.358" v="5" actId="962"/>
        <pc:sldMkLst>
          <pc:docMk/>
          <pc:sldMk cId="887211373" sldId="3756"/>
        </pc:sldMkLst>
        <pc:spChg chg="add del">
          <ac:chgData name="Scott Sink" userId="007532c1-63dd-4f29-9932-df3a9735f490" providerId="ADAL" clId="{4E395113-EDD9-4523-BFC1-45F8993119F0}" dt="2023-06-16T16:34:41.960" v="3"/>
          <ac:spMkLst>
            <pc:docMk/>
            <pc:sldMk cId="887211373" sldId="3756"/>
            <ac:spMk id="3" creationId="{93F24F07-80C2-B9C5-5C19-8122BC173D8B}"/>
          </ac:spMkLst>
        </pc:spChg>
        <pc:graphicFrameChg chg="add del mod">
          <ac:chgData name="Scott Sink" userId="007532c1-63dd-4f29-9932-df3a9735f490" providerId="ADAL" clId="{4E395113-EDD9-4523-BFC1-45F8993119F0}" dt="2023-06-16T16:34:32.176" v="2"/>
          <ac:graphicFrameMkLst>
            <pc:docMk/>
            <pc:sldMk cId="887211373" sldId="3756"/>
            <ac:graphicFrameMk id="4" creationId="{51A81980-DB05-84E7-3F00-3F452B9E4B13}"/>
          </ac:graphicFrameMkLst>
        </pc:graphicFrameChg>
        <pc:picChg chg="add mod">
          <ac:chgData name="Scott Sink" userId="007532c1-63dd-4f29-9932-df3a9735f490" providerId="ADAL" clId="{4E395113-EDD9-4523-BFC1-45F8993119F0}" dt="2023-06-16T16:34:45.358" v="5" actId="962"/>
          <ac:picMkLst>
            <pc:docMk/>
            <pc:sldMk cId="887211373" sldId="3756"/>
            <ac:picMk id="6" creationId="{85B51959-C935-0B7F-F457-DD0B15443B99}"/>
          </ac:picMkLst>
        </pc:picChg>
      </pc:sldChg>
      <pc:sldChg chg="addSp delSp modSp new mod">
        <pc:chgData name="Scott Sink" userId="007532c1-63dd-4f29-9932-df3a9735f490" providerId="ADAL" clId="{4E395113-EDD9-4523-BFC1-45F8993119F0}" dt="2023-06-16T16:35:32.345" v="11" actId="1076"/>
        <pc:sldMkLst>
          <pc:docMk/>
          <pc:sldMk cId="3122618404" sldId="3757"/>
        </pc:sldMkLst>
        <pc:spChg chg="del">
          <ac:chgData name="Scott Sink" userId="007532c1-63dd-4f29-9932-df3a9735f490" providerId="ADAL" clId="{4E395113-EDD9-4523-BFC1-45F8993119F0}" dt="2023-06-16T16:35:26.464" v="7"/>
          <ac:spMkLst>
            <pc:docMk/>
            <pc:sldMk cId="3122618404" sldId="3757"/>
            <ac:spMk id="3" creationId="{A3D87797-92B4-07A4-6CBE-4176C2C5568C}"/>
          </ac:spMkLst>
        </pc:spChg>
        <pc:picChg chg="add mod">
          <ac:chgData name="Scott Sink" userId="007532c1-63dd-4f29-9932-df3a9735f490" providerId="ADAL" clId="{4E395113-EDD9-4523-BFC1-45F8993119F0}" dt="2023-06-16T16:35:32.345" v="11" actId="1076"/>
          <ac:picMkLst>
            <pc:docMk/>
            <pc:sldMk cId="3122618404" sldId="3757"/>
            <ac:picMk id="5" creationId="{6C5F44E2-AE62-87CB-B08D-3005D335D6BC}"/>
          </ac:picMkLst>
        </pc:picChg>
      </pc:sldChg>
      <pc:sldChg chg="addSp delSp modSp new mod">
        <pc:chgData name="Scott Sink" userId="007532c1-63dd-4f29-9932-df3a9735f490" providerId="ADAL" clId="{4E395113-EDD9-4523-BFC1-45F8993119F0}" dt="2023-06-16T16:35:53.444" v="15" actId="962"/>
        <pc:sldMkLst>
          <pc:docMk/>
          <pc:sldMk cId="3581281373" sldId="3758"/>
        </pc:sldMkLst>
        <pc:spChg chg="del">
          <ac:chgData name="Scott Sink" userId="007532c1-63dd-4f29-9932-df3a9735f490" providerId="ADAL" clId="{4E395113-EDD9-4523-BFC1-45F8993119F0}" dt="2023-06-16T16:35:51.734" v="13"/>
          <ac:spMkLst>
            <pc:docMk/>
            <pc:sldMk cId="3581281373" sldId="3758"/>
            <ac:spMk id="3" creationId="{96B4A991-AB2B-F310-4762-ED0F9E276203}"/>
          </ac:spMkLst>
        </pc:spChg>
        <pc:picChg chg="add mod">
          <ac:chgData name="Scott Sink" userId="007532c1-63dd-4f29-9932-df3a9735f490" providerId="ADAL" clId="{4E395113-EDD9-4523-BFC1-45F8993119F0}" dt="2023-06-16T16:35:53.444" v="15" actId="962"/>
          <ac:picMkLst>
            <pc:docMk/>
            <pc:sldMk cId="3581281373" sldId="3758"/>
            <ac:picMk id="5" creationId="{AFC3DAE1-A567-9FA8-1DD5-C4AA05A4A2F7}"/>
          </ac:picMkLst>
        </pc:picChg>
      </pc:sldChg>
      <pc:sldChg chg="add ord">
        <pc:chgData name="Scott Sink" userId="007532c1-63dd-4f29-9932-df3a9735f490" providerId="ADAL" clId="{4E395113-EDD9-4523-BFC1-45F8993119F0}" dt="2023-06-25T09:09:57.675" v="5208"/>
        <pc:sldMkLst>
          <pc:docMk/>
          <pc:sldMk cId="328562648" sldId="3759"/>
        </pc:sldMkLst>
      </pc:sldChg>
      <pc:sldChg chg="addSp delSp modSp new add del ord">
        <pc:chgData name="Scott Sink" userId="007532c1-63dd-4f29-9932-df3a9735f490" providerId="ADAL" clId="{4E395113-EDD9-4523-BFC1-45F8993119F0}" dt="2023-06-27T13:26:45.222" v="8738"/>
        <pc:sldMkLst>
          <pc:docMk/>
          <pc:sldMk cId="4164328008" sldId="3760"/>
        </pc:sldMkLst>
        <pc:spChg chg="del">
          <ac:chgData name="Scott Sink" userId="007532c1-63dd-4f29-9932-df3a9735f490" providerId="ADAL" clId="{4E395113-EDD9-4523-BFC1-45F8993119F0}" dt="2023-06-23T11:25:27.321" v="625" actId="931"/>
          <ac:spMkLst>
            <pc:docMk/>
            <pc:sldMk cId="4164328008" sldId="3760"/>
            <ac:spMk id="3" creationId="{97A96D60-A475-E12D-22D4-56A0A30F9475}"/>
          </ac:spMkLst>
        </pc:spChg>
        <pc:picChg chg="add mod">
          <ac:chgData name="Scott Sink" userId="007532c1-63dd-4f29-9932-df3a9735f490" providerId="ADAL" clId="{4E395113-EDD9-4523-BFC1-45F8993119F0}" dt="2023-06-23T11:25:30.320" v="627" actId="962"/>
          <ac:picMkLst>
            <pc:docMk/>
            <pc:sldMk cId="4164328008" sldId="3760"/>
            <ac:picMk id="5" creationId="{E6D84AE3-6DBC-9C04-0F41-AF8C80451D6A}"/>
          </ac:picMkLst>
        </pc:picChg>
      </pc:sldChg>
      <pc:sldChg chg="addSp delSp modSp new mod ord">
        <pc:chgData name="Scott Sink" userId="007532c1-63dd-4f29-9932-df3a9735f490" providerId="ADAL" clId="{4E395113-EDD9-4523-BFC1-45F8993119F0}" dt="2023-06-26T07:51:42.210" v="5431"/>
        <pc:sldMkLst>
          <pc:docMk/>
          <pc:sldMk cId="1905520568" sldId="3761"/>
        </pc:sldMkLst>
        <pc:spChg chg="mod">
          <ac:chgData name="Scott Sink" userId="007532c1-63dd-4f29-9932-df3a9735f490" providerId="ADAL" clId="{4E395113-EDD9-4523-BFC1-45F8993119F0}" dt="2023-06-23T11:49:33.795" v="816" actId="1076"/>
          <ac:spMkLst>
            <pc:docMk/>
            <pc:sldMk cId="1905520568" sldId="3761"/>
            <ac:spMk id="2" creationId="{15293D07-30ED-DD3E-6C1F-6AC2334D83DF}"/>
          </ac:spMkLst>
        </pc:spChg>
        <pc:spChg chg="del">
          <ac:chgData name="Scott Sink" userId="007532c1-63dd-4f29-9932-df3a9735f490" providerId="ADAL" clId="{4E395113-EDD9-4523-BFC1-45F8993119F0}" dt="2023-06-23T11:43:29.922" v="659" actId="478"/>
          <ac:spMkLst>
            <pc:docMk/>
            <pc:sldMk cId="1905520568" sldId="3761"/>
            <ac:spMk id="3" creationId="{BA086250-8B12-2BCE-9FAF-B697825DE691}"/>
          </ac:spMkLst>
        </pc:spChg>
        <pc:spChg chg="add mod">
          <ac:chgData name="Scott Sink" userId="007532c1-63dd-4f29-9932-df3a9735f490" providerId="ADAL" clId="{4E395113-EDD9-4523-BFC1-45F8993119F0}" dt="2023-06-23T11:43:57.118" v="677" actId="14100"/>
          <ac:spMkLst>
            <pc:docMk/>
            <pc:sldMk cId="1905520568" sldId="3761"/>
            <ac:spMk id="4" creationId="{AC63C8FE-017E-3D6C-C4A6-0ABEDE72AFD3}"/>
          </ac:spMkLst>
        </pc:spChg>
        <pc:spChg chg="add mod">
          <ac:chgData name="Scott Sink" userId="007532c1-63dd-4f29-9932-df3a9735f490" providerId="ADAL" clId="{4E395113-EDD9-4523-BFC1-45F8993119F0}" dt="2023-06-23T11:44:24.658" v="693" actId="20577"/>
          <ac:spMkLst>
            <pc:docMk/>
            <pc:sldMk cId="1905520568" sldId="3761"/>
            <ac:spMk id="5" creationId="{FCBEEE82-D7B7-7D74-F195-F1F676041620}"/>
          </ac:spMkLst>
        </pc:spChg>
        <pc:spChg chg="add mod">
          <ac:chgData name="Scott Sink" userId="007532c1-63dd-4f29-9932-df3a9735f490" providerId="ADAL" clId="{4E395113-EDD9-4523-BFC1-45F8993119F0}" dt="2023-06-23T11:44:58.292" v="729" actId="14100"/>
          <ac:spMkLst>
            <pc:docMk/>
            <pc:sldMk cId="1905520568" sldId="3761"/>
            <ac:spMk id="6" creationId="{29936A54-A129-81C5-A973-605992756925}"/>
          </ac:spMkLst>
        </pc:spChg>
        <pc:spChg chg="add mod">
          <ac:chgData name="Scott Sink" userId="007532c1-63dd-4f29-9932-df3a9735f490" providerId="ADAL" clId="{4E395113-EDD9-4523-BFC1-45F8993119F0}" dt="2023-06-23T11:45:26.107" v="741" actId="20577"/>
          <ac:spMkLst>
            <pc:docMk/>
            <pc:sldMk cId="1905520568" sldId="3761"/>
            <ac:spMk id="7" creationId="{D27ADBDF-198F-7B80-0749-F87B439F7AB2}"/>
          </ac:spMkLst>
        </pc:spChg>
        <pc:spChg chg="add mod">
          <ac:chgData name="Scott Sink" userId="007532c1-63dd-4f29-9932-df3a9735f490" providerId="ADAL" clId="{4E395113-EDD9-4523-BFC1-45F8993119F0}" dt="2023-06-23T11:45:45.562" v="749" actId="20577"/>
          <ac:spMkLst>
            <pc:docMk/>
            <pc:sldMk cId="1905520568" sldId="3761"/>
            <ac:spMk id="8" creationId="{B4FF17FA-7B27-1649-E27A-540C5F690D69}"/>
          </ac:spMkLst>
        </pc:spChg>
        <pc:picChg chg="add mod">
          <ac:chgData name="Scott Sink" userId="007532c1-63dd-4f29-9932-df3a9735f490" providerId="ADAL" clId="{4E395113-EDD9-4523-BFC1-45F8993119F0}" dt="2023-06-23T11:48:54.197" v="753" actId="962"/>
          <ac:picMkLst>
            <pc:docMk/>
            <pc:sldMk cId="1905520568" sldId="3761"/>
            <ac:picMk id="10" creationId="{C12468D8-5DA6-4FA8-A34E-308610B7D639}"/>
          </ac:picMkLst>
        </pc:picChg>
      </pc:sldChg>
      <pc:sldChg chg="addSp delSp modSp add mod ord">
        <pc:chgData name="Scott Sink" userId="007532c1-63dd-4f29-9932-df3a9735f490" providerId="ADAL" clId="{4E395113-EDD9-4523-BFC1-45F8993119F0}" dt="2023-06-27T04:07:49.568" v="8704" actId="20577"/>
        <pc:sldMkLst>
          <pc:docMk/>
          <pc:sldMk cId="1130458324" sldId="3762"/>
        </pc:sldMkLst>
        <pc:spChg chg="add mod">
          <ac:chgData name="Scott Sink" userId="007532c1-63dd-4f29-9932-df3a9735f490" providerId="ADAL" clId="{4E395113-EDD9-4523-BFC1-45F8993119F0}" dt="2023-06-23T11:54:03.193" v="1124" actId="403"/>
          <ac:spMkLst>
            <pc:docMk/>
            <pc:sldMk cId="1130458324" sldId="3762"/>
            <ac:spMk id="3" creationId="{489E5D4B-330C-8409-2E49-44CC107343AE}"/>
          </ac:spMkLst>
        </pc:spChg>
        <pc:spChg chg="mod">
          <ac:chgData name="Scott Sink" userId="007532c1-63dd-4f29-9932-df3a9735f490" providerId="ADAL" clId="{4E395113-EDD9-4523-BFC1-45F8993119F0}" dt="2023-06-23T11:50:06.826" v="823" actId="1076"/>
          <ac:spMkLst>
            <pc:docMk/>
            <pc:sldMk cId="1130458324" sldId="3762"/>
            <ac:spMk id="4" creationId="{AC63C8FE-017E-3D6C-C4A6-0ABEDE72AFD3}"/>
          </ac:spMkLst>
        </pc:spChg>
        <pc:spChg chg="mod">
          <ac:chgData name="Scott Sink" userId="007532c1-63dd-4f29-9932-df3a9735f490" providerId="ADAL" clId="{4E395113-EDD9-4523-BFC1-45F8993119F0}" dt="2023-06-23T11:50:18.248" v="825" actId="1076"/>
          <ac:spMkLst>
            <pc:docMk/>
            <pc:sldMk cId="1130458324" sldId="3762"/>
            <ac:spMk id="5" creationId="{FCBEEE82-D7B7-7D74-F195-F1F676041620}"/>
          </ac:spMkLst>
        </pc:spChg>
        <pc:spChg chg="mod">
          <ac:chgData name="Scott Sink" userId="007532c1-63dd-4f29-9932-df3a9735f490" providerId="ADAL" clId="{4E395113-EDD9-4523-BFC1-45F8993119F0}" dt="2023-06-23T11:50:31.037" v="828" actId="1076"/>
          <ac:spMkLst>
            <pc:docMk/>
            <pc:sldMk cId="1130458324" sldId="3762"/>
            <ac:spMk id="6" creationId="{29936A54-A129-81C5-A973-605992756925}"/>
          </ac:spMkLst>
        </pc:spChg>
        <pc:spChg chg="mod">
          <ac:chgData name="Scott Sink" userId="007532c1-63dd-4f29-9932-df3a9735f490" providerId="ADAL" clId="{4E395113-EDD9-4523-BFC1-45F8993119F0}" dt="2023-06-23T11:50:28.061" v="827" actId="1076"/>
          <ac:spMkLst>
            <pc:docMk/>
            <pc:sldMk cId="1130458324" sldId="3762"/>
            <ac:spMk id="7" creationId="{D27ADBDF-198F-7B80-0749-F87B439F7AB2}"/>
          </ac:spMkLst>
        </pc:spChg>
        <pc:spChg chg="mod">
          <ac:chgData name="Scott Sink" userId="007532c1-63dd-4f29-9932-df3a9735f490" providerId="ADAL" clId="{4E395113-EDD9-4523-BFC1-45F8993119F0}" dt="2023-06-23T11:49:50.108" v="819" actId="1076"/>
          <ac:spMkLst>
            <pc:docMk/>
            <pc:sldMk cId="1130458324" sldId="3762"/>
            <ac:spMk id="8" creationId="{B4FF17FA-7B27-1649-E27A-540C5F690D69}"/>
          </ac:spMkLst>
        </pc:spChg>
        <pc:spChg chg="add mod">
          <ac:chgData name="Scott Sink" userId="007532c1-63dd-4f29-9932-df3a9735f490" providerId="ADAL" clId="{4E395113-EDD9-4523-BFC1-45F8993119F0}" dt="2023-06-23T11:58:35.887" v="1520" actId="14100"/>
          <ac:spMkLst>
            <pc:docMk/>
            <pc:sldMk cId="1130458324" sldId="3762"/>
            <ac:spMk id="9" creationId="{36202922-CCB9-3C72-06F1-C845730A2838}"/>
          </ac:spMkLst>
        </pc:spChg>
        <pc:spChg chg="add mod">
          <ac:chgData name="Scott Sink" userId="007532c1-63dd-4f29-9932-df3a9735f490" providerId="ADAL" clId="{4E395113-EDD9-4523-BFC1-45F8993119F0}" dt="2023-06-27T04:07:49.568" v="8704" actId="20577"/>
          <ac:spMkLst>
            <pc:docMk/>
            <pc:sldMk cId="1130458324" sldId="3762"/>
            <ac:spMk id="11" creationId="{5ADB4C3D-6361-69A1-DAED-BE1852800935}"/>
          </ac:spMkLst>
        </pc:spChg>
        <pc:spChg chg="add mod">
          <ac:chgData name="Scott Sink" userId="007532c1-63dd-4f29-9932-df3a9735f490" providerId="ADAL" clId="{4E395113-EDD9-4523-BFC1-45F8993119F0}" dt="2023-06-27T04:07:34.679" v="8702" actId="20577"/>
          <ac:spMkLst>
            <pc:docMk/>
            <pc:sldMk cId="1130458324" sldId="3762"/>
            <ac:spMk id="12" creationId="{35EC8872-0D45-00D9-9B7F-53C903650405}"/>
          </ac:spMkLst>
        </pc:spChg>
        <pc:picChg chg="del">
          <ac:chgData name="Scott Sink" userId="007532c1-63dd-4f29-9932-df3a9735f490" providerId="ADAL" clId="{4E395113-EDD9-4523-BFC1-45F8993119F0}" dt="2023-06-23T11:49:45.930" v="818" actId="478"/>
          <ac:picMkLst>
            <pc:docMk/>
            <pc:sldMk cId="1130458324" sldId="3762"/>
            <ac:picMk id="10" creationId="{C12468D8-5DA6-4FA8-A34E-308610B7D639}"/>
          </ac:picMkLst>
        </pc:picChg>
      </pc:sldChg>
      <pc:sldChg chg="addSp delSp modSp add mod ord">
        <pc:chgData name="Scott Sink" userId="007532c1-63dd-4f29-9932-df3a9735f490" providerId="ADAL" clId="{4E395113-EDD9-4523-BFC1-45F8993119F0}" dt="2023-06-27T15:07:12.092" v="8779"/>
        <pc:sldMkLst>
          <pc:docMk/>
          <pc:sldMk cId="2331528293" sldId="3763"/>
        </pc:sldMkLst>
        <pc:spChg chg="mod">
          <ac:chgData name="Scott Sink" userId="007532c1-63dd-4f29-9932-df3a9735f490" providerId="ADAL" clId="{4E395113-EDD9-4523-BFC1-45F8993119F0}" dt="2023-06-25T08:56:35.059" v="3877" actId="1076"/>
          <ac:spMkLst>
            <pc:docMk/>
            <pc:sldMk cId="2331528293" sldId="3763"/>
            <ac:spMk id="2" creationId="{00000000-0000-0000-0000-000000000000}"/>
          </ac:spMkLst>
        </pc:spChg>
        <pc:spChg chg="del">
          <ac:chgData name="Scott Sink" userId="007532c1-63dd-4f29-9932-df3a9735f490" providerId="ADAL" clId="{4E395113-EDD9-4523-BFC1-45F8993119F0}" dt="2023-06-24T11:34:41.009" v="1536" actId="478"/>
          <ac:spMkLst>
            <pc:docMk/>
            <pc:sldMk cId="2331528293" sldId="3763"/>
            <ac:spMk id="3" creationId="{00000000-0000-0000-0000-000000000000}"/>
          </ac:spMkLst>
        </pc:spChg>
        <pc:spChg chg="add mod">
          <ac:chgData name="Scott Sink" userId="007532c1-63dd-4f29-9932-df3a9735f490" providerId="ADAL" clId="{4E395113-EDD9-4523-BFC1-45F8993119F0}" dt="2023-06-25T08:57:35.623" v="3884" actId="113"/>
          <ac:spMkLst>
            <pc:docMk/>
            <pc:sldMk cId="2331528293" sldId="3763"/>
            <ac:spMk id="5" creationId="{6813091B-8889-1A05-FE77-9D59E2564236}"/>
          </ac:spMkLst>
        </pc:spChg>
        <pc:spChg chg="add del mod">
          <ac:chgData name="Scott Sink" userId="007532c1-63dd-4f29-9932-df3a9735f490" providerId="ADAL" clId="{4E395113-EDD9-4523-BFC1-45F8993119F0}" dt="2023-06-24T11:34:43.435" v="1537" actId="478"/>
          <ac:spMkLst>
            <pc:docMk/>
            <pc:sldMk cId="2331528293" sldId="3763"/>
            <ac:spMk id="7" creationId="{D7559D06-4B09-725E-DD02-FC641A91E6DF}"/>
          </ac:spMkLst>
        </pc:spChg>
      </pc:sldChg>
      <pc:sldChg chg="addSp modSp new mod ord">
        <pc:chgData name="Scott Sink" userId="007532c1-63dd-4f29-9932-df3a9735f490" providerId="ADAL" clId="{4E395113-EDD9-4523-BFC1-45F8993119F0}" dt="2023-06-27T15:06:13.173" v="8771" actId="403"/>
        <pc:sldMkLst>
          <pc:docMk/>
          <pc:sldMk cId="2000752625" sldId="3764"/>
        </pc:sldMkLst>
        <pc:spChg chg="mod">
          <ac:chgData name="Scott Sink" userId="007532c1-63dd-4f29-9932-df3a9735f490" providerId="ADAL" clId="{4E395113-EDD9-4523-BFC1-45F8993119F0}" dt="2023-06-24T11:38:45.253" v="1656" actId="1076"/>
          <ac:spMkLst>
            <pc:docMk/>
            <pc:sldMk cId="2000752625" sldId="3764"/>
            <ac:spMk id="2" creationId="{D99A3F73-7249-A677-A57D-1424DFBBB0DE}"/>
          </ac:spMkLst>
        </pc:spChg>
        <pc:spChg chg="mod">
          <ac:chgData name="Scott Sink" userId="007532c1-63dd-4f29-9932-df3a9735f490" providerId="ADAL" clId="{4E395113-EDD9-4523-BFC1-45F8993119F0}" dt="2023-06-24T11:59:20.591" v="2607" actId="14100"/>
          <ac:spMkLst>
            <pc:docMk/>
            <pc:sldMk cId="2000752625" sldId="3764"/>
            <ac:spMk id="3" creationId="{FAC94D57-6BE1-671D-4CF2-9C99133F4591}"/>
          </ac:spMkLst>
        </pc:spChg>
        <pc:spChg chg="add mod">
          <ac:chgData name="Scott Sink" userId="007532c1-63dd-4f29-9932-df3a9735f490" providerId="ADAL" clId="{4E395113-EDD9-4523-BFC1-45F8993119F0}" dt="2023-06-24T11:59:26.844" v="2608" actId="1076"/>
          <ac:spMkLst>
            <pc:docMk/>
            <pc:sldMk cId="2000752625" sldId="3764"/>
            <ac:spMk id="4" creationId="{01DFF16F-05A6-29EC-E909-BBDC441EB493}"/>
          </ac:spMkLst>
        </pc:spChg>
        <pc:spChg chg="add mod">
          <ac:chgData name="Scott Sink" userId="007532c1-63dd-4f29-9932-df3a9735f490" providerId="ADAL" clId="{4E395113-EDD9-4523-BFC1-45F8993119F0}" dt="2023-06-24T11:57:49.809" v="2558" actId="1076"/>
          <ac:spMkLst>
            <pc:docMk/>
            <pc:sldMk cId="2000752625" sldId="3764"/>
            <ac:spMk id="5" creationId="{82CFE74B-4BCA-C76C-7053-884B610BB681}"/>
          </ac:spMkLst>
        </pc:spChg>
        <pc:spChg chg="add mod">
          <ac:chgData name="Scott Sink" userId="007532c1-63dd-4f29-9932-df3a9735f490" providerId="ADAL" clId="{4E395113-EDD9-4523-BFC1-45F8993119F0}" dt="2023-06-27T15:06:13.173" v="8771" actId="403"/>
          <ac:spMkLst>
            <pc:docMk/>
            <pc:sldMk cId="2000752625" sldId="3764"/>
            <ac:spMk id="6" creationId="{666E7CDA-A4AA-9FCA-079E-3FFC0C47C970}"/>
          </ac:spMkLst>
        </pc:spChg>
      </pc:sldChg>
      <pc:sldChg chg="addSp delSp modSp new mod ord">
        <pc:chgData name="Scott Sink" userId="007532c1-63dd-4f29-9932-df3a9735f490" providerId="ADAL" clId="{4E395113-EDD9-4523-BFC1-45F8993119F0}" dt="2023-06-27T04:00:40.754" v="8249" actId="20577"/>
        <pc:sldMkLst>
          <pc:docMk/>
          <pc:sldMk cId="3617298267" sldId="3765"/>
        </pc:sldMkLst>
        <pc:spChg chg="mod">
          <ac:chgData name="Scott Sink" userId="007532c1-63dd-4f29-9932-df3a9735f490" providerId="ADAL" clId="{4E395113-EDD9-4523-BFC1-45F8993119F0}" dt="2023-06-24T12:13:28.512" v="2672" actId="20577"/>
          <ac:spMkLst>
            <pc:docMk/>
            <pc:sldMk cId="3617298267" sldId="3765"/>
            <ac:spMk id="2" creationId="{5E610A0C-64D7-E922-6B60-22709B929B93}"/>
          </ac:spMkLst>
        </pc:spChg>
        <pc:spChg chg="del">
          <ac:chgData name="Scott Sink" userId="007532c1-63dd-4f29-9932-df3a9735f490" providerId="ADAL" clId="{4E395113-EDD9-4523-BFC1-45F8993119F0}" dt="2023-06-24T12:14:45.532" v="2673" actId="1032"/>
          <ac:spMkLst>
            <pc:docMk/>
            <pc:sldMk cId="3617298267" sldId="3765"/>
            <ac:spMk id="3" creationId="{1533DAEE-6B40-9A9C-6F35-527B080F6668}"/>
          </ac:spMkLst>
        </pc:spChg>
        <pc:spChg chg="add mod">
          <ac:chgData name="Scott Sink" userId="007532c1-63dd-4f29-9932-df3a9735f490" providerId="ADAL" clId="{4E395113-EDD9-4523-BFC1-45F8993119F0}" dt="2023-06-27T03:58:12.823" v="8123" actId="20577"/>
          <ac:spMkLst>
            <pc:docMk/>
            <pc:sldMk cId="3617298267" sldId="3765"/>
            <ac:spMk id="5" creationId="{66BC73AD-11F1-408A-4B23-AF1CE31EAC93}"/>
          </ac:spMkLst>
        </pc:spChg>
        <pc:spChg chg="add mod">
          <ac:chgData name="Scott Sink" userId="007532c1-63dd-4f29-9932-df3a9735f490" providerId="ADAL" clId="{4E395113-EDD9-4523-BFC1-45F8993119F0}" dt="2023-06-27T03:53:56.568" v="8006" actId="20577"/>
          <ac:spMkLst>
            <pc:docMk/>
            <pc:sldMk cId="3617298267" sldId="3765"/>
            <ac:spMk id="6" creationId="{76155232-D33C-3877-4101-8AF9FDC35278}"/>
          </ac:spMkLst>
        </pc:spChg>
        <pc:spChg chg="add mod">
          <ac:chgData name="Scott Sink" userId="007532c1-63dd-4f29-9932-df3a9735f490" providerId="ADAL" clId="{4E395113-EDD9-4523-BFC1-45F8993119F0}" dt="2023-06-27T03:59:34.980" v="8166" actId="20577"/>
          <ac:spMkLst>
            <pc:docMk/>
            <pc:sldMk cId="3617298267" sldId="3765"/>
            <ac:spMk id="7" creationId="{F06D404F-9D85-5155-26BB-56179FD9D642}"/>
          </ac:spMkLst>
        </pc:spChg>
        <pc:spChg chg="add mod">
          <ac:chgData name="Scott Sink" userId="007532c1-63dd-4f29-9932-df3a9735f490" providerId="ADAL" clId="{4E395113-EDD9-4523-BFC1-45F8993119F0}" dt="2023-06-27T03:59:27.196" v="8156" actId="20577"/>
          <ac:spMkLst>
            <pc:docMk/>
            <pc:sldMk cId="3617298267" sldId="3765"/>
            <ac:spMk id="8" creationId="{FF4E3801-CA9D-4969-AC4A-6107AF1069A2}"/>
          </ac:spMkLst>
        </pc:spChg>
        <pc:spChg chg="add mod">
          <ac:chgData name="Scott Sink" userId="007532c1-63dd-4f29-9932-df3a9735f490" providerId="ADAL" clId="{4E395113-EDD9-4523-BFC1-45F8993119F0}" dt="2023-06-27T03:58:54.741" v="8141" actId="14100"/>
          <ac:spMkLst>
            <pc:docMk/>
            <pc:sldMk cId="3617298267" sldId="3765"/>
            <ac:spMk id="9" creationId="{8C86B1CA-2094-2C68-B0DE-19E41B089C57}"/>
          </ac:spMkLst>
        </pc:spChg>
        <pc:spChg chg="add mod">
          <ac:chgData name="Scott Sink" userId="007532c1-63dd-4f29-9932-df3a9735f490" providerId="ADAL" clId="{4E395113-EDD9-4523-BFC1-45F8993119F0}" dt="2023-06-27T04:00:40.754" v="8249" actId="20577"/>
          <ac:spMkLst>
            <pc:docMk/>
            <pc:sldMk cId="3617298267" sldId="3765"/>
            <ac:spMk id="10" creationId="{0A038483-329D-F83F-F421-EE7009B45F4D}"/>
          </ac:spMkLst>
        </pc:spChg>
        <pc:spChg chg="add mod">
          <ac:chgData name="Scott Sink" userId="007532c1-63dd-4f29-9932-df3a9735f490" providerId="ADAL" clId="{4E395113-EDD9-4523-BFC1-45F8993119F0}" dt="2023-06-27T03:53:42.152" v="8004" actId="20577"/>
          <ac:spMkLst>
            <pc:docMk/>
            <pc:sldMk cId="3617298267" sldId="3765"/>
            <ac:spMk id="11" creationId="{AEB60075-E5A2-CEF7-C15D-E5B4324C1722}"/>
          </ac:spMkLst>
        </pc:spChg>
        <pc:spChg chg="add mod">
          <ac:chgData name="Scott Sink" userId="007532c1-63dd-4f29-9932-df3a9735f490" providerId="ADAL" clId="{4E395113-EDD9-4523-BFC1-45F8993119F0}" dt="2023-06-27T03:55:34.518" v="8073" actId="207"/>
          <ac:spMkLst>
            <pc:docMk/>
            <pc:sldMk cId="3617298267" sldId="3765"/>
            <ac:spMk id="12" creationId="{B0986CA7-B3E5-EC20-A95F-E0171AFBCA63}"/>
          </ac:spMkLst>
        </pc:spChg>
        <pc:graphicFrameChg chg="add mod modGraphic">
          <ac:chgData name="Scott Sink" userId="007532c1-63dd-4f29-9932-df3a9735f490" providerId="ADAL" clId="{4E395113-EDD9-4523-BFC1-45F8993119F0}" dt="2023-06-27T03:54:38.227" v="8051"/>
          <ac:graphicFrameMkLst>
            <pc:docMk/>
            <pc:sldMk cId="3617298267" sldId="3765"/>
            <ac:graphicFrameMk id="4" creationId="{17842211-7447-E467-2C28-EF8008ACBDF6}"/>
          </ac:graphicFrameMkLst>
        </pc:graphicFrameChg>
      </pc:sldChg>
      <pc:sldChg chg="modSp new del mod ord">
        <pc:chgData name="Scott Sink" userId="007532c1-63dd-4f29-9932-df3a9735f490" providerId="ADAL" clId="{4E395113-EDD9-4523-BFC1-45F8993119F0}" dt="2023-06-25T08:49:43.635" v="3448" actId="47"/>
        <pc:sldMkLst>
          <pc:docMk/>
          <pc:sldMk cId="1382166508" sldId="3766"/>
        </pc:sldMkLst>
        <pc:spChg chg="mod">
          <ac:chgData name="Scott Sink" userId="007532c1-63dd-4f29-9932-df3a9735f490" providerId="ADAL" clId="{4E395113-EDD9-4523-BFC1-45F8993119F0}" dt="2023-06-25T08:45:46.919" v="3319" actId="1076"/>
          <ac:spMkLst>
            <pc:docMk/>
            <pc:sldMk cId="1382166508" sldId="3766"/>
            <ac:spMk id="2" creationId="{9B545EF0-7E9B-1EC9-9965-CB2AFD201B52}"/>
          </ac:spMkLst>
        </pc:spChg>
      </pc:sldChg>
      <pc:sldChg chg="add">
        <pc:chgData name="Scott Sink" userId="007532c1-63dd-4f29-9932-df3a9735f490" providerId="ADAL" clId="{4E395113-EDD9-4523-BFC1-45F8993119F0}" dt="2023-06-25T08:46:38.876" v="3321"/>
        <pc:sldMkLst>
          <pc:docMk/>
          <pc:sldMk cId="2295522465" sldId="3767"/>
        </pc:sldMkLst>
      </pc:sldChg>
      <pc:sldChg chg="addSp modSp add mod ord">
        <pc:chgData name="Scott Sink" userId="007532c1-63dd-4f29-9932-df3a9735f490" providerId="ADAL" clId="{4E395113-EDD9-4523-BFC1-45F8993119F0}" dt="2023-06-26T07:49:58.436" v="5423"/>
        <pc:sldMkLst>
          <pc:docMk/>
          <pc:sldMk cId="1200824711" sldId="3768"/>
        </pc:sldMkLst>
        <pc:spChg chg="mod">
          <ac:chgData name="Scott Sink" userId="007532c1-63dd-4f29-9932-df3a9735f490" providerId="ADAL" clId="{4E395113-EDD9-4523-BFC1-45F8993119F0}" dt="2023-06-25T08:54:45.512" v="3827" actId="207"/>
          <ac:spMkLst>
            <pc:docMk/>
            <pc:sldMk cId="1200824711" sldId="3768"/>
            <ac:spMk id="2" creationId="{00000000-0000-0000-0000-000000000000}"/>
          </ac:spMkLst>
        </pc:spChg>
        <pc:spChg chg="add mod">
          <ac:chgData name="Scott Sink" userId="007532c1-63dd-4f29-9932-df3a9735f490" providerId="ADAL" clId="{4E395113-EDD9-4523-BFC1-45F8993119F0}" dt="2023-06-25T08:55:33.761" v="3837" actId="1076"/>
          <ac:spMkLst>
            <pc:docMk/>
            <pc:sldMk cId="1200824711" sldId="3768"/>
            <ac:spMk id="3" creationId="{42700A28-6F82-22A9-E9ED-31FDC296AE43}"/>
          </ac:spMkLst>
        </pc:spChg>
        <pc:spChg chg="add mod">
          <ac:chgData name="Scott Sink" userId="007532c1-63dd-4f29-9932-df3a9735f490" providerId="ADAL" clId="{4E395113-EDD9-4523-BFC1-45F8993119F0}" dt="2023-06-25T08:55:28.682" v="3836" actId="1076"/>
          <ac:spMkLst>
            <pc:docMk/>
            <pc:sldMk cId="1200824711" sldId="3768"/>
            <ac:spMk id="4" creationId="{9562DA58-E6CA-4A86-BD9E-53EC2AE09F79}"/>
          </ac:spMkLst>
        </pc:spChg>
        <pc:spChg chg="add mod">
          <ac:chgData name="Scott Sink" userId="007532c1-63dd-4f29-9932-df3a9735f490" providerId="ADAL" clId="{4E395113-EDD9-4523-BFC1-45F8993119F0}" dt="2023-06-25T08:55:24.958" v="3835" actId="1076"/>
          <ac:spMkLst>
            <pc:docMk/>
            <pc:sldMk cId="1200824711" sldId="3768"/>
            <ac:spMk id="5" creationId="{C618778B-2A0B-5783-EBDD-C8764946F0D4}"/>
          </ac:spMkLst>
        </pc:spChg>
        <pc:spChg chg="mod">
          <ac:chgData name="Scott Sink" userId="007532c1-63dd-4f29-9932-df3a9735f490" providerId="ADAL" clId="{4E395113-EDD9-4523-BFC1-45F8993119F0}" dt="2023-06-25T08:54:22.330" v="3823" actId="1076"/>
          <ac:spMkLst>
            <pc:docMk/>
            <pc:sldMk cId="1200824711" sldId="3768"/>
            <ac:spMk id="6" creationId="{00000000-0000-0000-0000-000000000000}"/>
          </ac:spMkLst>
        </pc:spChg>
      </pc:sldChg>
      <pc:sldChg chg="new del">
        <pc:chgData name="Scott Sink" userId="007532c1-63dd-4f29-9932-df3a9735f490" providerId="ADAL" clId="{4E395113-EDD9-4523-BFC1-45F8993119F0}" dt="2023-06-25T08:59:27.989" v="3892" actId="680"/>
        <pc:sldMkLst>
          <pc:docMk/>
          <pc:sldMk cId="1294621474" sldId="3769"/>
        </pc:sldMkLst>
      </pc:sldChg>
      <pc:sldChg chg="modSp new mod ord">
        <pc:chgData name="Scott Sink" userId="007532c1-63dd-4f29-9932-df3a9735f490" providerId="ADAL" clId="{4E395113-EDD9-4523-BFC1-45F8993119F0}" dt="2023-06-25T09:05:13.492" v="4829" actId="20577"/>
        <pc:sldMkLst>
          <pc:docMk/>
          <pc:sldMk cId="3003368435" sldId="3769"/>
        </pc:sldMkLst>
        <pc:spChg chg="mod">
          <ac:chgData name="Scott Sink" userId="007532c1-63dd-4f29-9932-df3a9735f490" providerId="ADAL" clId="{4E395113-EDD9-4523-BFC1-45F8993119F0}" dt="2023-06-25T09:00:05.735" v="3943" actId="313"/>
          <ac:spMkLst>
            <pc:docMk/>
            <pc:sldMk cId="3003368435" sldId="3769"/>
            <ac:spMk id="2" creationId="{AF1FF507-B64B-8A79-FD85-5AA021D37746}"/>
          </ac:spMkLst>
        </pc:spChg>
        <pc:spChg chg="mod">
          <ac:chgData name="Scott Sink" userId="007532c1-63dd-4f29-9932-df3a9735f490" providerId="ADAL" clId="{4E395113-EDD9-4523-BFC1-45F8993119F0}" dt="2023-06-25T09:05:13.492" v="4829" actId="20577"/>
          <ac:spMkLst>
            <pc:docMk/>
            <pc:sldMk cId="3003368435" sldId="3769"/>
            <ac:spMk id="3" creationId="{55AAEC9A-5DCE-3A2A-5DD1-68A248E8896E}"/>
          </ac:spMkLst>
        </pc:spChg>
      </pc:sldChg>
      <pc:sldChg chg="modSp new mod ord">
        <pc:chgData name="Scott Sink" userId="007532c1-63dd-4f29-9932-df3a9735f490" providerId="ADAL" clId="{4E395113-EDD9-4523-BFC1-45F8993119F0}" dt="2023-06-25T09:09:23.427" v="5203" actId="20577"/>
        <pc:sldMkLst>
          <pc:docMk/>
          <pc:sldMk cId="3867225243" sldId="3770"/>
        </pc:sldMkLst>
        <pc:spChg chg="mod">
          <ac:chgData name="Scott Sink" userId="007532c1-63dd-4f29-9932-df3a9735f490" providerId="ADAL" clId="{4E395113-EDD9-4523-BFC1-45F8993119F0}" dt="2023-06-25T09:07:53.899" v="4919" actId="20577"/>
          <ac:spMkLst>
            <pc:docMk/>
            <pc:sldMk cId="3867225243" sldId="3770"/>
            <ac:spMk id="2" creationId="{593CD3CE-4E40-582D-684A-B2863093C2C6}"/>
          </ac:spMkLst>
        </pc:spChg>
        <pc:spChg chg="mod">
          <ac:chgData name="Scott Sink" userId="007532c1-63dd-4f29-9932-df3a9735f490" providerId="ADAL" clId="{4E395113-EDD9-4523-BFC1-45F8993119F0}" dt="2023-06-25T09:09:23.427" v="5203" actId="20577"/>
          <ac:spMkLst>
            <pc:docMk/>
            <pc:sldMk cId="3867225243" sldId="3770"/>
            <ac:spMk id="3" creationId="{D5790221-F27E-7DA0-6D95-0335E6980237}"/>
          </ac:spMkLst>
        </pc:spChg>
      </pc:sldChg>
      <pc:sldChg chg="add del">
        <pc:chgData name="Scott Sink" userId="007532c1-63dd-4f29-9932-df3a9735f490" providerId="ADAL" clId="{4E395113-EDD9-4523-BFC1-45F8993119F0}" dt="2023-06-25T09:06:29.424" v="4833" actId="27028"/>
        <pc:sldMkLst>
          <pc:docMk/>
          <pc:sldMk cId="1521061884" sldId="3771"/>
        </pc:sldMkLst>
      </pc:sldChg>
      <pc:sldChg chg="add">
        <pc:chgData name="Scott Sink" userId="007532c1-63dd-4f29-9932-df3a9735f490" providerId="ADAL" clId="{4E395113-EDD9-4523-BFC1-45F8993119F0}" dt="2023-06-26T07:52:16.167" v="5437"/>
        <pc:sldMkLst>
          <pc:docMk/>
          <pc:sldMk cId="3507596488" sldId="3771"/>
        </pc:sldMkLst>
      </pc:sldChg>
      <pc:sldChg chg="add ord">
        <pc:chgData name="Scott Sink" userId="007532c1-63dd-4f29-9932-df3a9735f490" providerId="ADAL" clId="{4E395113-EDD9-4523-BFC1-45F8993119F0}" dt="2023-06-26T07:52:49.911" v="5443"/>
        <pc:sldMkLst>
          <pc:docMk/>
          <pc:sldMk cId="476150997" sldId="3772"/>
        </pc:sldMkLst>
      </pc:sldChg>
      <pc:sldChg chg="add">
        <pc:chgData name="Scott Sink" userId="007532c1-63dd-4f29-9932-df3a9735f490" providerId="ADAL" clId="{4E395113-EDD9-4523-BFC1-45F8993119F0}" dt="2023-06-26T07:52:55.342" v="5445"/>
        <pc:sldMkLst>
          <pc:docMk/>
          <pc:sldMk cId="4101336632" sldId="3773"/>
        </pc:sldMkLst>
      </pc:sldChg>
      <pc:sldChg chg="add">
        <pc:chgData name="Scott Sink" userId="007532c1-63dd-4f29-9932-df3a9735f490" providerId="ADAL" clId="{4E395113-EDD9-4523-BFC1-45F8993119F0}" dt="2023-06-26T07:53:17.256" v="5447"/>
        <pc:sldMkLst>
          <pc:docMk/>
          <pc:sldMk cId="3494568544" sldId="3774"/>
        </pc:sldMkLst>
      </pc:sldChg>
      <pc:sldChg chg="addSp delSp modSp new mod">
        <pc:chgData name="Scott Sink" userId="007532c1-63dd-4f29-9932-df3a9735f490" providerId="ADAL" clId="{4E395113-EDD9-4523-BFC1-45F8993119F0}" dt="2023-06-26T08:00:22.426" v="5494" actId="207"/>
        <pc:sldMkLst>
          <pc:docMk/>
          <pc:sldMk cId="2085349873" sldId="3775"/>
        </pc:sldMkLst>
        <pc:spChg chg="mod">
          <ac:chgData name="Scott Sink" userId="007532c1-63dd-4f29-9932-df3a9735f490" providerId="ADAL" clId="{4E395113-EDD9-4523-BFC1-45F8993119F0}" dt="2023-06-26T07:59:49.631" v="5470" actId="20577"/>
          <ac:spMkLst>
            <pc:docMk/>
            <pc:sldMk cId="2085349873" sldId="3775"/>
            <ac:spMk id="2" creationId="{ADB9CE8B-8BA0-98BB-BB5A-A7FC429E8F3B}"/>
          </ac:spMkLst>
        </pc:spChg>
        <pc:spChg chg="del">
          <ac:chgData name="Scott Sink" userId="007532c1-63dd-4f29-9932-df3a9735f490" providerId="ADAL" clId="{4E395113-EDD9-4523-BFC1-45F8993119F0}" dt="2023-06-26T07:59:40.727" v="5449"/>
          <ac:spMkLst>
            <pc:docMk/>
            <pc:sldMk cId="2085349873" sldId="3775"/>
            <ac:spMk id="3" creationId="{1D70B782-11B7-D47A-0DD8-631A9AF65AD0}"/>
          </ac:spMkLst>
        </pc:spChg>
        <pc:spChg chg="add mod">
          <ac:chgData name="Scott Sink" userId="007532c1-63dd-4f29-9932-df3a9735f490" providerId="ADAL" clId="{4E395113-EDD9-4523-BFC1-45F8993119F0}" dt="2023-06-26T08:00:22.426" v="5494" actId="207"/>
          <ac:spMkLst>
            <pc:docMk/>
            <pc:sldMk cId="2085349873" sldId="3775"/>
            <ac:spMk id="6" creationId="{D9E52E83-DBB2-3605-89E2-2128353FB394}"/>
          </ac:spMkLst>
        </pc:spChg>
        <pc:picChg chg="add mod">
          <ac:chgData name="Scott Sink" userId="007532c1-63dd-4f29-9932-df3a9735f490" providerId="ADAL" clId="{4E395113-EDD9-4523-BFC1-45F8993119F0}" dt="2023-06-26T07:59:43.815" v="5450" actId="27614"/>
          <ac:picMkLst>
            <pc:docMk/>
            <pc:sldMk cId="2085349873" sldId="3775"/>
            <ac:picMk id="5" creationId="{FF1CE1E0-226B-BA15-60FA-207E4A2D29DC}"/>
          </ac:picMkLst>
        </pc:picChg>
      </pc:sldChg>
      <pc:sldChg chg="addSp delSp modSp add mod ord">
        <pc:chgData name="Scott Sink" userId="007532c1-63dd-4f29-9932-df3a9735f490" providerId="ADAL" clId="{4E395113-EDD9-4523-BFC1-45F8993119F0}" dt="2023-06-26T08:10:08.067" v="5823" actId="208"/>
        <pc:sldMkLst>
          <pc:docMk/>
          <pc:sldMk cId="2631079649" sldId="3776"/>
        </pc:sldMkLst>
        <pc:spChg chg="mod">
          <ac:chgData name="Scott Sink" userId="007532c1-63dd-4f29-9932-df3a9735f490" providerId="ADAL" clId="{4E395113-EDD9-4523-BFC1-45F8993119F0}" dt="2023-06-26T08:08:58.037" v="5816" actId="1076"/>
          <ac:spMkLst>
            <pc:docMk/>
            <pc:sldMk cId="2631079649" sldId="3776"/>
            <ac:spMk id="2" creationId="{00000000-0000-0000-0000-000000000000}"/>
          </ac:spMkLst>
        </pc:spChg>
        <pc:spChg chg="del">
          <ac:chgData name="Scott Sink" userId="007532c1-63dd-4f29-9932-df3a9735f490" providerId="ADAL" clId="{4E395113-EDD9-4523-BFC1-45F8993119F0}" dt="2023-06-26T08:01:34.147" v="5506" actId="478"/>
          <ac:spMkLst>
            <pc:docMk/>
            <pc:sldMk cId="2631079649" sldId="3776"/>
            <ac:spMk id="3" creationId="{C1764838-A0B5-4E58-B7BF-C4C82F4AC87C}"/>
          </ac:spMkLst>
        </pc:spChg>
        <pc:spChg chg="del">
          <ac:chgData name="Scott Sink" userId="007532c1-63dd-4f29-9932-df3a9735f490" providerId="ADAL" clId="{4E395113-EDD9-4523-BFC1-45F8993119F0}" dt="2023-06-26T08:01:02.561" v="5501" actId="478"/>
          <ac:spMkLst>
            <pc:docMk/>
            <pc:sldMk cId="2631079649" sldId="3776"/>
            <ac:spMk id="4" creationId="{00000000-0000-0000-0000-000000000000}"/>
          </ac:spMkLst>
        </pc:spChg>
        <pc:spChg chg="del">
          <ac:chgData name="Scott Sink" userId="007532c1-63dd-4f29-9932-df3a9735f490" providerId="ADAL" clId="{4E395113-EDD9-4523-BFC1-45F8993119F0}" dt="2023-06-26T08:01:14.532" v="5505" actId="478"/>
          <ac:spMkLst>
            <pc:docMk/>
            <pc:sldMk cId="2631079649" sldId="3776"/>
            <ac:spMk id="5" creationId="{7364D400-C3D8-A538-A517-DC599D21774A}"/>
          </ac:spMkLst>
        </pc:spChg>
        <pc:spChg chg="add del mod">
          <ac:chgData name="Scott Sink" userId="007532c1-63dd-4f29-9932-df3a9735f490" providerId="ADAL" clId="{4E395113-EDD9-4523-BFC1-45F8993119F0}" dt="2023-06-26T08:01:06.543" v="5503" actId="478"/>
          <ac:spMkLst>
            <pc:docMk/>
            <pc:sldMk cId="2631079649" sldId="3776"/>
            <ac:spMk id="7" creationId="{B74EDD7A-36AD-0E50-DC66-9538041B710E}"/>
          </ac:spMkLst>
        </pc:spChg>
        <pc:spChg chg="del">
          <ac:chgData name="Scott Sink" userId="007532c1-63dd-4f29-9932-df3a9735f490" providerId="ADAL" clId="{4E395113-EDD9-4523-BFC1-45F8993119F0}" dt="2023-06-26T08:01:03.858" v="5502" actId="478"/>
          <ac:spMkLst>
            <pc:docMk/>
            <pc:sldMk cId="2631079649" sldId="3776"/>
            <ac:spMk id="11" creationId="{00000000-0000-0000-0000-000000000000}"/>
          </ac:spMkLst>
        </pc:spChg>
        <pc:spChg chg="del">
          <ac:chgData name="Scott Sink" userId="007532c1-63dd-4f29-9932-df3a9735f490" providerId="ADAL" clId="{4E395113-EDD9-4523-BFC1-45F8993119F0}" dt="2023-06-26T08:01:52.830" v="5509" actId="478"/>
          <ac:spMkLst>
            <pc:docMk/>
            <pc:sldMk cId="2631079649" sldId="3776"/>
            <ac:spMk id="12" creationId="{00000000-0000-0000-0000-000000000000}"/>
          </ac:spMkLst>
        </pc:spChg>
        <pc:spChg chg="del">
          <ac:chgData name="Scott Sink" userId="007532c1-63dd-4f29-9932-df3a9735f490" providerId="ADAL" clId="{4E395113-EDD9-4523-BFC1-45F8993119F0}" dt="2023-06-26T08:01:01.255" v="5500" actId="478"/>
          <ac:spMkLst>
            <pc:docMk/>
            <pc:sldMk cId="2631079649" sldId="3776"/>
            <ac:spMk id="14" creationId="{00000000-0000-0000-0000-000000000000}"/>
          </ac:spMkLst>
        </pc:spChg>
        <pc:spChg chg="add del mod">
          <ac:chgData name="Scott Sink" userId="007532c1-63dd-4f29-9932-df3a9735f490" providerId="ADAL" clId="{4E395113-EDD9-4523-BFC1-45F8993119F0}" dt="2023-06-26T08:01:55.932" v="5510" actId="478"/>
          <ac:spMkLst>
            <pc:docMk/>
            <pc:sldMk cId="2631079649" sldId="3776"/>
            <ac:spMk id="15" creationId="{28618C74-844D-073B-8702-10363EBC6561}"/>
          </ac:spMkLst>
        </pc:spChg>
        <pc:spChg chg="add del mod">
          <ac:chgData name="Scott Sink" userId="007532c1-63dd-4f29-9932-df3a9735f490" providerId="ADAL" clId="{4E395113-EDD9-4523-BFC1-45F8993119F0}" dt="2023-06-26T08:08:36.186" v="5811" actId="478"/>
          <ac:spMkLst>
            <pc:docMk/>
            <pc:sldMk cId="2631079649" sldId="3776"/>
            <ac:spMk id="16" creationId="{618E5117-679C-7881-CDD2-D45C9B827445}"/>
          </ac:spMkLst>
        </pc:spChg>
        <pc:spChg chg="add mod">
          <ac:chgData name="Scott Sink" userId="007532c1-63dd-4f29-9932-df3a9735f490" providerId="ADAL" clId="{4E395113-EDD9-4523-BFC1-45F8993119F0}" dt="2023-06-26T08:09:30.373" v="5820" actId="208"/>
          <ac:spMkLst>
            <pc:docMk/>
            <pc:sldMk cId="2631079649" sldId="3776"/>
            <ac:spMk id="17" creationId="{4BBA982A-5BAD-003F-031F-88EA8CE3ADF4}"/>
          </ac:spMkLst>
        </pc:spChg>
        <pc:grpChg chg="add mod">
          <ac:chgData name="Scott Sink" userId="007532c1-63dd-4f29-9932-df3a9735f490" providerId="ADAL" clId="{4E395113-EDD9-4523-BFC1-45F8993119F0}" dt="2023-06-26T08:01:50.812" v="5508" actId="1076"/>
          <ac:grpSpMkLst>
            <pc:docMk/>
            <pc:sldMk cId="2631079649" sldId="3776"/>
            <ac:grpSpMk id="8" creationId="{DE4AD7B0-743F-77E3-D34D-15E7BE3B7598}"/>
          </ac:grpSpMkLst>
        </pc:grpChg>
        <pc:picChg chg="mod">
          <ac:chgData name="Scott Sink" userId="007532c1-63dd-4f29-9932-df3a9735f490" providerId="ADAL" clId="{4E395113-EDD9-4523-BFC1-45F8993119F0}" dt="2023-06-26T08:01:47.489" v="5507" actId="164"/>
          <ac:picMkLst>
            <pc:docMk/>
            <pc:sldMk cId="2631079649" sldId="3776"/>
            <ac:picMk id="1026" creationId="{00000000-0000-0000-0000-000000000000}"/>
          </ac:picMkLst>
        </pc:picChg>
        <pc:picChg chg="del">
          <ac:chgData name="Scott Sink" userId="007532c1-63dd-4f29-9932-df3a9735f490" providerId="ADAL" clId="{4E395113-EDD9-4523-BFC1-45F8993119F0}" dt="2023-06-26T08:01:12.864" v="5504" actId="478"/>
          <ac:picMkLst>
            <pc:docMk/>
            <pc:sldMk cId="2631079649" sldId="3776"/>
            <ac:picMk id="30722" creationId="{00000000-0000-0000-0000-000000000000}"/>
          </ac:picMkLst>
        </pc:picChg>
        <pc:cxnChg chg="mod">
          <ac:chgData name="Scott Sink" userId="007532c1-63dd-4f29-9932-df3a9735f490" providerId="ADAL" clId="{4E395113-EDD9-4523-BFC1-45F8993119F0}" dt="2023-06-26T08:01:47.489" v="5507" actId="164"/>
          <ac:cxnSpMkLst>
            <pc:docMk/>
            <pc:sldMk cId="2631079649" sldId="3776"/>
            <ac:cxnSpMk id="9" creationId="{00000000-0000-0000-0000-000000000000}"/>
          </ac:cxnSpMkLst>
        </pc:cxnChg>
        <pc:cxnChg chg="mod">
          <ac:chgData name="Scott Sink" userId="007532c1-63dd-4f29-9932-df3a9735f490" providerId="ADAL" clId="{4E395113-EDD9-4523-BFC1-45F8993119F0}" dt="2023-06-26T08:01:47.489" v="5507" actId="164"/>
          <ac:cxnSpMkLst>
            <pc:docMk/>
            <pc:sldMk cId="2631079649" sldId="3776"/>
            <ac:cxnSpMk id="13" creationId="{00000000-0000-0000-0000-000000000000}"/>
          </ac:cxnSpMkLst>
        </pc:cxnChg>
        <pc:cxnChg chg="add mod">
          <ac:chgData name="Scott Sink" userId="007532c1-63dd-4f29-9932-df3a9735f490" providerId="ADAL" clId="{4E395113-EDD9-4523-BFC1-45F8993119F0}" dt="2023-06-26T08:10:08.067" v="5823" actId="208"/>
          <ac:cxnSpMkLst>
            <pc:docMk/>
            <pc:sldMk cId="2631079649" sldId="3776"/>
            <ac:cxnSpMk id="19" creationId="{97EEADE4-1322-F1CF-B424-170ABD53FC91}"/>
          </ac:cxnSpMkLst>
        </pc:cxnChg>
      </pc:sldChg>
      <pc:sldChg chg="addSp delSp modSp new del mod">
        <pc:chgData name="Scott Sink" userId="007532c1-63dd-4f29-9932-df3a9735f490" providerId="ADAL" clId="{4E395113-EDD9-4523-BFC1-45F8993119F0}" dt="2023-06-26T08:15:41.661" v="6140" actId="47"/>
        <pc:sldMkLst>
          <pc:docMk/>
          <pc:sldMk cId="4185868653" sldId="3777"/>
        </pc:sldMkLst>
        <pc:spChg chg="del">
          <ac:chgData name="Scott Sink" userId="007532c1-63dd-4f29-9932-df3a9735f490" providerId="ADAL" clId="{4E395113-EDD9-4523-BFC1-45F8993119F0}" dt="2023-06-26T08:07:38.428" v="5798" actId="478"/>
          <ac:spMkLst>
            <pc:docMk/>
            <pc:sldMk cId="4185868653" sldId="3777"/>
            <ac:spMk id="2" creationId="{06AC4844-C726-3E7B-9900-2D16C556189B}"/>
          </ac:spMkLst>
        </pc:spChg>
        <pc:spChg chg="del mod">
          <ac:chgData name="Scott Sink" userId="007532c1-63dd-4f29-9932-df3a9735f490" providerId="ADAL" clId="{4E395113-EDD9-4523-BFC1-45F8993119F0}" dt="2023-06-26T08:07:34.780" v="5796" actId="478"/>
          <ac:spMkLst>
            <pc:docMk/>
            <pc:sldMk cId="4185868653" sldId="3777"/>
            <ac:spMk id="3" creationId="{8FC44E01-191B-0E8C-84A1-70883D6BB2C3}"/>
          </ac:spMkLst>
        </pc:spChg>
        <pc:spChg chg="del mod">
          <ac:chgData name="Scott Sink" userId="007532c1-63dd-4f29-9932-df3a9735f490" providerId="ADAL" clId="{4E395113-EDD9-4523-BFC1-45F8993119F0}" dt="2023-06-26T08:07:36.611" v="5797" actId="478"/>
          <ac:spMkLst>
            <pc:docMk/>
            <pc:sldMk cId="4185868653" sldId="3777"/>
            <ac:spMk id="4" creationId="{934998F4-A64D-DBE4-4674-D366010E0116}"/>
          </ac:spMkLst>
        </pc:spChg>
        <pc:spChg chg="add del mod">
          <ac:chgData name="Scott Sink" userId="007532c1-63dd-4f29-9932-df3a9735f490" providerId="ADAL" clId="{4E395113-EDD9-4523-BFC1-45F8993119F0}" dt="2023-06-26T08:08:33.019" v="5810" actId="21"/>
          <ac:spMkLst>
            <pc:docMk/>
            <pc:sldMk cId="4185868653" sldId="3777"/>
            <ac:spMk id="6" creationId="{57737F45-2329-8BBD-2D77-ED2081BF6B91}"/>
          </ac:spMkLst>
        </pc:spChg>
      </pc:sldChg>
      <pc:sldChg chg="modSp add mod">
        <pc:chgData name="Scott Sink" userId="007532c1-63dd-4f29-9932-df3a9735f490" providerId="ADAL" clId="{4E395113-EDD9-4523-BFC1-45F8993119F0}" dt="2023-06-26T08:27:49.458" v="6292" actId="20577"/>
        <pc:sldMkLst>
          <pc:docMk/>
          <pc:sldMk cId="195917703" sldId="3778"/>
        </pc:sldMkLst>
        <pc:spChg chg="mod">
          <ac:chgData name="Scott Sink" userId="007532c1-63dd-4f29-9932-df3a9735f490" providerId="ADAL" clId="{4E395113-EDD9-4523-BFC1-45F8993119F0}" dt="2023-06-26T08:27:49.458" v="6292" actId="20577"/>
          <ac:spMkLst>
            <pc:docMk/>
            <pc:sldMk cId="195917703" sldId="3778"/>
            <ac:spMk id="16" creationId="{618E5117-679C-7881-CDD2-D45C9B827445}"/>
          </ac:spMkLst>
        </pc:spChg>
      </pc:sldChg>
      <pc:sldChg chg="addSp modSp add mod ord modClrScheme chgLayout">
        <pc:chgData name="Scott Sink" userId="007532c1-63dd-4f29-9932-df3a9735f490" providerId="ADAL" clId="{4E395113-EDD9-4523-BFC1-45F8993119F0}" dt="2023-06-26T08:47:24.920" v="6737" actId="14100"/>
        <pc:sldMkLst>
          <pc:docMk/>
          <pc:sldMk cId="284347580" sldId="3779"/>
        </pc:sldMkLst>
        <pc:spChg chg="mod ord">
          <ac:chgData name="Scott Sink" userId="007532c1-63dd-4f29-9932-df3a9735f490" providerId="ADAL" clId="{4E395113-EDD9-4523-BFC1-45F8993119F0}" dt="2023-06-26T08:44:34.150" v="6580" actId="700"/>
          <ac:spMkLst>
            <pc:docMk/>
            <pc:sldMk cId="284347580" sldId="3779"/>
            <ac:spMk id="2" creationId="{7C8C26E6-3350-4865-A14B-03CF02633AAC}"/>
          </ac:spMkLst>
        </pc:spChg>
        <pc:spChg chg="mod ord">
          <ac:chgData name="Scott Sink" userId="007532c1-63dd-4f29-9932-df3a9735f490" providerId="ADAL" clId="{4E395113-EDD9-4523-BFC1-45F8993119F0}" dt="2023-06-26T08:47:24.920" v="6737" actId="14100"/>
          <ac:spMkLst>
            <pc:docMk/>
            <pc:sldMk cId="284347580" sldId="3779"/>
            <ac:spMk id="3" creationId="{CCFD47DC-3641-497A-BDCA-68E0D4603255}"/>
          </ac:spMkLst>
        </pc:spChg>
        <pc:spChg chg="add mod">
          <ac:chgData name="Scott Sink" userId="007532c1-63dd-4f29-9932-df3a9735f490" providerId="ADAL" clId="{4E395113-EDD9-4523-BFC1-45F8993119F0}" dt="2023-06-26T08:47:05.494" v="6735" actId="20577"/>
          <ac:spMkLst>
            <pc:docMk/>
            <pc:sldMk cId="284347580" sldId="3779"/>
            <ac:spMk id="4" creationId="{74B21141-8C00-AA9C-6278-2C6E5E871395}"/>
          </ac:spMkLst>
        </pc:spChg>
        <pc:spChg chg="mod">
          <ac:chgData name="Scott Sink" userId="007532c1-63dd-4f29-9932-df3a9735f490" providerId="ADAL" clId="{4E395113-EDD9-4523-BFC1-45F8993119F0}" dt="2023-06-26T08:45:47.912" v="6649" actId="20577"/>
          <ac:spMkLst>
            <pc:docMk/>
            <pc:sldMk cId="284347580" sldId="3779"/>
            <ac:spMk id="14" creationId="{C3C0E0E2-839F-4DEE-8A62-5268E680AAE6}"/>
          </ac:spMkLst>
        </pc:spChg>
      </pc:sldChg>
      <pc:sldChg chg="add ord">
        <pc:chgData name="Scott Sink" userId="007532c1-63dd-4f29-9932-df3a9735f490" providerId="ADAL" clId="{4E395113-EDD9-4523-BFC1-45F8993119F0}" dt="2023-06-26T08:48:27.662" v="6745"/>
        <pc:sldMkLst>
          <pc:docMk/>
          <pc:sldMk cId="613625542" sldId="3780"/>
        </pc:sldMkLst>
      </pc:sldChg>
      <pc:sldChg chg="addSp modSp add mod ord modAnim">
        <pc:chgData name="Scott Sink" userId="007532c1-63dd-4f29-9932-df3a9735f490" providerId="ADAL" clId="{4E395113-EDD9-4523-BFC1-45F8993119F0}" dt="2023-06-26T08:47:57.049" v="6741"/>
        <pc:sldMkLst>
          <pc:docMk/>
          <pc:sldMk cId="4081536244" sldId="3781"/>
        </pc:sldMkLst>
        <pc:spChg chg="mod">
          <ac:chgData name="Scott Sink" userId="007532c1-63dd-4f29-9932-df3a9735f490" providerId="ADAL" clId="{4E395113-EDD9-4523-BFC1-45F8993119F0}" dt="2023-06-26T08:36:44.272" v="6339" actId="20577"/>
          <ac:spMkLst>
            <pc:docMk/>
            <pc:sldMk cId="4081536244" sldId="3781"/>
            <ac:spMk id="2" creationId="{5934B479-7D20-4B2C-A178-A8D3B6BF8C2D}"/>
          </ac:spMkLst>
        </pc:spChg>
        <pc:spChg chg="mod">
          <ac:chgData name="Scott Sink" userId="007532c1-63dd-4f29-9932-df3a9735f490" providerId="ADAL" clId="{4E395113-EDD9-4523-BFC1-45F8993119F0}" dt="2023-06-26T08:38:46.047" v="6567" actId="20577"/>
          <ac:spMkLst>
            <pc:docMk/>
            <pc:sldMk cId="4081536244" sldId="3781"/>
            <ac:spMk id="7" creationId="{850192B2-37FE-43C1-8B2F-517B85A1042F}"/>
          </ac:spMkLst>
        </pc:spChg>
        <pc:picChg chg="add mod">
          <ac:chgData name="Scott Sink" userId="007532c1-63dd-4f29-9932-df3a9735f490" providerId="ADAL" clId="{4E395113-EDD9-4523-BFC1-45F8993119F0}" dt="2023-06-26T08:39:20.073" v="6573" actId="1076"/>
          <ac:picMkLst>
            <pc:docMk/>
            <pc:sldMk cId="4081536244" sldId="3781"/>
            <ac:picMk id="3" creationId="{EAEEF990-513B-9C8E-75D0-10ABFB7EDA2B}"/>
          </ac:picMkLst>
        </pc:picChg>
        <pc:picChg chg="mod">
          <ac:chgData name="Scott Sink" userId="007532c1-63dd-4f29-9932-df3a9735f490" providerId="ADAL" clId="{4E395113-EDD9-4523-BFC1-45F8993119F0}" dt="2023-06-26T08:37:03.501" v="6344" actId="1076"/>
          <ac:picMkLst>
            <pc:docMk/>
            <pc:sldMk cId="4081536244" sldId="3781"/>
            <ac:picMk id="6" creationId="{867C6A1E-59F4-47B5-A8FE-F39DE644AC78}"/>
          </ac:picMkLst>
        </pc:picChg>
        <pc:picChg chg="mod">
          <ac:chgData name="Scott Sink" userId="007532c1-63dd-4f29-9932-df3a9735f490" providerId="ADAL" clId="{4E395113-EDD9-4523-BFC1-45F8993119F0}" dt="2023-06-26T08:39:16.464" v="6572" actId="1076"/>
          <ac:picMkLst>
            <pc:docMk/>
            <pc:sldMk cId="4081536244" sldId="3781"/>
            <ac:picMk id="1026" creationId="{94ED0A2F-8011-4A7D-8583-82DB4F0B9D70}"/>
          </ac:picMkLst>
        </pc:picChg>
      </pc:sldChg>
      <pc:sldChg chg="modSp add mod ord">
        <pc:chgData name="Scott Sink" userId="007532c1-63dd-4f29-9932-df3a9735f490" providerId="ADAL" clId="{4E395113-EDD9-4523-BFC1-45F8993119F0}" dt="2023-06-26T08:49:13.163" v="6751" actId="1076"/>
        <pc:sldMkLst>
          <pc:docMk/>
          <pc:sldMk cId="2767344656" sldId="3782"/>
        </pc:sldMkLst>
        <pc:spChg chg="mod">
          <ac:chgData name="Scott Sink" userId="007532c1-63dd-4f29-9932-df3a9735f490" providerId="ADAL" clId="{4E395113-EDD9-4523-BFC1-45F8993119F0}" dt="2023-06-26T08:49:08.258" v="6750" actId="1076"/>
          <ac:spMkLst>
            <pc:docMk/>
            <pc:sldMk cId="2767344656" sldId="3782"/>
            <ac:spMk id="2" creationId="{36D172E6-EB4D-4CA9-B032-D89C0DD951AC}"/>
          </ac:spMkLst>
        </pc:spChg>
        <pc:spChg chg="mod">
          <ac:chgData name="Scott Sink" userId="007532c1-63dd-4f29-9932-df3a9735f490" providerId="ADAL" clId="{4E395113-EDD9-4523-BFC1-45F8993119F0}" dt="2023-06-26T08:48:54.655" v="6748" actId="20577"/>
          <ac:spMkLst>
            <pc:docMk/>
            <pc:sldMk cId="2767344656" sldId="3782"/>
            <ac:spMk id="10" creationId="{42F3CD57-01B5-4B77-B718-E01A2D045963}"/>
          </ac:spMkLst>
        </pc:spChg>
        <pc:spChg chg="mod">
          <ac:chgData name="Scott Sink" userId="007532c1-63dd-4f29-9932-df3a9735f490" providerId="ADAL" clId="{4E395113-EDD9-4523-BFC1-45F8993119F0}" dt="2023-06-26T08:48:58.342" v="6749" actId="20577"/>
          <ac:spMkLst>
            <pc:docMk/>
            <pc:sldMk cId="2767344656" sldId="3782"/>
            <ac:spMk id="20" creationId="{923F242E-918C-446D-A1EA-D3ABE7821FC2}"/>
          </ac:spMkLst>
        </pc:spChg>
        <pc:picChg chg="mod">
          <ac:chgData name="Scott Sink" userId="007532c1-63dd-4f29-9932-df3a9735f490" providerId="ADAL" clId="{4E395113-EDD9-4523-BFC1-45F8993119F0}" dt="2023-06-26T08:49:13.163" v="6751" actId="1076"/>
          <ac:picMkLst>
            <pc:docMk/>
            <pc:sldMk cId="2767344656" sldId="3782"/>
            <ac:picMk id="13" creationId="{2D6B5E61-311A-4087-969B-D1CED99EABAB}"/>
          </ac:picMkLst>
        </pc:picChg>
      </pc:sldChg>
      <pc:sldChg chg="addSp modSp add mod modClrScheme chgLayout">
        <pc:chgData name="Scott Sink" userId="007532c1-63dd-4f29-9932-df3a9735f490" providerId="ADAL" clId="{4E395113-EDD9-4523-BFC1-45F8993119F0}" dt="2023-06-26T08:55:41.350" v="7317" actId="20577"/>
        <pc:sldMkLst>
          <pc:docMk/>
          <pc:sldMk cId="1423464395" sldId="3783"/>
        </pc:sldMkLst>
        <pc:spChg chg="mod ord">
          <ac:chgData name="Scott Sink" userId="007532c1-63dd-4f29-9932-df3a9735f490" providerId="ADAL" clId="{4E395113-EDD9-4523-BFC1-45F8993119F0}" dt="2023-06-26T08:35:44.717" v="6303" actId="700"/>
          <ac:spMkLst>
            <pc:docMk/>
            <pc:sldMk cId="1423464395" sldId="3783"/>
            <ac:spMk id="2" creationId="{F43386B0-D5F5-41CA-BEE2-BD4BEFFD62CD}"/>
          </ac:spMkLst>
        </pc:spChg>
        <pc:spChg chg="mod">
          <ac:chgData name="Scott Sink" userId="007532c1-63dd-4f29-9932-df3a9735f490" providerId="ADAL" clId="{4E395113-EDD9-4523-BFC1-45F8993119F0}" dt="2023-06-26T08:54:33.705" v="7249" actId="14100"/>
          <ac:spMkLst>
            <pc:docMk/>
            <pc:sldMk cId="1423464395" sldId="3783"/>
            <ac:spMk id="16" creationId="{F534A1C9-9ED7-4FFF-9BAD-B18D12B018D7}"/>
          </ac:spMkLst>
        </pc:spChg>
        <pc:spChg chg="add mod">
          <ac:chgData name="Scott Sink" userId="007532c1-63dd-4f29-9932-df3a9735f490" providerId="ADAL" clId="{4E395113-EDD9-4523-BFC1-45F8993119F0}" dt="2023-06-26T08:55:41.350" v="7317" actId="20577"/>
          <ac:spMkLst>
            <pc:docMk/>
            <pc:sldMk cId="1423464395" sldId="3783"/>
            <ac:spMk id="18" creationId="{AEF4B1F4-15D7-414D-3240-2D2BACCFE172}"/>
          </ac:spMkLst>
        </pc:spChg>
      </pc:sldChg>
      <pc:sldChg chg="addSp delSp modSp new mod ord">
        <pc:chgData name="Scott Sink" userId="007532c1-63dd-4f29-9932-df3a9735f490" providerId="ADAL" clId="{4E395113-EDD9-4523-BFC1-45F8993119F0}" dt="2023-06-26T08:49:56.023" v="6753"/>
        <pc:sldMkLst>
          <pc:docMk/>
          <pc:sldMk cId="1167232084" sldId="3784"/>
        </pc:sldMkLst>
        <pc:spChg chg="del">
          <ac:chgData name="Scott Sink" userId="007532c1-63dd-4f29-9932-df3a9735f490" providerId="ADAL" clId="{4E395113-EDD9-4523-BFC1-45F8993119F0}" dt="2023-06-26T08:41:09.131" v="6575" actId="931"/>
          <ac:spMkLst>
            <pc:docMk/>
            <pc:sldMk cId="1167232084" sldId="3784"/>
            <ac:spMk id="3" creationId="{34B60008-632F-5E83-C5EE-1E979A78D1F6}"/>
          </ac:spMkLst>
        </pc:spChg>
        <pc:picChg chg="add mod">
          <ac:chgData name="Scott Sink" userId="007532c1-63dd-4f29-9932-df3a9735f490" providerId="ADAL" clId="{4E395113-EDD9-4523-BFC1-45F8993119F0}" dt="2023-06-26T08:41:09.844" v="6577" actId="962"/>
          <ac:picMkLst>
            <pc:docMk/>
            <pc:sldMk cId="1167232084" sldId="3784"/>
            <ac:picMk id="5" creationId="{B4093084-6D63-7048-B55E-14CDF7238A65}"/>
          </ac:picMkLst>
        </pc:picChg>
      </pc:sldChg>
      <pc:sldChg chg="modSp add mod">
        <pc:chgData name="Scott Sink" userId="007532c1-63dd-4f29-9932-df3a9735f490" providerId="ADAL" clId="{4E395113-EDD9-4523-BFC1-45F8993119F0}" dt="2023-06-26T08:53:43.653" v="7247" actId="20577"/>
        <pc:sldMkLst>
          <pc:docMk/>
          <pc:sldMk cId="2289787300" sldId="3785"/>
        </pc:sldMkLst>
        <pc:spChg chg="mod">
          <ac:chgData name="Scott Sink" userId="007532c1-63dd-4f29-9932-df3a9735f490" providerId="ADAL" clId="{4E395113-EDD9-4523-BFC1-45F8993119F0}" dt="2023-06-26T08:53:43.653" v="7247" actId="20577"/>
          <ac:spMkLst>
            <pc:docMk/>
            <pc:sldMk cId="2289787300" sldId="3785"/>
            <ac:spMk id="16" creationId="{618E5117-679C-7881-CDD2-D45C9B827445}"/>
          </ac:spMkLst>
        </pc:spChg>
      </pc:sldChg>
      <pc:sldChg chg="modSp add mod ord modClrScheme chgLayout">
        <pc:chgData name="Scott Sink" userId="007532c1-63dd-4f29-9932-df3a9735f490" providerId="ADAL" clId="{4E395113-EDD9-4523-BFC1-45F8993119F0}" dt="2023-06-26T08:57:34.565" v="7333"/>
        <pc:sldMkLst>
          <pc:docMk/>
          <pc:sldMk cId="563231357" sldId="3786"/>
        </pc:sldMkLst>
        <pc:spChg chg="mod ord">
          <ac:chgData name="Scott Sink" userId="007532c1-63dd-4f29-9932-df3a9735f490" providerId="ADAL" clId="{4E395113-EDD9-4523-BFC1-45F8993119F0}" dt="2023-06-26T08:57:05.645" v="7327" actId="1076"/>
          <ac:spMkLst>
            <pc:docMk/>
            <pc:sldMk cId="563231357" sldId="3786"/>
            <ac:spMk id="2" creationId="{262D3045-1FF5-4974-AE8E-944CBA0CC0B9}"/>
          </ac:spMkLst>
        </pc:spChg>
        <pc:spChg chg="mod">
          <ac:chgData name="Scott Sink" userId="007532c1-63dd-4f29-9932-df3a9735f490" providerId="ADAL" clId="{4E395113-EDD9-4523-BFC1-45F8993119F0}" dt="2023-06-26T08:57:08.212" v="7328" actId="1076"/>
          <ac:spMkLst>
            <pc:docMk/>
            <pc:sldMk cId="563231357" sldId="3786"/>
            <ac:spMk id="3" creationId="{EEB0F31B-3EC3-4ECD-9398-6A05A6339CFC}"/>
          </ac:spMkLst>
        </pc:spChg>
        <pc:spChg chg="mod">
          <ac:chgData name="Scott Sink" userId="007532c1-63dd-4f29-9932-df3a9735f490" providerId="ADAL" clId="{4E395113-EDD9-4523-BFC1-45F8993119F0}" dt="2023-06-26T08:57:13.267" v="7330" actId="1076"/>
          <ac:spMkLst>
            <pc:docMk/>
            <pc:sldMk cId="563231357" sldId="3786"/>
            <ac:spMk id="6" creationId="{1D43D37F-F9F9-45B7-BAE3-6585F3DE9D19}"/>
          </ac:spMkLst>
        </pc:spChg>
        <pc:spChg chg="mod">
          <ac:chgData name="Scott Sink" userId="007532c1-63dd-4f29-9932-df3a9735f490" providerId="ADAL" clId="{4E395113-EDD9-4523-BFC1-45F8993119F0}" dt="2023-06-26T08:57:10.867" v="7329" actId="1076"/>
          <ac:spMkLst>
            <pc:docMk/>
            <pc:sldMk cId="563231357" sldId="3786"/>
            <ac:spMk id="8" creationId="{B4E5E9CC-3ADA-435B-89A1-F3A7D9310320}"/>
          </ac:spMkLst>
        </pc:spChg>
        <pc:spChg chg="mod">
          <ac:chgData name="Scott Sink" userId="007532c1-63dd-4f29-9932-df3a9735f490" providerId="ADAL" clId="{4E395113-EDD9-4523-BFC1-45F8993119F0}" dt="2023-06-26T08:57:16.180" v="7331" actId="1076"/>
          <ac:spMkLst>
            <pc:docMk/>
            <pc:sldMk cId="563231357" sldId="3786"/>
            <ac:spMk id="9" creationId="{5737E78B-E647-4D8F-9202-FCAB03D59644}"/>
          </ac:spMkLst>
        </pc:spChg>
        <pc:picChg chg="mod">
          <ac:chgData name="Scott Sink" userId="007532c1-63dd-4f29-9932-df3a9735f490" providerId="ADAL" clId="{4E395113-EDD9-4523-BFC1-45F8993119F0}" dt="2023-06-26T08:57:03.212" v="7326" actId="1076"/>
          <ac:picMkLst>
            <pc:docMk/>
            <pc:sldMk cId="563231357" sldId="3786"/>
            <ac:picMk id="5" creationId="{6CDC9E82-BBE5-4750-BEA6-7ABD996F5066}"/>
          </ac:picMkLst>
        </pc:picChg>
        <pc:picChg chg="mod">
          <ac:chgData name="Scott Sink" userId="007532c1-63dd-4f29-9932-df3a9735f490" providerId="ADAL" clId="{4E395113-EDD9-4523-BFC1-45F8993119F0}" dt="2023-06-26T08:57:01.166" v="7325" actId="1076"/>
          <ac:picMkLst>
            <pc:docMk/>
            <pc:sldMk cId="563231357" sldId="3786"/>
            <ac:picMk id="7" creationId="{5152919E-D082-4F32-BFA0-6FD69FDCDB76}"/>
          </ac:picMkLst>
        </pc:picChg>
      </pc:sldChg>
      <pc:sldChg chg="modSp add mod modClrScheme chgLayout">
        <pc:chgData name="Scott Sink" userId="007532c1-63dd-4f29-9932-df3a9735f490" providerId="ADAL" clId="{4E395113-EDD9-4523-BFC1-45F8993119F0}" dt="2023-06-26T08:59:51.779" v="7361" actId="1076"/>
        <pc:sldMkLst>
          <pc:docMk/>
          <pc:sldMk cId="2722228075" sldId="3787"/>
        </pc:sldMkLst>
        <pc:spChg chg="mod ord">
          <ac:chgData name="Scott Sink" userId="007532c1-63dd-4f29-9932-df3a9735f490" providerId="ADAL" clId="{4E395113-EDD9-4523-BFC1-45F8993119F0}" dt="2023-06-26T08:59:51.779" v="7361" actId="1076"/>
          <ac:spMkLst>
            <pc:docMk/>
            <pc:sldMk cId="2722228075" sldId="3787"/>
            <ac:spMk id="2" creationId="{644F0C65-DDFC-4420-BF71-6A26ABE25A10}"/>
          </ac:spMkLst>
        </pc:spChg>
      </pc:sldChg>
      <pc:sldChg chg="modSp add mod modClrScheme chgLayout">
        <pc:chgData name="Scott Sink" userId="007532c1-63dd-4f29-9932-df3a9735f490" providerId="ADAL" clId="{4E395113-EDD9-4523-BFC1-45F8993119F0}" dt="2023-06-26T09:00:32.522" v="7364" actId="1076"/>
        <pc:sldMkLst>
          <pc:docMk/>
          <pc:sldMk cId="390451315" sldId="3788"/>
        </pc:sldMkLst>
        <pc:spChg chg="mod ord">
          <ac:chgData name="Scott Sink" userId="007532c1-63dd-4f29-9932-df3a9735f490" providerId="ADAL" clId="{4E395113-EDD9-4523-BFC1-45F8993119F0}" dt="2023-06-26T09:00:32.522" v="7364" actId="1076"/>
          <ac:spMkLst>
            <pc:docMk/>
            <pc:sldMk cId="390451315" sldId="3788"/>
            <ac:spMk id="2" creationId="{8CB369BB-5D4C-4764-AE34-BD8C2433EFBA}"/>
          </ac:spMkLst>
        </pc:spChg>
      </pc:sldChg>
      <pc:sldChg chg="modSp add mod modClrScheme chgLayout">
        <pc:chgData name="Scott Sink" userId="007532c1-63dd-4f29-9932-df3a9735f490" providerId="ADAL" clId="{4E395113-EDD9-4523-BFC1-45F8993119F0}" dt="2023-06-26T08:59:23.916" v="7358" actId="14100"/>
        <pc:sldMkLst>
          <pc:docMk/>
          <pc:sldMk cId="4051168136" sldId="3789"/>
        </pc:sldMkLst>
        <pc:spChg chg="mod ord">
          <ac:chgData name="Scott Sink" userId="007532c1-63dd-4f29-9932-df3a9735f490" providerId="ADAL" clId="{4E395113-EDD9-4523-BFC1-45F8993119F0}" dt="2023-06-26T08:59:03.218" v="7351" actId="404"/>
          <ac:spMkLst>
            <pc:docMk/>
            <pc:sldMk cId="4051168136" sldId="3789"/>
            <ac:spMk id="2" creationId="{886943B2-6E90-4596-83EA-E12F2926D719}"/>
          </ac:spMkLst>
        </pc:spChg>
        <pc:spChg chg="mod ord">
          <ac:chgData name="Scott Sink" userId="007532c1-63dd-4f29-9932-df3a9735f490" providerId="ADAL" clId="{4E395113-EDD9-4523-BFC1-45F8993119F0}" dt="2023-06-26T08:59:08.378" v="7352" actId="1076"/>
          <ac:spMkLst>
            <pc:docMk/>
            <pc:sldMk cId="4051168136" sldId="3789"/>
            <ac:spMk id="3" creationId="{BC175CBB-19D6-40AC-939D-2D10A68FCAC9}"/>
          </ac:spMkLst>
        </pc:spChg>
        <pc:picChg chg="mod">
          <ac:chgData name="Scott Sink" userId="007532c1-63dd-4f29-9932-df3a9735f490" providerId="ADAL" clId="{4E395113-EDD9-4523-BFC1-45F8993119F0}" dt="2023-06-26T08:59:23.916" v="7358" actId="14100"/>
          <ac:picMkLst>
            <pc:docMk/>
            <pc:sldMk cId="4051168136" sldId="3789"/>
            <ac:picMk id="5" creationId="{5E580D15-6EA2-4C70-A4C7-C050829572DA}"/>
          </ac:picMkLst>
        </pc:picChg>
        <pc:picChg chg="mod">
          <ac:chgData name="Scott Sink" userId="007532c1-63dd-4f29-9932-df3a9735f490" providerId="ADAL" clId="{4E395113-EDD9-4523-BFC1-45F8993119F0}" dt="2023-06-26T08:59:11.899" v="7353" actId="1076"/>
          <ac:picMkLst>
            <pc:docMk/>
            <pc:sldMk cId="4051168136" sldId="3789"/>
            <ac:picMk id="7" creationId="{12371ECB-EEFC-4B41-98AF-3ADD21F1B603}"/>
          </ac:picMkLst>
        </pc:picChg>
        <pc:picChg chg="mod">
          <ac:chgData name="Scott Sink" userId="007532c1-63dd-4f29-9932-df3a9735f490" providerId="ADAL" clId="{4E395113-EDD9-4523-BFC1-45F8993119F0}" dt="2023-06-26T08:59:15.691" v="7355" actId="14100"/>
          <ac:picMkLst>
            <pc:docMk/>
            <pc:sldMk cId="4051168136" sldId="3789"/>
            <ac:picMk id="1026" creationId="{E6420025-F244-47FE-8B63-BF415EA64BA2}"/>
          </ac:picMkLst>
        </pc:picChg>
      </pc:sldChg>
      <pc:sldChg chg="modSp add mod">
        <pc:chgData name="Scott Sink" userId="007532c1-63dd-4f29-9932-df3a9735f490" providerId="ADAL" clId="{4E395113-EDD9-4523-BFC1-45F8993119F0}" dt="2023-06-26T10:46:24.615" v="7924" actId="20577"/>
        <pc:sldMkLst>
          <pc:docMk/>
          <pc:sldMk cId="1202657784" sldId="3790"/>
        </pc:sldMkLst>
        <pc:spChg chg="mod">
          <ac:chgData name="Scott Sink" userId="007532c1-63dd-4f29-9932-df3a9735f490" providerId="ADAL" clId="{4E395113-EDD9-4523-BFC1-45F8993119F0}" dt="2023-06-26T10:46:24.615" v="7924" actId="20577"/>
          <ac:spMkLst>
            <pc:docMk/>
            <pc:sldMk cId="1202657784" sldId="3790"/>
            <ac:spMk id="16" creationId="{618E5117-679C-7881-CDD2-D45C9B827445}"/>
          </ac:spMkLst>
        </pc:spChg>
      </pc:sldChg>
      <pc:sldChg chg="add">
        <pc:chgData name="Scott Sink" userId="007532c1-63dd-4f29-9932-df3a9735f490" providerId="ADAL" clId="{4E395113-EDD9-4523-BFC1-45F8993119F0}" dt="2023-06-27T04:02:33.356" v="8279"/>
        <pc:sldMkLst>
          <pc:docMk/>
          <pc:sldMk cId="1304768579" sldId="3791"/>
        </pc:sldMkLst>
      </pc:sldChg>
      <pc:sldChg chg="add">
        <pc:chgData name="Scott Sink" userId="007532c1-63dd-4f29-9932-df3a9735f490" providerId="ADAL" clId="{4E395113-EDD9-4523-BFC1-45F8993119F0}" dt="2023-06-27T04:02:40.196" v="8281"/>
        <pc:sldMkLst>
          <pc:docMk/>
          <pc:sldMk cId="1266825863" sldId="3792"/>
        </pc:sldMkLst>
      </pc:sldChg>
      <pc:sldChg chg="modSp add mod ord">
        <pc:chgData name="Scott Sink" userId="007532c1-63dd-4f29-9932-df3a9735f490" providerId="ADAL" clId="{4E395113-EDD9-4523-BFC1-45F8993119F0}" dt="2023-06-27T11:04:23.631" v="8716" actId="1076"/>
        <pc:sldMkLst>
          <pc:docMk/>
          <pc:sldMk cId="350048468" sldId="3793"/>
        </pc:sldMkLst>
        <pc:spChg chg="mod">
          <ac:chgData name="Scott Sink" userId="007532c1-63dd-4f29-9932-df3a9735f490" providerId="ADAL" clId="{4E395113-EDD9-4523-BFC1-45F8993119F0}" dt="2023-06-27T11:04:06.689" v="8711" actId="14100"/>
          <ac:spMkLst>
            <pc:docMk/>
            <pc:sldMk cId="350048468" sldId="3793"/>
            <ac:spMk id="8" creationId="{6C156E7C-F1D3-469F-BB59-8E7D396AD2FF}"/>
          </ac:spMkLst>
        </pc:spChg>
        <pc:picChg chg="mod">
          <ac:chgData name="Scott Sink" userId="007532c1-63dd-4f29-9932-df3a9735f490" providerId="ADAL" clId="{4E395113-EDD9-4523-BFC1-45F8993119F0}" dt="2023-06-27T11:04:15.597" v="8714" actId="14100"/>
          <ac:picMkLst>
            <pc:docMk/>
            <pc:sldMk cId="350048468" sldId="3793"/>
            <ac:picMk id="10" creationId="{0A2C5ADD-D53D-460E-BCBB-D992130D0880}"/>
          </ac:picMkLst>
        </pc:picChg>
        <pc:picChg chg="mod">
          <ac:chgData name="Scott Sink" userId="007532c1-63dd-4f29-9932-df3a9735f490" providerId="ADAL" clId="{4E395113-EDD9-4523-BFC1-45F8993119F0}" dt="2023-06-27T11:04:19.281" v="8715" actId="1076"/>
          <ac:picMkLst>
            <pc:docMk/>
            <pc:sldMk cId="350048468" sldId="3793"/>
            <ac:picMk id="1026" creationId="{FB41AD4C-E581-43A8-B45E-5FDCE747BC15}"/>
          </ac:picMkLst>
        </pc:picChg>
        <pc:picChg chg="mod">
          <ac:chgData name="Scott Sink" userId="007532c1-63dd-4f29-9932-df3a9735f490" providerId="ADAL" clId="{4E395113-EDD9-4523-BFC1-45F8993119F0}" dt="2023-06-27T11:04:23.631" v="8716" actId="1076"/>
          <ac:picMkLst>
            <pc:docMk/>
            <pc:sldMk cId="350048468" sldId="3793"/>
            <ac:picMk id="1028" creationId="{10CF09A2-5CA4-4E32-88F8-341F0E3DA997}"/>
          </ac:picMkLst>
        </pc:picChg>
      </pc:sldChg>
      <pc:sldChg chg="add del">
        <pc:chgData name="Scott Sink" userId="007532c1-63dd-4f29-9932-df3a9735f490" providerId="ADAL" clId="{4E395113-EDD9-4523-BFC1-45F8993119F0}" dt="2023-06-27T04:03:16.743" v="8325" actId="47"/>
        <pc:sldMkLst>
          <pc:docMk/>
          <pc:sldMk cId="2526598686" sldId="3793"/>
        </pc:sldMkLst>
      </pc:sldChg>
      <pc:sldChg chg="add ord">
        <pc:chgData name="Scott Sink" userId="007532c1-63dd-4f29-9932-df3a9735f490" providerId="ADAL" clId="{4E395113-EDD9-4523-BFC1-45F8993119F0}" dt="2023-06-27T13:25:56.807" v="8732"/>
        <pc:sldMkLst>
          <pc:docMk/>
          <pc:sldMk cId="2063175306" sldId="3794"/>
        </pc:sldMkLst>
      </pc:sldChg>
      <pc:sldChg chg="add ord">
        <pc:chgData name="Scott Sink" userId="007532c1-63dd-4f29-9932-df3a9735f490" providerId="ADAL" clId="{4E395113-EDD9-4523-BFC1-45F8993119F0}" dt="2023-06-27T13:25:59.291" v="8734"/>
        <pc:sldMkLst>
          <pc:docMk/>
          <pc:sldMk cId="811288923" sldId="3795"/>
        </pc:sldMkLst>
      </pc:sldChg>
      <pc:sldChg chg="add del">
        <pc:chgData name="Scott Sink" userId="007532c1-63dd-4f29-9932-df3a9735f490" providerId="ADAL" clId="{4E395113-EDD9-4523-BFC1-45F8993119F0}" dt="2023-06-27T13:26:05.964" v="8735" actId="47"/>
        <pc:sldMkLst>
          <pc:docMk/>
          <pc:sldMk cId="1795530257" sldId="3796"/>
        </pc:sldMkLst>
      </pc:sldChg>
      <pc:sldChg chg="add del">
        <pc:chgData name="Scott Sink" userId="007532c1-63dd-4f29-9932-df3a9735f490" providerId="ADAL" clId="{4E395113-EDD9-4523-BFC1-45F8993119F0}" dt="2023-06-27T13:26:08.597" v="8736" actId="47"/>
        <pc:sldMkLst>
          <pc:docMk/>
          <pc:sldMk cId="2594998375" sldId="3797"/>
        </pc:sldMkLst>
      </pc:sldChg>
      <pc:sldMasterChg chg="add addSldLayout">
        <pc:chgData name="Scott Sink" userId="007532c1-63dd-4f29-9932-df3a9735f490" providerId="ADAL" clId="{4E395113-EDD9-4523-BFC1-45F8993119F0}" dt="2023-06-27T04:02:33.353" v="8278" actId="27028"/>
        <pc:sldMasterMkLst>
          <pc:docMk/>
          <pc:sldMasterMk cId="0" sldId="2147483648"/>
        </pc:sldMasterMkLst>
        <pc:sldLayoutChg chg="add">
          <pc:chgData name="Scott Sink" userId="007532c1-63dd-4f29-9932-df3a9735f490" providerId="ADAL" clId="{4E395113-EDD9-4523-BFC1-45F8993119F0}" dt="2023-06-27T04:02:33.353" v="8278" actId="27028"/>
          <pc:sldLayoutMkLst>
            <pc:docMk/>
            <pc:sldMasterMk cId="0" sldId="2147483648"/>
            <pc:sldLayoutMk cId="0" sldId="2147483655"/>
          </pc:sldLayoutMkLst>
        </pc:sldLayoutChg>
      </pc:sldMasterChg>
      <pc:sldMasterChg chg="modSldLayout">
        <pc:chgData name="Scott Sink" userId="007532c1-63dd-4f29-9932-df3a9735f490" providerId="ADAL" clId="{4E395113-EDD9-4523-BFC1-45F8993119F0}" dt="2023-06-26T08:31:00.098" v="6293" actId="27028"/>
        <pc:sldMasterMkLst>
          <pc:docMk/>
          <pc:sldMasterMk cId="0" sldId="2147483658"/>
        </pc:sldMasterMkLst>
        <pc:sldLayoutChg chg="replId">
          <pc:chgData name="Scott Sink" userId="007532c1-63dd-4f29-9932-df3a9735f490" providerId="ADAL" clId="{4E395113-EDD9-4523-BFC1-45F8993119F0}" dt="2023-06-26T08:31:00.098" v="6293" actId="27028"/>
          <pc:sldLayoutMkLst>
            <pc:docMk/>
            <pc:sldMasterMk cId="0" sldId="2147483658"/>
            <pc:sldLayoutMk cId="1335986753" sldId="2147497901"/>
          </pc:sldLayoutMkLst>
        </pc:sldLayoutChg>
      </pc:sldMasterChg>
      <pc:sldMasterChg chg="add del addSldLayout delSldLayout">
        <pc:chgData name="Scott Sink" userId="007532c1-63dd-4f29-9932-df3a9735f490" providerId="ADAL" clId="{4E395113-EDD9-4523-BFC1-45F8993119F0}" dt="2023-06-26T09:00:23.639" v="7362" actId="700"/>
        <pc:sldMasterMkLst>
          <pc:docMk/>
          <pc:sldMasterMk cId="2144019900" sldId="2147483660"/>
        </pc:sldMasterMkLst>
        <pc:sldLayoutChg chg="add del">
          <pc:chgData name="Scott Sink" userId="007532c1-63dd-4f29-9932-df3a9735f490" providerId="ADAL" clId="{4E395113-EDD9-4523-BFC1-45F8993119F0}" dt="2023-06-26T09:00:23.639" v="7362" actId="700"/>
          <pc:sldLayoutMkLst>
            <pc:docMk/>
            <pc:sldMasterMk cId="2144019900" sldId="2147483660"/>
            <pc:sldLayoutMk cId="4108983733" sldId="2147483663"/>
          </pc:sldLayoutMkLst>
        </pc:sldLayoutChg>
      </pc:sldMasterChg>
      <pc:sldMasterChg chg="modSldLayout">
        <pc:chgData name="Scott Sink" userId="007532c1-63dd-4f29-9932-df3a9735f490" providerId="ADAL" clId="{4E395113-EDD9-4523-BFC1-45F8993119F0}" dt="2023-06-27T13:25:26.564" v="8723" actId="27028"/>
        <pc:sldMasterMkLst>
          <pc:docMk/>
          <pc:sldMasterMk cId="0" sldId="2147483666"/>
        </pc:sldMasterMkLst>
        <pc:sldLayoutChg chg="replId">
          <pc:chgData name="Scott Sink" userId="007532c1-63dd-4f29-9932-df3a9735f490" providerId="ADAL" clId="{4E395113-EDD9-4523-BFC1-45F8993119F0}" dt="2023-06-27T13:25:26.564" v="8723" actId="27028"/>
          <pc:sldLayoutMkLst>
            <pc:docMk/>
            <pc:sldMasterMk cId="0" sldId="2147483666"/>
            <pc:sldLayoutMk cId="0" sldId="2147497908"/>
          </pc:sldLayoutMkLst>
        </pc:sldLayoutChg>
      </pc:sldMasterChg>
      <pc:sldMasterChg chg="add addSldLayout">
        <pc:chgData name="Scott Sink" userId="007532c1-63dd-4f29-9932-df3a9735f490" providerId="ADAL" clId="{4E395113-EDD9-4523-BFC1-45F8993119F0}" dt="2023-06-27T13:25:26.564" v="8723" actId="27028"/>
        <pc:sldMasterMkLst>
          <pc:docMk/>
          <pc:sldMasterMk cId="2986711267" sldId="2147497900"/>
        </pc:sldMasterMkLst>
        <pc:sldLayoutChg chg="add">
          <pc:chgData name="Scott Sink" userId="007532c1-63dd-4f29-9932-df3a9735f490" providerId="ADAL" clId="{4E395113-EDD9-4523-BFC1-45F8993119F0}" dt="2023-06-27T13:25:26.564" v="8723" actId="27028"/>
          <pc:sldLayoutMkLst>
            <pc:docMk/>
            <pc:sldMasterMk cId="2986711267" sldId="2147497900"/>
            <pc:sldLayoutMk cId="2640896162" sldId="2147497902"/>
          </pc:sldLayoutMkLst>
        </pc:sldLayoutChg>
      </pc:sldMasterChg>
      <pc:sldMasterChg chg="add addSldLayout">
        <pc:chgData name="Scott Sink" userId="007532c1-63dd-4f29-9932-df3a9735f490" providerId="ADAL" clId="{4E395113-EDD9-4523-BFC1-45F8993119F0}" dt="2023-06-26T08:34:50.460" v="6297" actId="27028"/>
        <pc:sldMasterMkLst>
          <pc:docMk/>
          <pc:sldMasterMk cId="0" sldId="2147497904"/>
        </pc:sldMasterMkLst>
        <pc:sldLayoutChg chg="add">
          <pc:chgData name="Scott Sink" userId="007532c1-63dd-4f29-9932-df3a9735f490" providerId="ADAL" clId="{4E395113-EDD9-4523-BFC1-45F8993119F0}" dt="2023-06-26T08:34:50.460" v="6297" actId="27028"/>
          <pc:sldLayoutMkLst>
            <pc:docMk/>
            <pc:sldMasterMk cId="0" sldId="2147497904"/>
            <pc:sldLayoutMk cId="0" sldId="2147497905"/>
          </pc:sldLayoutMkLst>
        </pc:sldLayoutChg>
      </pc:sldMasterChg>
      <pc:sldMasterChg chg="add replId addSldLayout">
        <pc:chgData name="Scott Sink" userId="007532c1-63dd-4f29-9932-df3a9735f490" providerId="ADAL" clId="{4E395113-EDD9-4523-BFC1-45F8993119F0}" dt="2023-06-27T04:02:33.353" v="8278" actId="27028"/>
        <pc:sldMasterMkLst>
          <pc:docMk/>
          <pc:sldMasterMk cId="3808468665" sldId="2147497906"/>
        </pc:sldMasterMkLst>
        <pc:sldLayoutChg chg="add">
          <pc:chgData name="Scott Sink" userId="007532c1-63dd-4f29-9932-df3a9735f490" providerId="ADAL" clId="{4E395113-EDD9-4523-BFC1-45F8993119F0}" dt="2023-06-26T08:34:37.059" v="6295" actId="27028"/>
          <pc:sldLayoutMkLst>
            <pc:docMk/>
            <pc:sldMasterMk cId="3808468665" sldId="2147497906"/>
            <pc:sldLayoutMk cId="3749760276" sldId="2147483650"/>
          </pc:sldLayoutMkLst>
        </pc:sldLayoutChg>
      </pc:sldMasterChg>
      <pc:sldMasterChg chg="replId modSldLayout">
        <pc:chgData name="Scott Sink" userId="007532c1-63dd-4f29-9932-df3a9735f490" providerId="ADAL" clId="{4E395113-EDD9-4523-BFC1-45F8993119F0}" dt="2023-06-27T13:25:26.564" v="8723" actId="27028"/>
        <pc:sldMasterMkLst>
          <pc:docMk/>
          <pc:sldMasterMk cId="109284353" sldId="2147497909"/>
        </pc:sldMasterMkLst>
        <pc:sldLayoutChg chg="replId">
          <pc:chgData name="Scott Sink" userId="007532c1-63dd-4f29-9932-df3a9735f490" providerId="ADAL" clId="{4E395113-EDD9-4523-BFC1-45F8993119F0}" dt="2023-06-26T08:34:37.059" v="6295" actId="27028"/>
          <pc:sldLayoutMkLst>
            <pc:docMk/>
            <pc:sldMasterMk cId="109284353" sldId="2147497909"/>
            <pc:sldLayoutMk cId="4104728505" sldId="2147497903"/>
          </pc:sldLayoutMkLst>
        </pc:sldLayoutChg>
        <pc:sldLayoutChg chg="replId">
          <pc:chgData name="Scott Sink" userId="007532c1-63dd-4f29-9932-df3a9735f490" providerId="ADAL" clId="{4E395113-EDD9-4523-BFC1-45F8993119F0}" dt="2023-06-27T04:02:33.353" v="8278" actId="27028"/>
          <pc:sldLayoutMkLst>
            <pc:docMk/>
            <pc:sldMasterMk cId="109284353" sldId="2147497909"/>
            <pc:sldLayoutMk cId="2017573220" sldId="2147497907"/>
          </pc:sldLayoutMkLst>
        </pc:sldLayoutChg>
      </pc:sldMasterChg>
    </pc:docChg>
  </pc:docChgLst>
  <pc:docChgLst>
    <pc:chgData name="Scott Sink" userId="007532c1-63dd-4f29-9932-df3a9735f490" providerId="ADAL" clId="{FB50856E-B55B-40FE-B1F3-9C82FC6E2468}"/>
    <pc:docChg chg="undo custSel addSld delSld modSld sldOrd addMainMaster delMainMaster modMainMaster">
      <pc:chgData name="Scott Sink" userId="007532c1-63dd-4f29-9932-df3a9735f490" providerId="ADAL" clId="{FB50856E-B55B-40FE-B1F3-9C82FC6E2468}" dt="2023-07-18T14:32:47.863" v="4336" actId="47"/>
      <pc:docMkLst>
        <pc:docMk/>
      </pc:docMkLst>
      <pc:sldChg chg="modSp mod">
        <pc:chgData name="Scott Sink" userId="007532c1-63dd-4f29-9932-df3a9735f490" providerId="ADAL" clId="{FB50856E-B55B-40FE-B1F3-9C82FC6E2468}" dt="2023-07-17T06:22:56.091" v="93" actId="20577"/>
        <pc:sldMkLst>
          <pc:docMk/>
          <pc:sldMk cId="3858186052" sldId="3617"/>
        </pc:sldMkLst>
        <pc:spChg chg="mod">
          <ac:chgData name="Scott Sink" userId="007532c1-63dd-4f29-9932-df3a9735f490" providerId="ADAL" clId="{FB50856E-B55B-40FE-B1F3-9C82FC6E2468}" dt="2023-07-17T06:22:56.091" v="93" actId="20577"/>
          <ac:spMkLst>
            <pc:docMk/>
            <pc:sldMk cId="3858186052" sldId="3617"/>
            <ac:spMk id="3" creationId="{5CB5E778-EB37-08BC-8A65-E0A5BEF24F5F}"/>
          </ac:spMkLst>
        </pc:spChg>
        <pc:spChg chg="mod">
          <ac:chgData name="Scott Sink" userId="007532c1-63dd-4f29-9932-df3a9735f490" providerId="ADAL" clId="{FB50856E-B55B-40FE-B1F3-9C82FC6E2468}" dt="2023-07-17T06:22:36.628" v="79" actId="313"/>
          <ac:spMkLst>
            <pc:docMk/>
            <pc:sldMk cId="3858186052" sldId="3617"/>
            <ac:spMk id="10" creationId="{B47D77AC-10E5-F7CA-1821-CA4162CCE788}"/>
          </ac:spMkLst>
        </pc:spChg>
        <pc:spChg chg="mod">
          <ac:chgData name="Scott Sink" userId="007532c1-63dd-4f29-9932-df3a9735f490" providerId="ADAL" clId="{FB50856E-B55B-40FE-B1F3-9C82FC6E2468}" dt="2023-07-17T06:22:43.345" v="80" actId="1076"/>
          <ac:spMkLst>
            <pc:docMk/>
            <pc:sldMk cId="3858186052" sldId="3617"/>
            <ac:spMk id="22" creationId="{693B6C1D-D021-4EC9-AC66-7E12E6EAE67F}"/>
          </ac:spMkLst>
        </pc:spChg>
        <pc:picChg chg="mod">
          <ac:chgData name="Scott Sink" userId="007532c1-63dd-4f29-9932-df3a9735f490" providerId="ADAL" clId="{FB50856E-B55B-40FE-B1F3-9C82FC6E2468}" dt="2023-07-17T06:22:44.778" v="81" actId="1076"/>
          <ac:picMkLst>
            <pc:docMk/>
            <pc:sldMk cId="3858186052" sldId="3617"/>
            <ac:picMk id="5" creationId="{AFD8D61E-987F-4EB6-88A2-2F19E77A4CB7}"/>
          </ac:picMkLst>
        </pc:picChg>
      </pc:sldChg>
      <pc:sldChg chg="modSp mod">
        <pc:chgData name="Scott Sink" userId="007532c1-63dd-4f29-9932-df3a9735f490" providerId="ADAL" clId="{FB50856E-B55B-40FE-B1F3-9C82FC6E2468}" dt="2023-07-17T07:35:48.145" v="252" actId="20577"/>
        <pc:sldMkLst>
          <pc:docMk/>
          <pc:sldMk cId="3939640140" sldId="3618"/>
        </pc:sldMkLst>
        <pc:spChg chg="mod">
          <ac:chgData name="Scott Sink" userId="007532c1-63dd-4f29-9932-df3a9735f490" providerId="ADAL" clId="{FB50856E-B55B-40FE-B1F3-9C82FC6E2468}" dt="2023-07-17T07:35:48.145" v="252" actId="20577"/>
          <ac:spMkLst>
            <pc:docMk/>
            <pc:sldMk cId="3939640140" sldId="3618"/>
            <ac:spMk id="3" creationId="{A5A8E09D-F143-AC8C-4127-0ABEDD96C64B}"/>
          </ac:spMkLst>
        </pc:spChg>
      </pc:sldChg>
      <pc:sldChg chg="del">
        <pc:chgData name="Scott Sink" userId="007532c1-63dd-4f29-9932-df3a9735f490" providerId="ADAL" clId="{FB50856E-B55B-40FE-B1F3-9C82FC6E2468}" dt="2023-07-18T09:45:59.641" v="3080" actId="47"/>
        <pc:sldMkLst>
          <pc:docMk/>
          <pc:sldMk cId="820912285" sldId="3643"/>
        </pc:sldMkLst>
      </pc:sldChg>
      <pc:sldChg chg="del">
        <pc:chgData name="Scott Sink" userId="007532c1-63dd-4f29-9932-df3a9735f490" providerId="ADAL" clId="{FB50856E-B55B-40FE-B1F3-9C82FC6E2468}" dt="2023-07-18T09:45:35.295" v="3060" actId="47"/>
        <pc:sldMkLst>
          <pc:docMk/>
          <pc:sldMk cId="3272150657" sldId="3646"/>
        </pc:sldMkLst>
      </pc:sldChg>
      <pc:sldChg chg="del">
        <pc:chgData name="Scott Sink" userId="007532c1-63dd-4f29-9932-df3a9735f490" providerId="ADAL" clId="{FB50856E-B55B-40FE-B1F3-9C82FC6E2468}" dt="2023-07-18T09:45:51.657" v="3076" actId="47"/>
        <pc:sldMkLst>
          <pc:docMk/>
          <pc:sldMk cId="185777116" sldId="3648"/>
        </pc:sldMkLst>
      </pc:sldChg>
      <pc:sldChg chg="del">
        <pc:chgData name="Scott Sink" userId="007532c1-63dd-4f29-9932-df3a9735f490" providerId="ADAL" clId="{FB50856E-B55B-40FE-B1F3-9C82FC6E2468}" dt="2023-07-18T09:46:09.157" v="3084" actId="47"/>
        <pc:sldMkLst>
          <pc:docMk/>
          <pc:sldMk cId="2570695360" sldId="3651"/>
        </pc:sldMkLst>
      </pc:sldChg>
      <pc:sldChg chg="del">
        <pc:chgData name="Scott Sink" userId="007532c1-63dd-4f29-9932-df3a9735f490" providerId="ADAL" clId="{FB50856E-B55B-40FE-B1F3-9C82FC6E2468}" dt="2023-07-18T09:46:00.807" v="3081" actId="47"/>
        <pc:sldMkLst>
          <pc:docMk/>
          <pc:sldMk cId="1298455054" sldId="3669"/>
        </pc:sldMkLst>
      </pc:sldChg>
      <pc:sldChg chg="del">
        <pc:chgData name="Scott Sink" userId="007532c1-63dd-4f29-9932-df3a9735f490" providerId="ADAL" clId="{FB50856E-B55B-40FE-B1F3-9C82FC6E2468}" dt="2023-07-18T14:30:22.325" v="4333" actId="47"/>
        <pc:sldMkLst>
          <pc:docMk/>
          <pc:sldMk cId="2306352246" sldId="3676"/>
        </pc:sldMkLst>
      </pc:sldChg>
      <pc:sldChg chg="del">
        <pc:chgData name="Scott Sink" userId="007532c1-63dd-4f29-9932-df3a9735f490" providerId="ADAL" clId="{FB50856E-B55B-40FE-B1F3-9C82FC6E2468}" dt="2023-07-18T14:30:23.061" v="4334" actId="47"/>
        <pc:sldMkLst>
          <pc:docMk/>
          <pc:sldMk cId="278842996" sldId="3677"/>
        </pc:sldMkLst>
      </pc:sldChg>
      <pc:sldChg chg="del">
        <pc:chgData name="Scott Sink" userId="007532c1-63dd-4f29-9932-df3a9735f490" providerId="ADAL" clId="{FB50856E-B55B-40FE-B1F3-9C82FC6E2468}" dt="2023-07-18T09:46:04.933" v="3082" actId="47"/>
        <pc:sldMkLst>
          <pc:docMk/>
          <pc:sldMk cId="1312695074" sldId="3678"/>
        </pc:sldMkLst>
      </pc:sldChg>
      <pc:sldChg chg="modSp mod">
        <pc:chgData name="Scott Sink" userId="007532c1-63dd-4f29-9932-df3a9735f490" providerId="ADAL" clId="{FB50856E-B55B-40FE-B1F3-9C82FC6E2468}" dt="2023-07-18T10:46:50.274" v="4085" actId="20577"/>
        <pc:sldMkLst>
          <pc:docMk/>
          <pc:sldMk cId="3083674499" sldId="3683"/>
        </pc:sldMkLst>
        <pc:spChg chg="mod">
          <ac:chgData name="Scott Sink" userId="007532c1-63dd-4f29-9932-df3a9735f490" providerId="ADAL" clId="{FB50856E-B55B-40FE-B1F3-9C82FC6E2468}" dt="2023-07-18T10:46:50.274" v="4085" actId="20577"/>
          <ac:spMkLst>
            <pc:docMk/>
            <pc:sldMk cId="3083674499" sldId="3683"/>
            <ac:spMk id="9" creationId="{5ACBF105-37A5-4EFF-9212-3A4FB813785F}"/>
          </ac:spMkLst>
        </pc:spChg>
      </pc:sldChg>
      <pc:sldChg chg="ord">
        <pc:chgData name="Scott Sink" userId="007532c1-63dd-4f29-9932-df3a9735f490" providerId="ADAL" clId="{FB50856E-B55B-40FE-B1F3-9C82FC6E2468}" dt="2023-07-18T09:45:11.419" v="3054"/>
        <pc:sldMkLst>
          <pc:docMk/>
          <pc:sldMk cId="3239035081" sldId="3689"/>
        </pc:sldMkLst>
      </pc:sldChg>
      <pc:sldChg chg="del">
        <pc:chgData name="Scott Sink" userId="007532c1-63dd-4f29-9932-df3a9735f490" providerId="ADAL" clId="{FB50856E-B55B-40FE-B1F3-9C82FC6E2468}" dt="2023-07-18T14:30:24.259" v="4335" actId="47"/>
        <pc:sldMkLst>
          <pc:docMk/>
          <pc:sldMk cId="165917156" sldId="3690"/>
        </pc:sldMkLst>
      </pc:sldChg>
      <pc:sldChg chg="del">
        <pc:chgData name="Scott Sink" userId="007532c1-63dd-4f29-9932-df3a9735f490" providerId="ADAL" clId="{FB50856E-B55B-40FE-B1F3-9C82FC6E2468}" dt="2023-07-18T09:28:15.260" v="2948" actId="47"/>
        <pc:sldMkLst>
          <pc:docMk/>
          <pc:sldMk cId="1025966195" sldId="3691"/>
        </pc:sldMkLst>
      </pc:sldChg>
      <pc:sldChg chg="del">
        <pc:chgData name="Scott Sink" userId="007532c1-63dd-4f29-9932-df3a9735f490" providerId="ADAL" clId="{FB50856E-B55B-40FE-B1F3-9C82FC6E2468}" dt="2023-07-18T09:28:14.431" v="2947" actId="47"/>
        <pc:sldMkLst>
          <pc:docMk/>
          <pc:sldMk cId="1776187233" sldId="3692"/>
        </pc:sldMkLst>
      </pc:sldChg>
      <pc:sldChg chg="del">
        <pc:chgData name="Scott Sink" userId="007532c1-63dd-4f29-9932-df3a9735f490" providerId="ADAL" clId="{FB50856E-B55B-40FE-B1F3-9C82FC6E2468}" dt="2023-07-18T09:45:32.991" v="3057" actId="47"/>
        <pc:sldMkLst>
          <pc:docMk/>
          <pc:sldMk cId="4059728307" sldId="3693"/>
        </pc:sldMkLst>
      </pc:sldChg>
      <pc:sldChg chg="del">
        <pc:chgData name="Scott Sink" userId="007532c1-63dd-4f29-9932-df3a9735f490" providerId="ADAL" clId="{FB50856E-B55B-40FE-B1F3-9C82FC6E2468}" dt="2023-07-18T14:30:09.055" v="4321" actId="47"/>
        <pc:sldMkLst>
          <pc:docMk/>
          <pc:sldMk cId="615662507" sldId="3694"/>
        </pc:sldMkLst>
      </pc:sldChg>
      <pc:sldChg chg="del">
        <pc:chgData name="Scott Sink" userId="007532c1-63dd-4f29-9932-df3a9735f490" providerId="ADAL" clId="{FB50856E-B55B-40FE-B1F3-9C82FC6E2468}" dt="2023-07-18T09:45:33.707" v="3058" actId="47"/>
        <pc:sldMkLst>
          <pc:docMk/>
          <pc:sldMk cId="2105768483" sldId="3695"/>
        </pc:sldMkLst>
      </pc:sldChg>
      <pc:sldChg chg="del">
        <pc:chgData name="Scott Sink" userId="007532c1-63dd-4f29-9932-df3a9735f490" providerId="ADAL" clId="{FB50856E-B55B-40FE-B1F3-9C82FC6E2468}" dt="2023-07-18T09:45:34.474" v="3059" actId="47"/>
        <pc:sldMkLst>
          <pc:docMk/>
          <pc:sldMk cId="1958007175" sldId="3696"/>
        </pc:sldMkLst>
      </pc:sldChg>
      <pc:sldChg chg="del">
        <pc:chgData name="Scott Sink" userId="007532c1-63dd-4f29-9932-df3a9735f490" providerId="ADAL" clId="{FB50856E-B55B-40FE-B1F3-9C82FC6E2468}" dt="2023-07-18T09:45:50.776" v="3075" actId="47"/>
        <pc:sldMkLst>
          <pc:docMk/>
          <pc:sldMk cId="2283736091" sldId="3697"/>
        </pc:sldMkLst>
      </pc:sldChg>
      <pc:sldChg chg="del">
        <pc:chgData name="Scott Sink" userId="007532c1-63dd-4f29-9932-df3a9735f490" providerId="ADAL" clId="{FB50856E-B55B-40FE-B1F3-9C82FC6E2468}" dt="2023-07-18T09:28:10.224" v="2946" actId="47"/>
        <pc:sldMkLst>
          <pc:docMk/>
          <pc:sldMk cId="1233541946" sldId="3698"/>
        </pc:sldMkLst>
      </pc:sldChg>
      <pc:sldChg chg="del">
        <pc:chgData name="Scott Sink" userId="007532c1-63dd-4f29-9932-df3a9735f490" providerId="ADAL" clId="{FB50856E-B55B-40FE-B1F3-9C82FC6E2468}" dt="2023-07-18T09:27:52.107" v="2937" actId="47"/>
        <pc:sldMkLst>
          <pc:docMk/>
          <pc:sldMk cId="3014079232" sldId="3699"/>
        </pc:sldMkLst>
      </pc:sldChg>
      <pc:sldChg chg="del">
        <pc:chgData name="Scott Sink" userId="007532c1-63dd-4f29-9932-df3a9735f490" providerId="ADAL" clId="{FB50856E-B55B-40FE-B1F3-9C82FC6E2468}" dt="2023-07-18T09:28:00.097" v="2939" actId="47"/>
        <pc:sldMkLst>
          <pc:docMk/>
          <pc:sldMk cId="246832215" sldId="3701"/>
        </pc:sldMkLst>
      </pc:sldChg>
      <pc:sldChg chg="ord">
        <pc:chgData name="Scott Sink" userId="007532c1-63dd-4f29-9932-df3a9735f490" providerId="ADAL" clId="{FB50856E-B55B-40FE-B1F3-9C82FC6E2468}" dt="2023-07-17T07:36:58.488" v="254"/>
        <pc:sldMkLst>
          <pc:docMk/>
          <pc:sldMk cId="2221338391" sldId="3702"/>
        </pc:sldMkLst>
      </pc:sldChg>
      <pc:sldChg chg="del">
        <pc:chgData name="Scott Sink" userId="007532c1-63dd-4f29-9932-df3a9735f490" providerId="ADAL" clId="{FB50856E-B55B-40FE-B1F3-9C82FC6E2468}" dt="2023-07-18T14:30:03.107" v="4320" actId="47"/>
        <pc:sldMkLst>
          <pc:docMk/>
          <pc:sldMk cId="99492927" sldId="3706"/>
        </pc:sldMkLst>
      </pc:sldChg>
      <pc:sldChg chg="del ord">
        <pc:chgData name="Scott Sink" userId="007532c1-63dd-4f29-9932-df3a9735f490" providerId="ADAL" clId="{FB50856E-B55B-40FE-B1F3-9C82FC6E2468}" dt="2023-07-18T09:28:36.428" v="2960" actId="47"/>
        <pc:sldMkLst>
          <pc:docMk/>
          <pc:sldMk cId="1725456752" sldId="3707"/>
        </pc:sldMkLst>
      </pc:sldChg>
      <pc:sldChg chg="del">
        <pc:chgData name="Scott Sink" userId="007532c1-63dd-4f29-9932-df3a9735f490" providerId="ADAL" clId="{FB50856E-B55B-40FE-B1F3-9C82FC6E2468}" dt="2023-07-18T09:45:55.057" v="3077" actId="47"/>
        <pc:sldMkLst>
          <pc:docMk/>
          <pc:sldMk cId="2377336484" sldId="3712"/>
        </pc:sldMkLst>
      </pc:sldChg>
      <pc:sldChg chg="del">
        <pc:chgData name="Scott Sink" userId="007532c1-63dd-4f29-9932-df3a9735f490" providerId="ADAL" clId="{FB50856E-B55B-40FE-B1F3-9C82FC6E2468}" dt="2023-07-18T09:28:03.626" v="2943" actId="47"/>
        <pc:sldMkLst>
          <pc:docMk/>
          <pc:sldMk cId="2092835934" sldId="3713"/>
        </pc:sldMkLst>
      </pc:sldChg>
      <pc:sldChg chg="del">
        <pc:chgData name="Scott Sink" userId="007532c1-63dd-4f29-9932-df3a9735f490" providerId="ADAL" clId="{FB50856E-B55B-40FE-B1F3-9C82FC6E2468}" dt="2023-07-18T09:45:43.212" v="3070" actId="47"/>
        <pc:sldMkLst>
          <pc:docMk/>
          <pc:sldMk cId="2193695439" sldId="3715"/>
        </pc:sldMkLst>
      </pc:sldChg>
      <pc:sldChg chg="del">
        <pc:chgData name="Scott Sink" userId="007532c1-63dd-4f29-9932-df3a9735f490" providerId="ADAL" clId="{FB50856E-B55B-40FE-B1F3-9C82FC6E2468}" dt="2023-07-18T09:45:55.789" v="3078" actId="47"/>
        <pc:sldMkLst>
          <pc:docMk/>
          <pc:sldMk cId="3396442185" sldId="3716"/>
        </pc:sldMkLst>
      </pc:sldChg>
      <pc:sldChg chg="del">
        <pc:chgData name="Scott Sink" userId="007532c1-63dd-4f29-9932-df3a9735f490" providerId="ADAL" clId="{FB50856E-B55B-40FE-B1F3-9C82FC6E2468}" dt="2023-07-18T09:45:37.374" v="3062" actId="47"/>
        <pc:sldMkLst>
          <pc:docMk/>
          <pc:sldMk cId="1049912250" sldId="3717"/>
        </pc:sldMkLst>
      </pc:sldChg>
      <pc:sldChg chg="del">
        <pc:chgData name="Scott Sink" userId="007532c1-63dd-4f29-9932-df3a9735f490" providerId="ADAL" clId="{FB50856E-B55B-40FE-B1F3-9C82FC6E2468}" dt="2023-07-18T09:45:39.212" v="3064" actId="47"/>
        <pc:sldMkLst>
          <pc:docMk/>
          <pc:sldMk cId="121591149" sldId="3718"/>
        </pc:sldMkLst>
      </pc:sldChg>
      <pc:sldChg chg="del">
        <pc:chgData name="Scott Sink" userId="007532c1-63dd-4f29-9932-df3a9735f490" providerId="ADAL" clId="{FB50856E-B55B-40FE-B1F3-9C82FC6E2468}" dt="2023-07-18T09:45:56.476" v="3079" actId="47"/>
        <pc:sldMkLst>
          <pc:docMk/>
          <pc:sldMk cId="1217200469" sldId="3719"/>
        </pc:sldMkLst>
      </pc:sldChg>
      <pc:sldChg chg="del">
        <pc:chgData name="Scott Sink" userId="007532c1-63dd-4f29-9932-df3a9735f490" providerId="ADAL" clId="{FB50856E-B55B-40FE-B1F3-9C82FC6E2468}" dt="2023-07-18T14:30:09.807" v="4322" actId="47"/>
        <pc:sldMkLst>
          <pc:docMk/>
          <pc:sldMk cId="2157562518" sldId="3720"/>
        </pc:sldMkLst>
      </pc:sldChg>
      <pc:sldChg chg="del">
        <pc:chgData name="Scott Sink" userId="007532c1-63dd-4f29-9932-df3a9735f490" providerId="ADAL" clId="{FB50856E-B55B-40FE-B1F3-9C82FC6E2468}" dt="2023-07-18T09:45:36.763" v="3061" actId="47"/>
        <pc:sldMkLst>
          <pc:docMk/>
          <pc:sldMk cId="1211370524" sldId="3721"/>
        </pc:sldMkLst>
      </pc:sldChg>
      <pc:sldChg chg="del">
        <pc:chgData name="Scott Sink" userId="007532c1-63dd-4f29-9932-df3a9735f490" providerId="ADAL" clId="{FB50856E-B55B-40FE-B1F3-9C82FC6E2468}" dt="2023-07-18T09:45:23.815" v="3055" actId="47"/>
        <pc:sldMkLst>
          <pc:docMk/>
          <pc:sldMk cId="2994697881" sldId="3722"/>
        </pc:sldMkLst>
      </pc:sldChg>
      <pc:sldChg chg="del">
        <pc:chgData name="Scott Sink" userId="007532c1-63dd-4f29-9932-df3a9735f490" providerId="ADAL" clId="{FB50856E-B55B-40FE-B1F3-9C82FC6E2468}" dt="2023-07-18T09:27:47.146" v="2932" actId="47"/>
        <pc:sldMkLst>
          <pc:docMk/>
          <pc:sldMk cId="3987754599" sldId="3723"/>
        </pc:sldMkLst>
      </pc:sldChg>
      <pc:sldChg chg="del">
        <pc:chgData name="Scott Sink" userId="007532c1-63dd-4f29-9932-df3a9735f490" providerId="ADAL" clId="{FB50856E-B55B-40FE-B1F3-9C82FC6E2468}" dt="2023-07-18T09:45:40.558" v="3066" actId="47"/>
        <pc:sldMkLst>
          <pc:docMk/>
          <pc:sldMk cId="2514327765" sldId="3724"/>
        </pc:sldMkLst>
      </pc:sldChg>
      <pc:sldChg chg="del">
        <pc:chgData name="Scott Sink" userId="007532c1-63dd-4f29-9932-df3a9735f490" providerId="ADAL" clId="{FB50856E-B55B-40FE-B1F3-9C82FC6E2468}" dt="2023-07-18T09:45:49.856" v="3074" actId="47"/>
        <pc:sldMkLst>
          <pc:docMk/>
          <pc:sldMk cId="268826" sldId="3725"/>
        </pc:sldMkLst>
      </pc:sldChg>
      <pc:sldChg chg="del">
        <pc:chgData name="Scott Sink" userId="007532c1-63dd-4f29-9932-df3a9735f490" providerId="ADAL" clId="{FB50856E-B55B-40FE-B1F3-9C82FC6E2468}" dt="2023-07-18T09:45:42.407" v="3069" actId="47"/>
        <pc:sldMkLst>
          <pc:docMk/>
          <pc:sldMk cId="1429197579" sldId="3726"/>
        </pc:sldMkLst>
      </pc:sldChg>
      <pc:sldChg chg="del">
        <pc:chgData name="Scott Sink" userId="007532c1-63dd-4f29-9932-df3a9735f490" providerId="ADAL" clId="{FB50856E-B55B-40FE-B1F3-9C82FC6E2468}" dt="2023-07-18T09:28:07.409" v="2944" actId="47"/>
        <pc:sldMkLst>
          <pc:docMk/>
          <pc:sldMk cId="3830039475" sldId="3727"/>
        </pc:sldMkLst>
      </pc:sldChg>
      <pc:sldChg chg="del ord">
        <pc:chgData name="Scott Sink" userId="007532c1-63dd-4f29-9932-df3a9735f490" providerId="ADAL" clId="{FB50856E-B55B-40FE-B1F3-9C82FC6E2468}" dt="2023-07-18T08:49:52.387" v="1442" actId="47"/>
        <pc:sldMkLst>
          <pc:docMk/>
          <pc:sldMk cId="3325468415" sldId="3728"/>
        </pc:sldMkLst>
      </pc:sldChg>
      <pc:sldChg chg="del">
        <pc:chgData name="Scott Sink" userId="007532c1-63dd-4f29-9932-df3a9735f490" providerId="ADAL" clId="{FB50856E-B55B-40FE-B1F3-9C82FC6E2468}" dt="2023-07-18T09:46:06.057" v="3083" actId="47"/>
        <pc:sldMkLst>
          <pc:docMk/>
          <pc:sldMk cId="1359187073" sldId="3729"/>
        </pc:sldMkLst>
      </pc:sldChg>
      <pc:sldChg chg="del">
        <pc:chgData name="Scott Sink" userId="007532c1-63dd-4f29-9932-df3a9735f490" providerId="ADAL" clId="{FB50856E-B55B-40FE-B1F3-9C82FC6E2468}" dt="2023-07-18T09:28:09.269" v="2945" actId="47"/>
        <pc:sldMkLst>
          <pc:docMk/>
          <pc:sldMk cId="119098387" sldId="3730"/>
        </pc:sldMkLst>
      </pc:sldChg>
      <pc:sldChg chg="del ord">
        <pc:chgData name="Scott Sink" userId="007532c1-63dd-4f29-9932-df3a9735f490" providerId="ADAL" clId="{FB50856E-B55B-40FE-B1F3-9C82FC6E2468}" dt="2023-07-18T08:50:02.591" v="1443" actId="47"/>
        <pc:sldMkLst>
          <pc:docMk/>
          <pc:sldMk cId="4117063728" sldId="3731"/>
        </pc:sldMkLst>
      </pc:sldChg>
      <pc:sldChg chg="del">
        <pc:chgData name="Scott Sink" userId="007532c1-63dd-4f29-9932-df3a9735f490" providerId="ADAL" clId="{FB50856E-B55B-40FE-B1F3-9C82FC6E2468}" dt="2023-07-18T14:30:19.162" v="4330" actId="47"/>
        <pc:sldMkLst>
          <pc:docMk/>
          <pc:sldMk cId="1765412184" sldId="3732"/>
        </pc:sldMkLst>
      </pc:sldChg>
      <pc:sldChg chg="del">
        <pc:chgData name="Scott Sink" userId="007532c1-63dd-4f29-9932-df3a9735f490" providerId="ADAL" clId="{FB50856E-B55B-40FE-B1F3-9C82FC6E2468}" dt="2023-07-18T14:30:19.891" v="4331" actId="47"/>
        <pc:sldMkLst>
          <pc:docMk/>
          <pc:sldMk cId="3309833769" sldId="3733"/>
        </pc:sldMkLst>
      </pc:sldChg>
      <pc:sldChg chg="del">
        <pc:chgData name="Scott Sink" userId="007532c1-63dd-4f29-9932-df3a9735f490" providerId="ADAL" clId="{FB50856E-B55B-40FE-B1F3-9C82FC6E2468}" dt="2023-07-18T14:30:21.528" v="4332" actId="47"/>
        <pc:sldMkLst>
          <pc:docMk/>
          <pc:sldMk cId="3254246654" sldId="3734"/>
        </pc:sldMkLst>
      </pc:sldChg>
      <pc:sldChg chg="del">
        <pc:chgData name="Scott Sink" userId="007532c1-63dd-4f29-9932-df3a9735f490" providerId="ADAL" clId="{FB50856E-B55B-40FE-B1F3-9C82FC6E2468}" dt="2023-07-18T09:45:38.269" v="3063" actId="47"/>
        <pc:sldMkLst>
          <pc:docMk/>
          <pc:sldMk cId="3582924897" sldId="3735"/>
        </pc:sldMkLst>
      </pc:sldChg>
      <pc:sldChg chg="del">
        <pc:chgData name="Scott Sink" userId="007532c1-63dd-4f29-9932-df3a9735f490" providerId="ADAL" clId="{FB50856E-B55B-40FE-B1F3-9C82FC6E2468}" dt="2023-07-18T09:27:51.445" v="2936" actId="47"/>
        <pc:sldMkLst>
          <pc:docMk/>
          <pc:sldMk cId="3706266293" sldId="3736"/>
        </pc:sldMkLst>
      </pc:sldChg>
      <pc:sldChg chg="del">
        <pc:chgData name="Scott Sink" userId="007532c1-63dd-4f29-9932-df3a9735f490" providerId="ADAL" clId="{FB50856E-B55B-40FE-B1F3-9C82FC6E2468}" dt="2023-07-18T09:45:26.533" v="3056" actId="47"/>
        <pc:sldMkLst>
          <pc:docMk/>
          <pc:sldMk cId="89679871" sldId="3737"/>
        </pc:sldMkLst>
      </pc:sldChg>
      <pc:sldChg chg="del">
        <pc:chgData name="Scott Sink" userId="007532c1-63dd-4f29-9932-df3a9735f490" providerId="ADAL" clId="{FB50856E-B55B-40FE-B1F3-9C82FC6E2468}" dt="2023-07-18T09:45:41.699" v="3068" actId="47"/>
        <pc:sldMkLst>
          <pc:docMk/>
          <pc:sldMk cId="4163520317" sldId="3738"/>
        </pc:sldMkLst>
      </pc:sldChg>
      <pc:sldChg chg="del">
        <pc:chgData name="Scott Sink" userId="007532c1-63dd-4f29-9932-df3a9735f490" providerId="ADAL" clId="{FB50856E-B55B-40FE-B1F3-9C82FC6E2468}" dt="2023-07-18T09:28:02.291" v="2942" actId="47"/>
        <pc:sldMkLst>
          <pc:docMk/>
          <pc:sldMk cId="1007212286" sldId="3739"/>
        </pc:sldMkLst>
      </pc:sldChg>
      <pc:sldChg chg="del ord">
        <pc:chgData name="Scott Sink" userId="007532c1-63dd-4f29-9932-df3a9735f490" providerId="ADAL" clId="{FB50856E-B55B-40FE-B1F3-9C82FC6E2468}" dt="2023-07-18T11:00:58.274" v="4191" actId="47"/>
        <pc:sldMkLst>
          <pc:docMk/>
          <pc:sldMk cId="3080365828" sldId="3740"/>
        </pc:sldMkLst>
      </pc:sldChg>
      <pc:sldChg chg="addSp modSp mod ord">
        <pc:chgData name="Scott Sink" userId="007532c1-63dd-4f29-9932-df3a9735f490" providerId="ADAL" clId="{FB50856E-B55B-40FE-B1F3-9C82FC6E2468}" dt="2023-07-18T11:00:48.224" v="4190" actId="1076"/>
        <pc:sldMkLst>
          <pc:docMk/>
          <pc:sldMk cId="479280247" sldId="3741"/>
        </pc:sldMkLst>
        <pc:spChg chg="add mod">
          <ac:chgData name="Scott Sink" userId="007532c1-63dd-4f29-9932-df3a9735f490" providerId="ADAL" clId="{FB50856E-B55B-40FE-B1F3-9C82FC6E2468}" dt="2023-07-18T11:00:48.224" v="4190" actId="1076"/>
          <ac:spMkLst>
            <pc:docMk/>
            <pc:sldMk cId="479280247" sldId="3741"/>
            <ac:spMk id="5" creationId="{A6DCB2E8-3C64-32BE-16C5-9928F478BA54}"/>
          </ac:spMkLst>
        </pc:spChg>
        <pc:spChg chg="add mod">
          <ac:chgData name="Scott Sink" userId="007532c1-63dd-4f29-9932-df3a9735f490" providerId="ADAL" clId="{FB50856E-B55B-40FE-B1F3-9C82FC6E2468}" dt="2023-07-18T11:00:38.177" v="4189" actId="14100"/>
          <ac:spMkLst>
            <pc:docMk/>
            <pc:sldMk cId="479280247" sldId="3741"/>
            <ac:spMk id="6" creationId="{5968FAB6-6449-E8BB-1EB4-FF06EDF8B4EE}"/>
          </ac:spMkLst>
        </pc:spChg>
      </pc:sldChg>
      <pc:sldChg chg="del">
        <pc:chgData name="Scott Sink" userId="007532c1-63dd-4f29-9932-df3a9735f490" providerId="ADAL" clId="{FB50856E-B55B-40FE-B1F3-9C82FC6E2468}" dt="2023-07-18T09:45:39.974" v="3065" actId="47"/>
        <pc:sldMkLst>
          <pc:docMk/>
          <pc:sldMk cId="3714319097" sldId="3742"/>
        </pc:sldMkLst>
      </pc:sldChg>
      <pc:sldChg chg="del">
        <pc:chgData name="Scott Sink" userId="007532c1-63dd-4f29-9932-df3a9735f490" providerId="ADAL" clId="{FB50856E-B55B-40FE-B1F3-9C82FC6E2468}" dt="2023-07-18T09:45:44.170" v="3071" actId="47"/>
        <pc:sldMkLst>
          <pc:docMk/>
          <pc:sldMk cId="2081871205" sldId="3743"/>
        </pc:sldMkLst>
      </pc:sldChg>
      <pc:sldChg chg="del">
        <pc:chgData name="Scott Sink" userId="007532c1-63dd-4f29-9932-df3a9735f490" providerId="ADAL" clId="{FB50856E-B55B-40FE-B1F3-9C82FC6E2468}" dt="2023-07-18T09:28:20.798" v="2950" actId="47"/>
        <pc:sldMkLst>
          <pc:docMk/>
          <pc:sldMk cId="154761168" sldId="3744"/>
        </pc:sldMkLst>
      </pc:sldChg>
      <pc:sldChg chg="del">
        <pc:chgData name="Scott Sink" userId="007532c1-63dd-4f29-9932-df3a9735f490" providerId="ADAL" clId="{FB50856E-B55B-40FE-B1F3-9C82FC6E2468}" dt="2023-07-18T14:30:10.607" v="4323" actId="47"/>
        <pc:sldMkLst>
          <pc:docMk/>
          <pc:sldMk cId="1908783343" sldId="3745"/>
        </pc:sldMkLst>
      </pc:sldChg>
      <pc:sldChg chg="del">
        <pc:chgData name="Scott Sink" userId="007532c1-63dd-4f29-9932-df3a9735f490" providerId="ADAL" clId="{FB50856E-B55B-40FE-B1F3-9C82FC6E2468}" dt="2023-07-18T09:45:41.090" v="3067" actId="47"/>
        <pc:sldMkLst>
          <pc:docMk/>
          <pc:sldMk cId="2252823602" sldId="3746"/>
        </pc:sldMkLst>
      </pc:sldChg>
      <pc:sldChg chg="del">
        <pc:chgData name="Scott Sink" userId="007532c1-63dd-4f29-9932-df3a9735f490" providerId="ADAL" clId="{FB50856E-B55B-40FE-B1F3-9C82FC6E2468}" dt="2023-07-18T14:30:14.624" v="4325" actId="47"/>
        <pc:sldMkLst>
          <pc:docMk/>
          <pc:sldMk cId="3178020124" sldId="3748"/>
        </pc:sldMkLst>
      </pc:sldChg>
      <pc:sldChg chg="del">
        <pc:chgData name="Scott Sink" userId="007532c1-63dd-4f29-9932-df3a9735f490" providerId="ADAL" clId="{FB50856E-B55B-40FE-B1F3-9C82FC6E2468}" dt="2023-07-18T14:30:11.326" v="4324" actId="47"/>
        <pc:sldMkLst>
          <pc:docMk/>
          <pc:sldMk cId="4172800225" sldId="3749"/>
        </pc:sldMkLst>
      </pc:sldChg>
      <pc:sldChg chg="del">
        <pc:chgData name="Scott Sink" userId="007532c1-63dd-4f29-9932-df3a9735f490" providerId="ADAL" clId="{FB50856E-B55B-40FE-B1F3-9C82FC6E2468}" dt="2023-07-18T14:30:17.924" v="4329" actId="47"/>
        <pc:sldMkLst>
          <pc:docMk/>
          <pc:sldMk cId="1380569140" sldId="3750"/>
        </pc:sldMkLst>
      </pc:sldChg>
      <pc:sldChg chg="del">
        <pc:chgData name="Scott Sink" userId="007532c1-63dd-4f29-9932-df3a9735f490" providerId="ADAL" clId="{FB50856E-B55B-40FE-B1F3-9C82FC6E2468}" dt="2023-07-18T09:45:48.107" v="3072" actId="47"/>
        <pc:sldMkLst>
          <pc:docMk/>
          <pc:sldMk cId="997594699" sldId="3751"/>
        </pc:sldMkLst>
      </pc:sldChg>
      <pc:sldChg chg="del">
        <pc:chgData name="Scott Sink" userId="007532c1-63dd-4f29-9932-df3a9735f490" providerId="ADAL" clId="{FB50856E-B55B-40FE-B1F3-9C82FC6E2468}" dt="2023-07-18T09:45:48.924" v="3073" actId="47"/>
        <pc:sldMkLst>
          <pc:docMk/>
          <pc:sldMk cId="2881422688" sldId="3752"/>
        </pc:sldMkLst>
      </pc:sldChg>
      <pc:sldChg chg="del">
        <pc:chgData name="Scott Sink" userId="007532c1-63dd-4f29-9932-df3a9735f490" providerId="ADAL" clId="{FB50856E-B55B-40FE-B1F3-9C82FC6E2468}" dt="2023-07-18T14:30:01.774" v="4319" actId="47"/>
        <pc:sldMkLst>
          <pc:docMk/>
          <pc:sldMk cId="1369080686" sldId="3755"/>
        </pc:sldMkLst>
      </pc:sldChg>
      <pc:sldChg chg="del">
        <pc:chgData name="Scott Sink" userId="007532c1-63dd-4f29-9932-df3a9735f490" providerId="ADAL" clId="{FB50856E-B55B-40FE-B1F3-9C82FC6E2468}" dt="2023-07-18T14:30:15.251" v="4326" actId="47"/>
        <pc:sldMkLst>
          <pc:docMk/>
          <pc:sldMk cId="887211373" sldId="3756"/>
        </pc:sldMkLst>
      </pc:sldChg>
      <pc:sldChg chg="del">
        <pc:chgData name="Scott Sink" userId="007532c1-63dd-4f29-9932-df3a9735f490" providerId="ADAL" clId="{FB50856E-B55B-40FE-B1F3-9C82FC6E2468}" dt="2023-07-18T14:30:16.141" v="4327" actId="47"/>
        <pc:sldMkLst>
          <pc:docMk/>
          <pc:sldMk cId="3122618404" sldId="3757"/>
        </pc:sldMkLst>
      </pc:sldChg>
      <pc:sldChg chg="del">
        <pc:chgData name="Scott Sink" userId="007532c1-63dd-4f29-9932-df3a9735f490" providerId="ADAL" clId="{FB50856E-B55B-40FE-B1F3-9C82FC6E2468}" dt="2023-07-18T14:30:17.057" v="4328" actId="47"/>
        <pc:sldMkLst>
          <pc:docMk/>
          <pc:sldMk cId="3581281373" sldId="3758"/>
        </pc:sldMkLst>
      </pc:sldChg>
      <pc:sldChg chg="del">
        <pc:chgData name="Scott Sink" userId="007532c1-63dd-4f29-9932-df3a9735f490" providerId="ADAL" clId="{FB50856E-B55B-40FE-B1F3-9C82FC6E2468}" dt="2023-07-18T09:28:01.569" v="2941" actId="47"/>
        <pc:sldMkLst>
          <pc:docMk/>
          <pc:sldMk cId="328562648" sldId="3759"/>
        </pc:sldMkLst>
      </pc:sldChg>
      <pc:sldChg chg="del">
        <pc:chgData name="Scott Sink" userId="007532c1-63dd-4f29-9932-df3a9735f490" providerId="ADAL" clId="{FB50856E-B55B-40FE-B1F3-9C82FC6E2468}" dt="2023-07-18T09:27:50.838" v="2935" actId="47"/>
        <pc:sldMkLst>
          <pc:docMk/>
          <pc:sldMk cId="4164328008" sldId="3760"/>
        </pc:sldMkLst>
      </pc:sldChg>
      <pc:sldChg chg="addSp delSp modSp mod ord">
        <pc:chgData name="Scott Sink" userId="007532c1-63dd-4f29-9932-df3a9735f490" providerId="ADAL" clId="{FB50856E-B55B-40FE-B1F3-9C82FC6E2468}" dt="2023-07-18T08:36:23.587" v="1333"/>
        <pc:sldMkLst>
          <pc:docMk/>
          <pc:sldMk cId="1905520568" sldId="3761"/>
        </pc:sldMkLst>
        <pc:spChg chg="add mod">
          <ac:chgData name="Scott Sink" userId="007532c1-63dd-4f29-9932-df3a9735f490" providerId="ADAL" clId="{FB50856E-B55B-40FE-B1F3-9C82FC6E2468}" dt="2023-07-18T08:22:42.127" v="1237" actId="1076"/>
          <ac:spMkLst>
            <pc:docMk/>
            <pc:sldMk cId="1905520568" sldId="3761"/>
            <ac:spMk id="3" creationId="{7DE8840B-E35B-938F-7B10-9470A4783E1E}"/>
          </ac:spMkLst>
        </pc:spChg>
        <pc:spChg chg="add mod">
          <ac:chgData name="Scott Sink" userId="007532c1-63dd-4f29-9932-df3a9735f490" providerId="ADAL" clId="{FB50856E-B55B-40FE-B1F3-9C82FC6E2468}" dt="2023-07-18T08:22:32.457" v="1235" actId="208"/>
          <ac:spMkLst>
            <pc:docMk/>
            <pc:sldMk cId="1905520568" sldId="3761"/>
            <ac:spMk id="9" creationId="{82A085C6-2B5B-3836-0521-3CED3161B28D}"/>
          </ac:spMkLst>
        </pc:spChg>
        <pc:spChg chg="add mod">
          <ac:chgData name="Scott Sink" userId="007532c1-63dd-4f29-9932-df3a9735f490" providerId="ADAL" clId="{FB50856E-B55B-40FE-B1F3-9C82FC6E2468}" dt="2023-07-18T08:22:45.791" v="1238" actId="1076"/>
          <ac:spMkLst>
            <pc:docMk/>
            <pc:sldMk cId="1905520568" sldId="3761"/>
            <ac:spMk id="13" creationId="{772BC0D5-5B28-EED2-282F-CD5ED0C79FED}"/>
          </ac:spMkLst>
        </pc:spChg>
        <pc:spChg chg="add mod">
          <ac:chgData name="Scott Sink" userId="007532c1-63dd-4f29-9932-df3a9735f490" providerId="ADAL" clId="{FB50856E-B55B-40FE-B1F3-9C82FC6E2468}" dt="2023-07-18T08:22:21.446" v="1233" actId="208"/>
          <ac:spMkLst>
            <pc:docMk/>
            <pc:sldMk cId="1905520568" sldId="3761"/>
            <ac:spMk id="14" creationId="{683A68E7-AA16-6C78-B95D-121EA5D0FF85}"/>
          </ac:spMkLst>
        </pc:spChg>
        <pc:picChg chg="mod">
          <ac:chgData name="Scott Sink" userId="007532c1-63dd-4f29-9932-df3a9735f490" providerId="ADAL" clId="{FB50856E-B55B-40FE-B1F3-9C82FC6E2468}" dt="2023-07-18T07:55:34.564" v="501" actId="14100"/>
          <ac:picMkLst>
            <pc:docMk/>
            <pc:sldMk cId="1905520568" sldId="3761"/>
            <ac:picMk id="10" creationId="{C12468D8-5DA6-4FA8-A34E-308610B7D639}"/>
          </ac:picMkLst>
        </pc:picChg>
        <pc:picChg chg="add del">
          <ac:chgData name="Scott Sink" userId="007532c1-63dd-4f29-9932-df3a9735f490" providerId="ADAL" clId="{FB50856E-B55B-40FE-B1F3-9C82FC6E2468}" dt="2023-07-18T07:54:29.717" v="464" actId="478"/>
          <ac:picMkLst>
            <pc:docMk/>
            <pc:sldMk cId="1905520568" sldId="3761"/>
            <ac:picMk id="12" creationId="{451A16F5-3168-AF90-7D29-08D1B21844C5}"/>
          </ac:picMkLst>
        </pc:picChg>
      </pc:sldChg>
      <pc:sldChg chg="ord">
        <pc:chgData name="Scott Sink" userId="007532c1-63dd-4f29-9932-df3a9735f490" providerId="ADAL" clId="{FB50856E-B55B-40FE-B1F3-9C82FC6E2468}" dt="2023-07-18T09:27:23.507" v="2931"/>
        <pc:sldMkLst>
          <pc:docMk/>
          <pc:sldMk cId="1130458324" sldId="3762"/>
        </pc:sldMkLst>
      </pc:sldChg>
      <pc:sldChg chg="del ord">
        <pc:chgData name="Scott Sink" userId="007532c1-63dd-4f29-9932-df3a9735f490" providerId="ADAL" clId="{FB50856E-B55B-40FE-B1F3-9C82FC6E2468}" dt="2023-07-18T10:59:35.263" v="4157" actId="47"/>
        <pc:sldMkLst>
          <pc:docMk/>
          <pc:sldMk cId="2331528293" sldId="3763"/>
        </pc:sldMkLst>
      </pc:sldChg>
      <pc:sldChg chg="del">
        <pc:chgData name="Scott Sink" userId="007532c1-63dd-4f29-9932-df3a9735f490" providerId="ADAL" clId="{FB50856E-B55B-40FE-B1F3-9C82FC6E2468}" dt="2023-07-18T09:44:39.624" v="3046" actId="47"/>
        <pc:sldMkLst>
          <pc:docMk/>
          <pc:sldMk cId="2000752625" sldId="3764"/>
        </pc:sldMkLst>
      </pc:sldChg>
      <pc:sldChg chg="modSp ord">
        <pc:chgData name="Scott Sink" userId="007532c1-63dd-4f29-9932-df3a9735f490" providerId="ADAL" clId="{FB50856E-B55B-40FE-B1F3-9C82FC6E2468}" dt="2023-07-18T08:55:34.007" v="1807"/>
        <pc:sldMkLst>
          <pc:docMk/>
          <pc:sldMk cId="3617298267" sldId="3765"/>
        </pc:sldMkLst>
        <pc:spChg chg="mod">
          <ac:chgData name="Scott Sink" userId="007532c1-63dd-4f29-9932-df3a9735f490" providerId="ADAL" clId="{FB50856E-B55B-40FE-B1F3-9C82FC6E2468}" dt="2023-07-18T08:23:17.927" v="1241" actId="1076"/>
          <ac:spMkLst>
            <pc:docMk/>
            <pc:sldMk cId="3617298267" sldId="3765"/>
            <ac:spMk id="2" creationId="{5E610A0C-64D7-E922-6B60-22709B929B93}"/>
          </ac:spMkLst>
        </pc:spChg>
      </pc:sldChg>
      <pc:sldChg chg="del">
        <pc:chgData name="Scott Sink" userId="007532c1-63dd-4f29-9932-df3a9735f490" providerId="ADAL" clId="{FB50856E-B55B-40FE-B1F3-9C82FC6E2468}" dt="2023-07-18T09:28:16.631" v="2949" actId="47"/>
        <pc:sldMkLst>
          <pc:docMk/>
          <pc:sldMk cId="2295522465" sldId="3767"/>
        </pc:sldMkLst>
      </pc:sldChg>
      <pc:sldChg chg="ord">
        <pc:chgData name="Scott Sink" userId="007532c1-63dd-4f29-9932-df3a9735f490" providerId="ADAL" clId="{FB50856E-B55B-40FE-B1F3-9C82FC6E2468}" dt="2023-07-18T09:44:49.063" v="3048"/>
        <pc:sldMkLst>
          <pc:docMk/>
          <pc:sldMk cId="1200824711" sldId="3768"/>
        </pc:sldMkLst>
      </pc:sldChg>
      <pc:sldChg chg="del">
        <pc:chgData name="Scott Sink" userId="007532c1-63dd-4f29-9932-df3a9735f490" providerId="ADAL" clId="{FB50856E-B55B-40FE-B1F3-9C82FC6E2468}" dt="2023-07-18T09:27:54.569" v="2938" actId="47"/>
        <pc:sldMkLst>
          <pc:docMk/>
          <pc:sldMk cId="3003368435" sldId="3769"/>
        </pc:sldMkLst>
      </pc:sldChg>
      <pc:sldChg chg="del">
        <pc:chgData name="Scott Sink" userId="007532c1-63dd-4f29-9932-df3a9735f490" providerId="ADAL" clId="{FB50856E-B55B-40FE-B1F3-9C82FC6E2468}" dt="2023-07-18T09:28:00.921" v="2940" actId="47"/>
        <pc:sldMkLst>
          <pc:docMk/>
          <pc:sldMk cId="3867225243" sldId="3770"/>
        </pc:sldMkLst>
      </pc:sldChg>
      <pc:sldChg chg="ord">
        <pc:chgData name="Scott Sink" userId="007532c1-63dd-4f29-9932-df3a9735f490" providerId="ADAL" clId="{FB50856E-B55B-40FE-B1F3-9C82FC6E2468}" dt="2023-07-17T07:37:49.934" v="256"/>
        <pc:sldMkLst>
          <pc:docMk/>
          <pc:sldMk cId="3507596488" sldId="3771"/>
        </pc:sldMkLst>
      </pc:sldChg>
      <pc:sldChg chg="del ord">
        <pc:chgData name="Scott Sink" userId="007532c1-63dd-4f29-9932-df3a9735f490" providerId="ADAL" clId="{FB50856E-B55B-40FE-B1F3-9C82FC6E2468}" dt="2023-07-18T09:28:28.177" v="2954" actId="47"/>
        <pc:sldMkLst>
          <pc:docMk/>
          <pc:sldMk cId="476150997" sldId="3772"/>
        </pc:sldMkLst>
      </pc:sldChg>
      <pc:sldChg chg="del ord">
        <pc:chgData name="Scott Sink" userId="007532c1-63dd-4f29-9932-df3a9735f490" providerId="ADAL" clId="{FB50856E-B55B-40FE-B1F3-9C82FC6E2468}" dt="2023-07-18T09:28:27.178" v="2953" actId="47"/>
        <pc:sldMkLst>
          <pc:docMk/>
          <pc:sldMk cId="4101336632" sldId="3773"/>
        </pc:sldMkLst>
      </pc:sldChg>
      <pc:sldChg chg="modSp mod ord">
        <pc:chgData name="Scott Sink" userId="007532c1-63dd-4f29-9932-df3a9735f490" providerId="ADAL" clId="{FB50856E-B55B-40FE-B1F3-9C82FC6E2468}" dt="2023-07-18T10:33:38.682" v="3086"/>
        <pc:sldMkLst>
          <pc:docMk/>
          <pc:sldMk cId="3494568544" sldId="3774"/>
        </pc:sldMkLst>
        <pc:picChg chg="mod">
          <ac:chgData name="Scott Sink" userId="007532c1-63dd-4f29-9932-df3a9735f490" providerId="ADAL" clId="{FB50856E-B55B-40FE-B1F3-9C82FC6E2468}" dt="2023-07-18T09:41:50.207" v="2970" actId="1076"/>
          <ac:picMkLst>
            <pc:docMk/>
            <pc:sldMk cId="3494568544" sldId="3774"/>
            <ac:picMk id="8" creationId="{37708129-4383-47E5-ADD3-E2BA2410DFC1}"/>
          </ac:picMkLst>
        </pc:picChg>
      </pc:sldChg>
      <pc:sldChg chg="add del ord">
        <pc:chgData name="Scott Sink" userId="007532c1-63dd-4f29-9932-df3a9735f490" providerId="ADAL" clId="{FB50856E-B55B-40FE-B1F3-9C82FC6E2468}" dt="2023-07-18T09:28:47.357" v="2967" actId="47"/>
        <pc:sldMkLst>
          <pc:docMk/>
          <pc:sldMk cId="2085349873" sldId="3775"/>
        </pc:sldMkLst>
      </pc:sldChg>
      <pc:sldChg chg="del ord">
        <pc:chgData name="Scott Sink" userId="007532c1-63dd-4f29-9932-df3a9735f490" providerId="ADAL" clId="{FB50856E-B55B-40FE-B1F3-9C82FC6E2468}" dt="2023-07-18T09:28:41.111" v="2965" actId="47"/>
        <pc:sldMkLst>
          <pc:docMk/>
          <pc:sldMk cId="2631079649" sldId="3776"/>
        </pc:sldMkLst>
      </pc:sldChg>
      <pc:sldChg chg="del ord">
        <pc:chgData name="Scott Sink" userId="007532c1-63dd-4f29-9932-df3a9735f490" providerId="ADAL" clId="{FB50856E-B55B-40FE-B1F3-9C82FC6E2468}" dt="2023-07-18T09:28:38.324" v="2963" actId="47"/>
        <pc:sldMkLst>
          <pc:docMk/>
          <pc:sldMk cId="195917703" sldId="3778"/>
        </pc:sldMkLst>
      </pc:sldChg>
      <pc:sldChg chg="modSp ord">
        <pc:chgData name="Scott Sink" userId="007532c1-63dd-4f29-9932-df3a9735f490" providerId="ADAL" clId="{FB50856E-B55B-40FE-B1F3-9C82FC6E2468}" dt="2023-07-18T09:42:19.241" v="2973" actId="1076"/>
        <pc:sldMkLst>
          <pc:docMk/>
          <pc:sldMk cId="284347580" sldId="3779"/>
        </pc:sldMkLst>
        <pc:spChg chg="mod">
          <ac:chgData name="Scott Sink" userId="007532c1-63dd-4f29-9932-df3a9735f490" providerId="ADAL" clId="{FB50856E-B55B-40FE-B1F3-9C82FC6E2468}" dt="2023-07-18T09:42:19.241" v="2973" actId="1076"/>
          <ac:spMkLst>
            <pc:docMk/>
            <pc:sldMk cId="284347580" sldId="3779"/>
            <ac:spMk id="3" creationId="{CCFD47DC-3641-497A-BDCA-68E0D4603255}"/>
          </ac:spMkLst>
        </pc:spChg>
      </pc:sldChg>
      <pc:sldChg chg="modSp mod ord">
        <pc:chgData name="Scott Sink" userId="007532c1-63dd-4f29-9932-df3a9735f490" providerId="ADAL" clId="{FB50856E-B55B-40FE-B1F3-9C82FC6E2468}" dt="2023-07-18T09:44:54.388" v="3050"/>
        <pc:sldMkLst>
          <pc:docMk/>
          <pc:sldMk cId="613625542" sldId="3780"/>
        </pc:sldMkLst>
        <pc:spChg chg="mod">
          <ac:chgData name="Scott Sink" userId="007532c1-63dd-4f29-9932-df3a9735f490" providerId="ADAL" clId="{FB50856E-B55B-40FE-B1F3-9C82FC6E2468}" dt="2023-07-18T09:44:04.210" v="3045" actId="20577"/>
          <ac:spMkLst>
            <pc:docMk/>
            <pc:sldMk cId="613625542" sldId="3780"/>
            <ac:spMk id="5" creationId="{52DDD188-647F-4F67-A99E-D1781F9114F1}"/>
          </ac:spMkLst>
        </pc:spChg>
      </pc:sldChg>
      <pc:sldChg chg="del ord">
        <pc:chgData name="Scott Sink" userId="007532c1-63dd-4f29-9932-df3a9735f490" providerId="ADAL" clId="{FB50856E-B55B-40FE-B1F3-9C82FC6E2468}" dt="2023-07-18T08:50:10.777" v="1444" actId="47"/>
        <pc:sldMkLst>
          <pc:docMk/>
          <pc:sldMk cId="4081536244" sldId="3781"/>
        </pc:sldMkLst>
      </pc:sldChg>
      <pc:sldChg chg="modSp mod ord">
        <pc:chgData name="Scott Sink" userId="007532c1-63dd-4f29-9932-df3a9735f490" providerId="ADAL" clId="{FB50856E-B55B-40FE-B1F3-9C82FC6E2468}" dt="2023-07-18T09:43:38.026" v="3044" actId="1076"/>
        <pc:sldMkLst>
          <pc:docMk/>
          <pc:sldMk cId="2767344656" sldId="3782"/>
        </pc:sldMkLst>
        <pc:spChg chg="mod">
          <ac:chgData name="Scott Sink" userId="007532c1-63dd-4f29-9932-df3a9735f490" providerId="ADAL" clId="{FB50856E-B55B-40FE-B1F3-9C82FC6E2468}" dt="2023-07-18T09:43:30.234" v="3043" actId="20577"/>
          <ac:spMkLst>
            <pc:docMk/>
            <pc:sldMk cId="2767344656" sldId="3782"/>
            <ac:spMk id="3" creationId="{379E4CA3-D163-4680-A0FD-BCB1ADDB3D0E}"/>
          </ac:spMkLst>
        </pc:spChg>
        <pc:spChg chg="mod">
          <ac:chgData name="Scott Sink" userId="007532c1-63dd-4f29-9932-df3a9735f490" providerId="ADAL" clId="{FB50856E-B55B-40FE-B1F3-9C82FC6E2468}" dt="2023-07-18T09:42:56.490" v="3004" actId="20577"/>
          <ac:spMkLst>
            <pc:docMk/>
            <pc:sldMk cId="2767344656" sldId="3782"/>
            <ac:spMk id="4" creationId="{B307EFBE-E10F-456E-91B0-83CCE4F54843}"/>
          </ac:spMkLst>
        </pc:spChg>
        <pc:spChg chg="mod">
          <ac:chgData name="Scott Sink" userId="007532c1-63dd-4f29-9932-df3a9735f490" providerId="ADAL" clId="{FB50856E-B55B-40FE-B1F3-9C82FC6E2468}" dt="2023-07-18T09:43:38.026" v="3044" actId="1076"/>
          <ac:spMkLst>
            <pc:docMk/>
            <pc:sldMk cId="2767344656" sldId="3782"/>
            <ac:spMk id="20" creationId="{923F242E-918C-446D-A1EA-D3ABE7821FC2}"/>
          </ac:spMkLst>
        </pc:spChg>
      </pc:sldChg>
      <pc:sldChg chg="del ord">
        <pc:chgData name="Scott Sink" userId="007532c1-63dd-4f29-9932-df3a9735f490" providerId="ADAL" clId="{FB50856E-B55B-40FE-B1F3-9C82FC6E2468}" dt="2023-07-18T09:28:35.124" v="2959" actId="47"/>
        <pc:sldMkLst>
          <pc:docMk/>
          <pc:sldMk cId="1423464395" sldId="3783"/>
        </pc:sldMkLst>
      </pc:sldChg>
      <pc:sldChg chg="del ord">
        <pc:chgData name="Scott Sink" userId="007532c1-63dd-4f29-9932-df3a9735f490" providerId="ADAL" clId="{FB50856E-B55B-40FE-B1F3-9C82FC6E2468}" dt="2023-07-18T11:01:09.330" v="4192" actId="47"/>
        <pc:sldMkLst>
          <pc:docMk/>
          <pc:sldMk cId="1167232084" sldId="3784"/>
        </pc:sldMkLst>
      </pc:sldChg>
      <pc:sldChg chg="del ord">
        <pc:chgData name="Scott Sink" userId="007532c1-63dd-4f29-9932-df3a9735f490" providerId="ADAL" clId="{FB50856E-B55B-40FE-B1F3-9C82FC6E2468}" dt="2023-07-18T09:28:37.624" v="2962" actId="47"/>
        <pc:sldMkLst>
          <pc:docMk/>
          <pc:sldMk cId="2289787300" sldId="3785"/>
        </pc:sldMkLst>
      </pc:sldChg>
      <pc:sldChg chg="del ord">
        <pc:chgData name="Scott Sink" userId="007532c1-63dd-4f29-9932-df3a9735f490" providerId="ADAL" clId="{FB50856E-B55B-40FE-B1F3-9C82FC6E2468}" dt="2023-07-18T09:28:34.324" v="2958" actId="47"/>
        <pc:sldMkLst>
          <pc:docMk/>
          <pc:sldMk cId="563231357" sldId="3786"/>
        </pc:sldMkLst>
      </pc:sldChg>
      <pc:sldChg chg="del ord">
        <pc:chgData name="Scott Sink" userId="007532c1-63dd-4f29-9932-df3a9735f490" providerId="ADAL" clId="{FB50856E-B55B-40FE-B1F3-9C82FC6E2468}" dt="2023-07-18T09:28:33.666" v="2957" actId="47"/>
        <pc:sldMkLst>
          <pc:docMk/>
          <pc:sldMk cId="2722228075" sldId="3787"/>
        </pc:sldMkLst>
      </pc:sldChg>
      <pc:sldChg chg="del ord">
        <pc:chgData name="Scott Sink" userId="007532c1-63dd-4f29-9932-df3a9735f490" providerId="ADAL" clId="{FB50856E-B55B-40FE-B1F3-9C82FC6E2468}" dt="2023-07-18T09:28:32.986" v="2956" actId="47"/>
        <pc:sldMkLst>
          <pc:docMk/>
          <pc:sldMk cId="390451315" sldId="3788"/>
        </pc:sldMkLst>
      </pc:sldChg>
      <pc:sldChg chg="del ord">
        <pc:chgData name="Scott Sink" userId="007532c1-63dd-4f29-9932-df3a9735f490" providerId="ADAL" clId="{FB50856E-B55B-40FE-B1F3-9C82FC6E2468}" dt="2023-07-18T09:28:32.307" v="2955" actId="47"/>
        <pc:sldMkLst>
          <pc:docMk/>
          <pc:sldMk cId="4051168136" sldId="3789"/>
        </pc:sldMkLst>
      </pc:sldChg>
      <pc:sldChg chg="del ord">
        <pc:chgData name="Scott Sink" userId="007532c1-63dd-4f29-9932-df3a9735f490" providerId="ADAL" clId="{FB50856E-B55B-40FE-B1F3-9C82FC6E2468}" dt="2023-07-18T09:28:37.141" v="2961" actId="47"/>
        <pc:sldMkLst>
          <pc:docMk/>
          <pc:sldMk cId="1202657784" sldId="3790"/>
        </pc:sldMkLst>
      </pc:sldChg>
      <pc:sldChg chg="del ord">
        <pc:chgData name="Scott Sink" userId="007532c1-63dd-4f29-9932-df3a9735f490" providerId="ADAL" clId="{FB50856E-B55B-40FE-B1F3-9C82FC6E2468}" dt="2023-07-18T09:28:25.741" v="2952" actId="47"/>
        <pc:sldMkLst>
          <pc:docMk/>
          <pc:sldMk cId="1304768579" sldId="3791"/>
        </pc:sldMkLst>
      </pc:sldChg>
      <pc:sldChg chg="del ord">
        <pc:chgData name="Scott Sink" userId="007532c1-63dd-4f29-9932-df3a9735f490" providerId="ADAL" clId="{FB50856E-B55B-40FE-B1F3-9C82FC6E2468}" dt="2023-07-18T09:28:22.841" v="2951" actId="47"/>
        <pc:sldMkLst>
          <pc:docMk/>
          <pc:sldMk cId="1266825863" sldId="3792"/>
        </pc:sldMkLst>
      </pc:sldChg>
      <pc:sldChg chg="del ord">
        <pc:chgData name="Scott Sink" userId="007532c1-63dd-4f29-9932-df3a9735f490" providerId="ADAL" clId="{FB50856E-B55B-40FE-B1F3-9C82FC6E2468}" dt="2023-07-18T09:28:39.131" v="2964" actId="47"/>
        <pc:sldMkLst>
          <pc:docMk/>
          <pc:sldMk cId="350048468" sldId="3793"/>
        </pc:sldMkLst>
      </pc:sldChg>
      <pc:sldChg chg="del">
        <pc:chgData name="Scott Sink" userId="007532c1-63dd-4f29-9932-df3a9735f490" providerId="ADAL" clId="{FB50856E-B55B-40FE-B1F3-9C82FC6E2468}" dt="2023-07-18T09:27:48.503" v="2933" actId="47"/>
        <pc:sldMkLst>
          <pc:docMk/>
          <pc:sldMk cId="2063175306" sldId="3794"/>
        </pc:sldMkLst>
      </pc:sldChg>
      <pc:sldChg chg="del">
        <pc:chgData name="Scott Sink" userId="007532c1-63dd-4f29-9932-df3a9735f490" providerId="ADAL" clId="{FB50856E-B55B-40FE-B1F3-9C82FC6E2468}" dt="2023-07-18T09:27:49.390" v="2934" actId="47"/>
        <pc:sldMkLst>
          <pc:docMk/>
          <pc:sldMk cId="811288923" sldId="3795"/>
        </pc:sldMkLst>
      </pc:sldChg>
      <pc:sldChg chg="delSp modSp add mod">
        <pc:chgData name="Scott Sink" userId="007532c1-63dd-4f29-9932-df3a9735f490" providerId="ADAL" clId="{FB50856E-B55B-40FE-B1F3-9C82FC6E2468}" dt="2023-07-18T07:53:23.912" v="447" actId="14100"/>
        <pc:sldMkLst>
          <pc:docMk/>
          <pc:sldMk cId="3126925418" sldId="3796"/>
        </pc:sldMkLst>
        <pc:spChg chg="del">
          <ac:chgData name="Scott Sink" userId="007532c1-63dd-4f29-9932-df3a9735f490" providerId="ADAL" clId="{FB50856E-B55B-40FE-B1F3-9C82FC6E2468}" dt="2023-07-18T07:53:20.030" v="446" actId="478"/>
          <ac:spMkLst>
            <pc:docMk/>
            <pc:sldMk cId="3126925418" sldId="3796"/>
            <ac:spMk id="5" creationId="{BA939523-378E-B1A4-D0A8-161A1283FEB0}"/>
          </ac:spMkLst>
        </pc:spChg>
        <pc:spChg chg="mod">
          <ac:chgData name="Scott Sink" userId="007532c1-63dd-4f29-9932-df3a9735f490" providerId="ADAL" clId="{FB50856E-B55B-40FE-B1F3-9C82FC6E2468}" dt="2023-07-18T07:53:23.912" v="447" actId="14100"/>
          <ac:spMkLst>
            <pc:docMk/>
            <pc:sldMk cId="3126925418" sldId="3796"/>
            <ac:spMk id="7" creationId="{5C825391-331A-2684-6F3E-58B753BF98D5}"/>
          </ac:spMkLst>
        </pc:spChg>
      </pc:sldChg>
      <pc:sldChg chg="add del">
        <pc:chgData name="Scott Sink" userId="007532c1-63dd-4f29-9932-df3a9735f490" providerId="ADAL" clId="{FB50856E-B55B-40FE-B1F3-9C82FC6E2468}" dt="2023-07-18T07:57:39.710" v="506" actId="47"/>
        <pc:sldMkLst>
          <pc:docMk/>
          <pc:sldMk cId="2752269740" sldId="3797"/>
        </pc:sldMkLst>
      </pc:sldChg>
      <pc:sldChg chg="modSp add mod ord">
        <pc:chgData name="Scott Sink" userId="007532c1-63dd-4f29-9932-df3a9735f490" providerId="ADAL" clId="{FB50856E-B55B-40FE-B1F3-9C82FC6E2468}" dt="2023-07-18T13:19:05.043" v="4219" actId="20577"/>
        <pc:sldMkLst>
          <pc:docMk/>
          <pc:sldMk cId="1853462199" sldId="3798"/>
        </pc:sldMkLst>
        <pc:spChg chg="mod">
          <ac:chgData name="Scott Sink" userId="007532c1-63dd-4f29-9932-df3a9735f490" providerId="ADAL" clId="{FB50856E-B55B-40FE-B1F3-9C82FC6E2468}" dt="2023-07-18T13:18:53.841" v="4203" actId="20577"/>
          <ac:spMkLst>
            <pc:docMk/>
            <pc:sldMk cId="1853462199" sldId="3798"/>
            <ac:spMk id="223256" creationId="{00000000-0000-0000-0000-000000000000}"/>
          </ac:spMkLst>
        </pc:spChg>
        <pc:spChg chg="mod">
          <ac:chgData name="Scott Sink" userId="007532c1-63dd-4f29-9932-df3a9735f490" providerId="ADAL" clId="{FB50856E-B55B-40FE-B1F3-9C82FC6E2468}" dt="2023-07-18T13:19:05.043" v="4219" actId="20577"/>
          <ac:spMkLst>
            <pc:docMk/>
            <pc:sldMk cId="1853462199" sldId="3798"/>
            <ac:spMk id="223269" creationId="{00000000-0000-0000-0000-000000000000}"/>
          </ac:spMkLst>
        </pc:spChg>
      </pc:sldChg>
      <pc:sldChg chg="addSp delSp modSp add mod ord">
        <pc:chgData name="Scott Sink" userId="007532c1-63dd-4f29-9932-df3a9735f490" providerId="ADAL" clId="{FB50856E-B55B-40FE-B1F3-9C82FC6E2468}" dt="2023-07-18T08:32:10.679" v="1314" actId="1076"/>
        <pc:sldMkLst>
          <pc:docMk/>
          <pc:sldMk cId="521672770" sldId="3799"/>
        </pc:sldMkLst>
        <pc:spChg chg="add mod">
          <ac:chgData name="Scott Sink" userId="007532c1-63dd-4f29-9932-df3a9735f490" providerId="ADAL" clId="{FB50856E-B55B-40FE-B1F3-9C82FC6E2468}" dt="2023-07-18T08:31:37.273" v="1300" actId="207"/>
          <ac:spMkLst>
            <pc:docMk/>
            <pc:sldMk cId="521672770" sldId="3799"/>
            <ac:spMk id="2" creationId="{56D16FE4-1F70-238F-39EF-C0E82CBA2A5C}"/>
          </ac:spMkLst>
        </pc:spChg>
        <pc:spChg chg="add mod">
          <ac:chgData name="Scott Sink" userId="007532c1-63dd-4f29-9932-df3a9735f490" providerId="ADAL" clId="{FB50856E-B55B-40FE-B1F3-9C82FC6E2468}" dt="2023-07-18T08:32:10.679" v="1314" actId="1076"/>
          <ac:spMkLst>
            <pc:docMk/>
            <pc:sldMk cId="521672770" sldId="3799"/>
            <ac:spMk id="3" creationId="{73F6EA83-900A-8E22-EB4F-A2BA9D76F057}"/>
          </ac:spMkLst>
        </pc:spChg>
        <pc:spChg chg="mod">
          <ac:chgData name="Scott Sink" userId="007532c1-63dd-4f29-9932-df3a9735f490" providerId="ADAL" clId="{FB50856E-B55B-40FE-B1F3-9C82FC6E2468}" dt="2023-07-18T08:31:57.807" v="1312" actId="20577"/>
          <ac:spMkLst>
            <pc:docMk/>
            <pc:sldMk cId="521672770" sldId="3799"/>
            <ac:spMk id="262161" creationId="{00000000-0000-0000-0000-000000000000}"/>
          </ac:spMkLst>
        </pc:spChg>
        <pc:spChg chg="mod">
          <ac:chgData name="Scott Sink" userId="007532c1-63dd-4f29-9932-df3a9735f490" providerId="ADAL" clId="{FB50856E-B55B-40FE-B1F3-9C82FC6E2468}" dt="2023-07-17T12:09:58.078" v="272" actId="403"/>
          <ac:spMkLst>
            <pc:docMk/>
            <pc:sldMk cId="521672770" sldId="3799"/>
            <ac:spMk id="262162" creationId="{00000000-0000-0000-0000-000000000000}"/>
          </ac:spMkLst>
        </pc:spChg>
        <pc:spChg chg="del">
          <ac:chgData name="Scott Sink" userId="007532c1-63dd-4f29-9932-df3a9735f490" providerId="ADAL" clId="{FB50856E-B55B-40FE-B1F3-9C82FC6E2468}" dt="2023-07-18T08:23:57.857" v="1242" actId="478"/>
          <ac:spMkLst>
            <pc:docMk/>
            <pc:sldMk cId="521672770" sldId="3799"/>
            <ac:spMk id="262165" creationId="{00000000-0000-0000-0000-000000000000}"/>
          </ac:spMkLst>
        </pc:spChg>
        <pc:spChg chg="del">
          <ac:chgData name="Scott Sink" userId="007532c1-63dd-4f29-9932-df3a9735f490" providerId="ADAL" clId="{FB50856E-B55B-40FE-B1F3-9C82FC6E2468}" dt="2023-07-18T08:24:00.779" v="1244" actId="478"/>
          <ac:spMkLst>
            <pc:docMk/>
            <pc:sldMk cId="521672770" sldId="3799"/>
            <ac:spMk id="262166" creationId="{00000000-0000-0000-0000-000000000000}"/>
          </ac:spMkLst>
        </pc:spChg>
        <pc:spChg chg="del">
          <ac:chgData name="Scott Sink" userId="007532c1-63dd-4f29-9932-df3a9735f490" providerId="ADAL" clId="{FB50856E-B55B-40FE-B1F3-9C82FC6E2468}" dt="2023-07-18T08:24:02.924" v="1245" actId="478"/>
          <ac:spMkLst>
            <pc:docMk/>
            <pc:sldMk cId="521672770" sldId="3799"/>
            <ac:spMk id="262167" creationId="{00000000-0000-0000-0000-000000000000}"/>
          </ac:spMkLst>
        </pc:spChg>
        <pc:spChg chg="del">
          <ac:chgData name="Scott Sink" userId="007532c1-63dd-4f29-9932-df3a9735f490" providerId="ADAL" clId="{FB50856E-B55B-40FE-B1F3-9C82FC6E2468}" dt="2023-07-18T08:24:05.676" v="1247" actId="478"/>
          <ac:spMkLst>
            <pc:docMk/>
            <pc:sldMk cId="521672770" sldId="3799"/>
            <ac:spMk id="262168" creationId="{00000000-0000-0000-0000-000000000000}"/>
          </ac:spMkLst>
        </pc:spChg>
        <pc:spChg chg="del">
          <ac:chgData name="Scott Sink" userId="007532c1-63dd-4f29-9932-df3a9735f490" providerId="ADAL" clId="{FB50856E-B55B-40FE-B1F3-9C82FC6E2468}" dt="2023-07-18T08:24:07.016" v="1248" actId="478"/>
          <ac:spMkLst>
            <pc:docMk/>
            <pc:sldMk cId="521672770" sldId="3799"/>
            <ac:spMk id="262169" creationId="{00000000-0000-0000-0000-000000000000}"/>
          </ac:spMkLst>
        </pc:spChg>
        <pc:spChg chg="del">
          <ac:chgData name="Scott Sink" userId="007532c1-63dd-4f29-9932-df3a9735f490" providerId="ADAL" clId="{FB50856E-B55B-40FE-B1F3-9C82FC6E2468}" dt="2023-07-18T08:24:04.363" v="1246" actId="478"/>
          <ac:spMkLst>
            <pc:docMk/>
            <pc:sldMk cId="521672770" sldId="3799"/>
            <ac:spMk id="262170" creationId="{00000000-0000-0000-0000-000000000000}"/>
          </ac:spMkLst>
        </pc:spChg>
        <pc:spChg chg="del">
          <ac:chgData name="Scott Sink" userId="007532c1-63dd-4f29-9932-df3a9735f490" providerId="ADAL" clId="{FB50856E-B55B-40FE-B1F3-9C82FC6E2468}" dt="2023-07-18T08:23:59.219" v="1243" actId="478"/>
          <ac:spMkLst>
            <pc:docMk/>
            <pc:sldMk cId="521672770" sldId="3799"/>
            <ac:spMk id="262171" creationId="{00000000-0000-0000-0000-000000000000}"/>
          </ac:spMkLst>
        </pc:spChg>
      </pc:sldChg>
      <pc:sldChg chg="delSp modSp add mod ord">
        <pc:chgData name="Scott Sink" userId="007532c1-63dd-4f29-9932-df3a9735f490" providerId="ADAL" clId="{FB50856E-B55B-40FE-B1F3-9C82FC6E2468}" dt="2023-07-18T09:02:05.417" v="2076"/>
        <pc:sldMkLst>
          <pc:docMk/>
          <pc:sldMk cId="1293150019" sldId="3800"/>
        </pc:sldMkLst>
        <pc:spChg chg="del">
          <ac:chgData name="Scott Sink" userId="007532c1-63dd-4f29-9932-df3a9735f490" providerId="ADAL" clId="{FB50856E-B55B-40FE-B1F3-9C82FC6E2468}" dt="2023-07-18T08:24:49.691" v="1249" actId="478"/>
          <ac:spMkLst>
            <pc:docMk/>
            <pc:sldMk cId="1293150019" sldId="3800"/>
            <ac:spMk id="2" creationId="{00000000-0000-0000-0000-000000000000}"/>
          </ac:spMkLst>
        </pc:spChg>
        <pc:spChg chg="mod">
          <ac:chgData name="Scott Sink" userId="007532c1-63dd-4f29-9932-df3a9735f490" providerId="ADAL" clId="{FB50856E-B55B-40FE-B1F3-9C82FC6E2468}" dt="2023-07-18T08:48:54.546" v="1441" actId="20577"/>
          <ac:spMkLst>
            <pc:docMk/>
            <pc:sldMk cId="1293150019" sldId="3800"/>
            <ac:spMk id="250891" creationId="{00000000-0000-0000-0000-000000000000}"/>
          </ac:spMkLst>
        </pc:spChg>
        <pc:spChg chg="mod">
          <ac:chgData name="Scott Sink" userId="007532c1-63dd-4f29-9932-df3a9735f490" providerId="ADAL" clId="{FB50856E-B55B-40FE-B1F3-9C82FC6E2468}" dt="2023-07-18T08:48:44.181" v="1422" actId="20577"/>
          <ac:spMkLst>
            <pc:docMk/>
            <pc:sldMk cId="1293150019" sldId="3800"/>
            <ac:spMk id="250892" creationId="{00000000-0000-0000-0000-000000000000}"/>
          </ac:spMkLst>
        </pc:spChg>
        <pc:cxnChg chg="mod">
          <ac:chgData name="Scott Sink" userId="007532c1-63dd-4f29-9932-df3a9735f490" providerId="ADAL" clId="{FB50856E-B55B-40FE-B1F3-9C82FC6E2468}" dt="2023-07-18T08:48:49.410" v="1423" actId="20577"/>
          <ac:cxnSpMkLst>
            <pc:docMk/>
            <pc:sldMk cId="1293150019" sldId="3800"/>
            <ac:cxnSpMk id="250911" creationId="{00000000-0000-0000-0000-000000000000}"/>
          </ac:cxnSpMkLst>
        </pc:cxnChg>
        <pc:cxnChg chg="mod">
          <ac:chgData name="Scott Sink" userId="007532c1-63dd-4f29-9932-df3a9735f490" providerId="ADAL" clId="{FB50856E-B55B-40FE-B1F3-9C82FC6E2468}" dt="2023-07-18T08:48:49.410" v="1423" actId="20577"/>
          <ac:cxnSpMkLst>
            <pc:docMk/>
            <pc:sldMk cId="1293150019" sldId="3800"/>
            <ac:cxnSpMk id="250913" creationId="{00000000-0000-0000-0000-000000000000}"/>
          </ac:cxnSpMkLst>
        </pc:cxnChg>
      </pc:sldChg>
      <pc:sldChg chg="addSp delSp modSp add mod">
        <pc:chgData name="Scott Sink" userId="007532c1-63dd-4f29-9932-df3a9735f490" providerId="ADAL" clId="{FB50856E-B55B-40FE-B1F3-9C82FC6E2468}" dt="2023-07-18T08:05:14.207" v="526" actId="478"/>
        <pc:sldMkLst>
          <pc:docMk/>
          <pc:sldMk cId="556714068" sldId="3801"/>
        </pc:sldMkLst>
        <pc:spChg chg="mod">
          <ac:chgData name="Scott Sink" userId="007532c1-63dd-4f29-9932-df3a9735f490" providerId="ADAL" clId="{FB50856E-B55B-40FE-B1F3-9C82FC6E2468}" dt="2023-07-18T08:04:59.541" v="524" actId="403"/>
          <ac:spMkLst>
            <pc:docMk/>
            <pc:sldMk cId="556714068" sldId="3801"/>
            <ac:spMk id="40" creationId="{00000000-0000-0000-0000-000000000000}"/>
          </ac:spMkLst>
        </pc:spChg>
        <pc:picChg chg="add del">
          <ac:chgData name="Scott Sink" userId="007532c1-63dd-4f29-9932-df3a9735f490" providerId="ADAL" clId="{FB50856E-B55B-40FE-B1F3-9C82FC6E2468}" dt="2023-07-18T08:05:14.207" v="526" actId="478"/>
          <ac:picMkLst>
            <pc:docMk/>
            <pc:sldMk cId="556714068" sldId="3801"/>
            <ac:picMk id="38" creationId="{AFC2011B-48E4-437E-BB64-10176F6D7202}"/>
          </ac:picMkLst>
        </pc:picChg>
      </pc:sldChg>
      <pc:sldChg chg="add del">
        <pc:chgData name="Scott Sink" userId="007532c1-63dd-4f29-9932-df3a9735f490" providerId="ADAL" clId="{FB50856E-B55B-40FE-B1F3-9C82FC6E2468}" dt="2023-07-18T08:05:47.262" v="531" actId="47"/>
        <pc:sldMkLst>
          <pc:docMk/>
          <pc:sldMk cId="1329546997" sldId="3802"/>
        </pc:sldMkLst>
      </pc:sldChg>
      <pc:sldChg chg="add ord">
        <pc:chgData name="Scott Sink" userId="007532c1-63dd-4f29-9932-df3a9735f490" providerId="ADAL" clId="{FB50856E-B55B-40FE-B1F3-9C82FC6E2468}" dt="2023-07-18T08:05:38.374" v="530"/>
        <pc:sldMkLst>
          <pc:docMk/>
          <pc:sldMk cId="1688553848" sldId="3803"/>
        </pc:sldMkLst>
      </pc:sldChg>
      <pc:sldChg chg="add ord">
        <pc:chgData name="Scott Sink" userId="007532c1-63dd-4f29-9932-df3a9735f490" providerId="ADAL" clId="{FB50856E-B55B-40FE-B1F3-9C82FC6E2468}" dt="2023-07-18T08:06:20.857" v="539"/>
        <pc:sldMkLst>
          <pc:docMk/>
          <pc:sldMk cId="1167535569" sldId="3804"/>
        </pc:sldMkLst>
      </pc:sldChg>
      <pc:sldChg chg="add del ord">
        <pc:chgData name="Scott Sink" userId="007532c1-63dd-4f29-9932-df3a9735f490" providerId="ADAL" clId="{FB50856E-B55B-40FE-B1F3-9C82FC6E2468}" dt="2023-07-18T08:33:10.592" v="1317" actId="47"/>
        <pc:sldMkLst>
          <pc:docMk/>
          <pc:sldMk cId="2336825630" sldId="3805"/>
        </pc:sldMkLst>
      </pc:sldChg>
      <pc:sldChg chg="addSp modSp new mod ord">
        <pc:chgData name="Scott Sink" userId="007532c1-63dd-4f29-9932-df3a9735f490" providerId="ADAL" clId="{FB50856E-B55B-40FE-B1F3-9C82FC6E2468}" dt="2023-07-18T08:21:16.219" v="1225" actId="207"/>
        <pc:sldMkLst>
          <pc:docMk/>
          <pc:sldMk cId="1403268931" sldId="3806"/>
        </pc:sldMkLst>
        <pc:spChg chg="mod">
          <ac:chgData name="Scott Sink" userId="007532c1-63dd-4f29-9932-df3a9735f490" providerId="ADAL" clId="{FB50856E-B55B-40FE-B1F3-9C82FC6E2468}" dt="2023-07-18T08:08:08.896" v="629" actId="404"/>
          <ac:spMkLst>
            <pc:docMk/>
            <pc:sldMk cId="1403268931" sldId="3806"/>
            <ac:spMk id="2" creationId="{BD460EAF-4B11-0BC2-A93E-3FFC95710549}"/>
          </ac:spMkLst>
        </pc:spChg>
        <pc:spChg chg="mod">
          <ac:chgData name="Scott Sink" userId="007532c1-63dd-4f29-9932-df3a9735f490" providerId="ADAL" clId="{FB50856E-B55B-40FE-B1F3-9C82FC6E2468}" dt="2023-07-18T08:20:57.558" v="1193" actId="20577"/>
          <ac:spMkLst>
            <pc:docMk/>
            <pc:sldMk cId="1403268931" sldId="3806"/>
            <ac:spMk id="3" creationId="{FB9495F6-DA68-1D0E-B06D-FFB6B84577E4}"/>
          </ac:spMkLst>
        </pc:spChg>
        <pc:spChg chg="add mod">
          <ac:chgData name="Scott Sink" userId="007532c1-63dd-4f29-9932-df3a9735f490" providerId="ADAL" clId="{FB50856E-B55B-40FE-B1F3-9C82FC6E2468}" dt="2023-07-18T08:21:16.219" v="1225" actId="207"/>
          <ac:spMkLst>
            <pc:docMk/>
            <pc:sldMk cId="1403268931" sldId="3806"/>
            <ac:spMk id="4" creationId="{F9C14737-400F-AD0C-2BAA-D809C411A7DF}"/>
          </ac:spMkLst>
        </pc:spChg>
      </pc:sldChg>
      <pc:sldChg chg="modSp add mod ord">
        <pc:chgData name="Scott Sink" userId="007532c1-63dd-4f29-9932-df3a9735f490" providerId="ADAL" clId="{FB50856E-B55B-40FE-B1F3-9C82FC6E2468}" dt="2023-07-18T08:21:51.308" v="1229" actId="1076"/>
        <pc:sldMkLst>
          <pc:docMk/>
          <pc:sldMk cId="701426002" sldId="3807"/>
        </pc:sldMkLst>
        <pc:spChg chg="mod">
          <ac:chgData name="Scott Sink" userId="007532c1-63dd-4f29-9932-df3a9735f490" providerId="ADAL" clId="{FB50856E-B55B-40FE-B1F3-9C82FC6E2468}" dt="2023-07-18T08:21:51.308" v="1229" actId="1076"/>
          <ac:spMkLst>
            <pc:docMk/>
            <pc:sldMk cId="701426002" sldId="3807"/>
            <ac:spMk id="4" creationId="{F9C14737-400F-AD0C-2BAA-D809C411A7DF}"/>
          </ac:spMkLst>
        </pc:spChg>
      </pc:sldChg>
      <pc:sldChg chg="modSp add mod ord">
        <pc:chgData name="Scott Sink" userId="007532c1-63dd-4f29-9932-df3a9735f490" providerId="ADAL" clId="{FB50856E-B55B-40FE-B1F3-9C82FC6E2468}" dt="2023-07-18T08:47:31.941" v="1413"/>
        <pc:sldMkLst>
          <pc:docMk/>
          <pc:sldMk cId="3096546580" sldId="3808"/>
        </pc:sldMkLst>
        <pc:spChg chg="mod">
          <ac:chgData name="Scott Sink" userId="007532c1-63dd-4f29-9932-df3a9735f490" providerId="ADAL" clId="{FB50856E-B55B-40FE-B1F3-9C82FC6E2468}" dt="2023-07-18T08:25:28.216" v="1253" actId="1076"/>
          <ac:spMkLst>
            <pc:docMk/>
            <pc:sldMk cId="3096546580" sldId="3808"/>
            <ac:spMk id="4" creationId="{F9C14737-400F-AD0C-2BAA-D809C411A7DF}"/>
          </ac:spMkLst>
        </pc:spChg>
      </pc:sldChg>
      <pc:sldChg chg="addSp modSp add mod">
        <pc:chgData name="Scott Sink" userId="007532c1-63dd-4f29-9932-df3a9735f490" providerId="ADAL" clId="{FB50856E-B55B-40FE-B1F3-9C82FC6E2468}" dt="2023-07-18T14:29:19.257" v="4316" actId="1076"/>
        <pc:sldMkLst>
          <pc:docMk/>
          <pc:sldMk cId="3725887983" sldId="3809"/>
        </pc:sldMkLst>
        <pc:spChg chg="mod">
          <ac:chgData name="Scott Sink" userId="007532c1-63dd-4f29-9932-df3a9735f490" providerId="ADAL" clId="{FB50856E-B55B-40FE-B1F3-9C82FC6E2468}" dt="2023-07-18T14:29:13.013" v="4315"/>
          <ac:spMkLst>
            <pc:docMk/>
            <pc:sldMk cId="3725887983" sldId="3809"/>
            <ac:spMk id="13" creationId="{E7A35A68-D795-AC5D-3137-9A91301DEF9F}"/>
          </ac:spMkLst>
        </pc:spChg>
        <pc:grpChg chg="add mod">
          <ac:chgData name="Scott Sink" userId="007532c1-63dd-4f29-9932-df3a9735f490" providerId="ADAL" clId="{FB50856E-B55B-40FE-B1F3-9C82FC6E2468}" dt="2023-07-18T14:29:19.257" v="4316" actId="1076"/>
          <ac:grpSpMkLst>
            <pc:docMk/>
            <pc:sldMk cId="3725887983" sldId="3809"/>
            <ac:grpSpMk id="10" creationId="{BB5E9F60-2F9E-6632-7262-BECBF3D2D439}"/>
          </ac:grpSpMkLst>
        </pc:grpChg>
        <pc:picChg chg="mod">
          <ac:chgData name="Scott Sink" userId="007532c1-63dd-4f29-9932-df3a9735f490" providerId="ADAL" clId="{FB50856E-B55B-40FE-B1F3-9C82FC6E2468}" dt="2023-07-18T14:29:13.013" v="4315"/>
          <ac:picMkLst>
            <pc:docMk/>
            <pc:sldMk cId="3725887983" sldId="3809"/>
            <ac:picMk id="12" creationId="{145163C3-2401-C706-00CD-1CE765E6EB6D}"/>
          </ac:picMkLst>
        </pc:picChg>
      </pc:sldChg>
      <pc:sldChg chg="add">
        <pc:chgData name="Scott Sink" userId="007532c1-63dd-4f29-9932-df3a9735f490" providerId="ADAL" clId="{FB50856E-B55B-40FE-B1F3-9C82FC6E2468}" dt="2023-07-18T08:29:06.767" v="1261"/>
        <pc:sldMkLst>
          <pc:docMk/>
          <pc:sldMk cId="2483577662" sldId="3810"/>
        </pc:sldMkLst>
      </pc:sldChg>
      <pc:sldChg chg="add ord">
        <pc:chgData name="Scott Sink" userId="007532c1-63dd-4f29-9932-df3a9735f490" providerId="ADAL" clId="{FB50856E-B55B-40FE-B1F3-9C82FC6E2468}" dt="2023-07-18T14:29:55.876" v="4318"/>
        <pc:sldMkLst>
          <pc:docMk/>
          <pc:sldMk cId="4020606324" sldId="3811"/>
        </pc:sldMkLst>
      </pc:sldChg>
      <pc:sldChg chg="add">
        <pc:chgData name="Scott Sink" userId="007532c1-63dd-4f29-9932-df3a9735f490" providerId="ADAL" clId="{FB50856E-B55B-40FE-B1F3-9C82FC6E2468}" dt="2023-07-18T08:29:23.957" v="1265"/>
        <pc:sldMkLst>
          <pc:docMk/>
          <pc:sldMk cId="3959275179" sldId="3812"/>
        </pc:sldMkLst>
      </pc:sldChg>
      <pc:sldChg chg="add">
        <pc:chgData name="Scott Sink" userId="007532c1-63dd-4f29-9932-df3a9735f490" providerId="ADAL" clId="{FB50856E-B55B-40FE-B1F3-9C82FC6E2468}" dt="2023-07-18T08:29:45.391" v="1267"/>
        <pc:sldMkLst>
          <pc:docMk/>
          <pc:sldMk cId="4162083558" sldId="3813"/>
        </pc:sldMkLst>
      </pc:sldChg>
      <pc:sldChg chg="add">
        <pc:chgData name="Scott Sink" userId="007532c1-63dd-4f29-9932-df3a9735f490" providerId="ADAL" clId="{FB50856E-B55B-40FE-B1F3-9C82FC6E2468}" dt="2023-07-18T08:30:10.746" v="1269"/>
        <pc:sldMkLst>
          <pc:docMk/>
          <pc:sldMk cId="2121546824" sldId="3814"/>
        </pc:sldMkLst>
      </pc:sldChg>
      <pc:sldChg chg="add">
        <pc:chgData name="Scott Sink" userId="007532c1-63dd-4f29-9932-df3a9735f490" providerId="ADAL" clId="{FB50856E-B55B-40FE-B1F3-9C82FC6E2468}" dt="2023-07-18T08:33:05.601" v="1316"/>
        <pc:sldMkLst>
          <pc:docMk/>
          <pc:sldMk cId="2489217117" sldId="3815"/>
        </pc:sldMkLst>
      </pc:sldChg>
      <pc:sldChg chg="add">
        <pc:chgData name="Scott Sink" userId="007532c1-63dd-4f29-9932-df3a9735f490" providerId="ADAL" clId="{FB50856E-B55B-40FE-B1F3-9C82FC6E2468}" dt="2023-07-18T08:33:37.476" v="1319"/>
        <pc:sldMkLst>
          <pc:docMk/>
          <pc:sldMk cId="251205173" sldId="3816"/>
        </pc:sldMkLst>
      </pc:sldChg>
      <pc:sldChg chg="add">
        <pc:chgData name="Scott Sink" userId="007532c1-63dd-4f29-9932-df3a9735f490" providerId="ADAL" clId="{FB50856E-B55B-40FE-B1F3-9C82FC6E2468}" dt="2023-07-18T08:34:05.927" v="1321"/>
        <pc:sldMkLst>
          <pc:docMk/>
          <pc:sldMk cId="2770960558" sldId="3817"/>
        </pc:sldMkLst>
      </pc:sldChg>
      <pc:sldChg chg="add">
        <pc:chgData name="Scott Sink" userId="007532c1-63dd-4f29-9932-df3a9735f490" providerId="ADAL" clId="{FB50856E-B55B-40FE-B1F3-9C82FC6E2468}" dt="2023-07-18T08:34:51.424" v="1323"/>
        <pc:sldMkLst>
          <pc:docMk/>
          <pc:sldMk cId="740888358" sldId="3818"/>
        </pc:sldMkLst>
      </pc:sldChg>
      <pc:sldChg chg="add del">
        <pc:chgData name="Scott Sink" userId="007532c1-63dd-4f29-9932-df3a9735f490" providerId="ADAL" clId="{FB50856E-B55B-40FE-B1F3-9C82FC6E2468}" dt="2023-07-18T08:41:19.841" v="1334" actId="47"/>
        <pc:sldMkLst>
          <pc:docMk/>
          <pc:sldMk cId="269497034" sldId="3819"/>
        </pc:sldMkLst>
      </pc:sldChg>
      <pc:sldChg chg="addSp modSp add mod ord">
        <pc:chgData name="Scott Sink" userId="007532c1-63dd-4f29-9932-df3a9735f490" providerId="ADAL" clId="{FB50856E-B55B-40FE-B1F3-9C82FC6E2468}" dt="2023-07-18T13:20:09.419" v="4254" actId="207"/>
        <pc:sldMkLst>
          <pc:docMk/>
          <pc:sldMk cId="1156337370" sldId="3820"/>
        </pc:sldMkLst>
        <pc:spChg chg="mod">
          <ac:chgData name="Scott Sink" userId="007532c1-63dd-4f29-9932-df3a9735f490" providerId="ADAL" clId="{FB50856E-B55B-40FE-B1F3-9C82FC6E2468}" dt="2023-07-18T08:45:00.026" v="1340" actId="20577"/>
          <ac:spMkLst>
            <pc:docMk/>
            <pc:sldMk cId="1156337370" sldId="3820"/>
            <ac:spMk id="2" creationId="{36D172E6-EB4D-4CA9-B032-D89C0DD951AC}"/>
          </ac:spMkLst>
        </pc:spChg>
        <pc:spChg chg="mod">
          <ac:chgData name="Scott Sink" userId="007532c1-63dd-4f29-9932-df3a9735f490" providerId="ADAL" clId="{FB50856E-B55B-40FE-B1F3-9C82FC6E2468}" dt="2023-07-18T08:46:04.422" v="1385" actId="20577"/>
          <ac:spMkLst>
            <pc:docMk/>
            <pc:sldMk cId="1156337370" sldId="3820"/>
            <ac:spMk id="3" creationId="{379E4CA3-D163-4680-A0FD-BCB1ADDB3D0E}"/>
          </ac:spMkLst>
        </pc:spChg>
        <pc:spChg chg="mod">
          <ac:chgData name="Scott Sink" userId="007532c1-63dd-4f29-9932-df3a9735f490" providerId="ADAL" clId="{FB50856E-B55B-40FE-B1F3-9C82FC6E2468}" dt="2023-07-18T08:45:46.500" v="1367" actId="20577"/>
          <ac:spMkLst>
            <pc:docMk/>
            <pc:sldMk cId="1156337370" sldId="3820"/>
            <ac:spMk id="4" creationId="{B307EFBE-E10F-456E-91B0-83CCE4F54843}"/>
          </ac:spMkLst>
        </pc:spChg>
        <pc:spChg chg="add mod">
          <ac:chgData name="Scott Sink" userId="007532c1-63dd-4f29-9932-df3a9735f490" providerId="ADAL" clId="{FB50856E-B55B-40FE-B1F3-9C82FC6E2468}" dt="2023-07-18T13:20:09.419" v="4254" actId="207"/>
          <ac:spMkLst>
            <pc:docMk/>
            <pc:sldMk cId="1156337370" sldId="3820"/>
            <ac:spMk id="9" creationId="{660D25B4-D341-D864-212C-10476C955BEA}"/>
          </ac:spMkLst>
        </pc:spChg>
        <pc:spChg chg="mod">
          <ac:chgData name="Scott Sink" userId="007532c1-63dd-4f29-9932-df3a9735f490" providerId="ADAL" clId="{FB50856E-B55B-40FE-B1F3-9C82FC6E2468}" dt="2023-07-18T08:46:33.354" v="1398" actId="20577"/>
          <ac:spMkLst>
            <pc:docMk/>
            <pc:sldMk cId="1156337370" sldId="3820"/>
            <ac:spMk id="10" creationId="{42F3CD57-01B5-4B77-B718-E01A2D045963}"/>
          </ac:spMkLst>
        </pc:spChg>
        <pc:spChg chg="mod">
          <ac:chgData name="Scott Sink" userId="007532c1-63dd-4f29-9932-df3a9735f490" providerId="ADAL" clId="{FB50856E-B55B-40FE-B1F3-9C82FC6E2468}" dt="2023-07-18T08:45:32.433" v="1343" actId="14100"/>
          <ac:spMkLst>
            <pc:docMk/>
            <pc:sldMk cId="1156337370" sldId="3820"/>
            <ac:spMk id="17" creationId="{9CBACA22-DB04-4B76-9BF2-665F9E46EE1E}"/>
          </ac:spMkLst>
        </pc:spChg>
        <pc:spChg chg="mod">
          <ac:chgData name="Scott Sink" userId="007532c1-63dd-4f29-9932-df3a9735f490" providerId="ADAL" clId="{FB50856E-B55B-40FE-B1F3-9C82FC6E2468}" dt="2023-07-18T08:46:41.941" v="1411" actId="20577"/>
          <ac:spMkLst>
            <pc:docMk/>
            <pc:sldMk cId="1156337370" sldId="3820"/>
            <ac:spMk id="20" creationId="{923F242E-918C-446D-A1EA-D3ABE7821FC2}"/>
          </ac:spMkLst>
        </pc:spChg>
      </pc:sldChg>
      <pc:sldChg chg="addSp modSp add mod">
        <pc:chgData name="Scott Sink" userId="007532c1-63dd-4f29-9932-df3a9735f490" providerId="ADAL" clId="{FB50856E-B55B-40FE-B1F3-9C82FC6E2468}" dt="2023-07-18T13:20:53.187" v="4300" actId="1076"/>
        <pc:sldMkLst>
          <pc:docMk/>
          <pc:sldMk cId="1272430946" sldId="3821"/>
        </pc:sldMkLst>
        <pc:spChg chg="add mod">
          <ac:chgData name="Scott Sink" userId="007532c1-63dd-4f29-9932-df3a9735f490" providerId="ADAL" clId="{FB50856E-B55B-40FE-B1F3-9C82FC6E2468}" dt="2023-07-18T13:20:39.483" v="4297" actId="1076"/>
          <ac:spMkLst>
            <pc:docMk/>
            <pc:sldMk cId="1272430946" sldId="3821"/>
            <ac:spMk id="5" creationId="{FA0D3A2F-8027-DC45-AEAD-FC3F0FFBF30C}"/>
          </ac:spMkLst>
        </pc:spChg>
        <pc:spChg chg="add mod">
          <ac:chgData name="Scott Sink" userId="007532c1-63dd-4f29-9932-df3a9735f490" providerId="ADAL" clId="{FB50856E-B55B-40FE-B1F3-9C82FC6E2468}" dt="2023-07-18T13:20:53.187" v="4300" actId="1076"/>
          <ac:spMkLst>
            <pc:docMk/>
            <pc:sldMk cId="1272430946" sldId="3821"/>
            <ac:spMk id="6" creationId="{4F96F43C-B649-FF56-FC5C-8115C203242F}"/>
          </ac:spMkLst>
        </pc:spChg>
      </pc:sldChg>
      <pc:sldChg chg="modSp add mod">
        <pc:chgData name="Scott Sink" userId="007532c1-63dd-4f29-9932-df3a9735f490" providerId="ADAL" clId="{FB50856E-B55B-40FE-B1F3-9C82FC6E2468}" dt="2023-07-18T13:19:23.285" v="4221" actId="27636"/>
        <pc:sldMkLst>
          <pc:docMk/>
          <pc:sldMk cId="477718157" sldId="3822"/>
        </pc:sldMkLst>
        <pc:spChg chg="mod">
          <ac:chgData name="Scott Sink" userId="007532c1-63dd-4f29-9932-df3a9735f490" providerId="ADAL" clId="{FB50856E-B55B-40FE-B1F3-9C82FC6E2468}" dt="2023-07-18T13:19:23.285" v="4221" actId="27636"/>
          <ac:spMkLst>
            <pc:docMk/>
            <pc:sldMk cId="477718157" sldId="3822"/>
            <ac:spMk id="12" creationId="{00000000-0000-0000-0000-000000000000}"/>
          </ac:spMkLst>
        </pc:spChg>
      </pc:sldChg>
      <pc:sldChg chg="addSp modSp new mod">
        <pc:chgData name="Scott Sink" userId="007532c1-63dd-4f29-9932-df3a9735f490" providerId="ADAL" clId="{FB50856E-B55B-40FE-B1F3-9C82FC6E2468}" dt="2023-07-18T13:21:38.931" v="4308" actId="20577"/>
        <pc:sldMkLst>
          <pc:docMk/>
          <pc:sldMk cId="3874471635" sldId="3823"/>
        </pc:sldMkLst>
        <pc:spChg chg="mod">
          <ac:chgData name="Scott Sink" userId="007532c1-63dd-4f29-9932-df3a9735f490" providerId="ADAL" clId="{FB50856E-B55B-40FE-B1F3-9C82FC6E2468}" dt="2023-07-18T13:21:38.931" v="4308" actId="20577"/>
          <ac:spMkLst>
            <pc:docMk/>
            <pc:sldMk cId="3874471635" sldId="3823"/>
            <ac:spMk id="2" creationId="{0FDAFA77-F250-701A-80C8-B26BF59E3649}"/>
          </ac:spMkLst>
        </pc:spChg>
        <pc:spChg chg="mod">
          <ac:chgData name="Scott Sink" userId="007532c1-63dd-4f29-9932-df3a9735f490" providerId="ADAL" clId="{FB50856E-B55B-40FE-B1F3-9C82FC6E2468}" dt="2023-07-18T08:58:30.891" v="2074" actId="1076"/>
          <ac:spMkLst>
            <pc:docMk/>
            <pc:sldMk cId="3874471635" sldId="3823"/>
            <ac:spMk id="3" creationId="{7B16BC75-C2AB-83B4-C85C-5282FE6F9BC5}"/>
          </ac:spMkLst>
        </pc:spChg>
        <pc:spChg chg="add mod">
          <ac:chgData name="Scott Sink" userId="007532c1-63dd-4f29-9932-df3a9735f490" providerId="ADAL" clId="{FB50856E-B55B-40FE-B1F3-9C82FC6E2468}" dt="2023-07-18T09:05:51.161" v="2344" actId="1076"/>
          <ac:spMkLst>
            <pc:docMk/>
            <pc:sldMk cId="3874471635" sldId="3823"/>
            <ac:spMk id="4" creationId="{B79D0A2A-E1CA-9345-4E54-9779FF5A2CBD}"/>
          </ac:spMkLst>
        </pc:spChg>
      </pc:sldChg>
      <pc:sldChg chg="modSp add mod ord">
        <pc:chgData name="Scott Sink" userId="007532c1-63dd-4f29-9932-df3a9735f490" providerId="ADAL" clId="{FB50856E-B55B-40FE-B1F3-9C82FC6E2468}" dt="2023-07-18T09:19:36.799" v="2365"/>
        <pc:sldMkLst>
          <pc:docMk/>
          <pc:sldMk cId="3859870609" sldId="3824"/>
        </pc:sldMkLst>
        <pc:spChg chg="mod">
          <ac:chgData name="Scott Sink" userId="007532c1-63dd-4f29-9932-df3a9735f490" providerId="ADAL" clId="{FB50856E-B55B-40FE-B1F3-9C82FC6E2468}" dt="2023-07-18T08:52:17.474" v="1465" actId="1076"/>
          <ac:spMkLst>
            <pc:docMk/>
            <pc:sldMk cId="3859870609" sldId="3824"/>
            <ac:spMk id="5" creationId="{7113FF32-5ED8-4C78-C159-371A4A59C382}"/>
          </ac:spMkLst>
        </pc:spChg>
      </pc:sldChg>
      <pc:sldChg chg="addSp delSp modSp new mod ord">
        <pc:chgData name="Scott Sink" userId="007532c1-63dd-4f29-9932-df3a9735f490" providerId="ADAL" clId="{FB50856E-B55B-40FE-B1F3-9C82FC6E2468}" dt="2023-07-18T09:05:30.957" v="2313" actId="1076"/>
        <pc:sldMkLst>
          <pc:docMk/>
          <pc:sldMk cId="1993808250" sldId="3825"/>
        </pc:sldMkLst>
        <pc:spChg chg="mod">
          <ac:chgData name="Scott Sink" userId="007532c1-63dd-4f29-9932-df3a9735f490" providerId="ADAL" clId="{FB50856E-B55B-40FE-B1F3-9C82FC6E2468}" dt="2023-07-18T09:04:06.607" v="2166" actId="1076"/>
          <ac:spMkLst>
            <pc:docMk/>
            <pc:sldMk cId="1993808250" sldId="3825"/>
            <ac:spMk id="2" creationId="{F5CBD7C2-FB0D-025E-7DB0-7377376283A4}"/>
          </ac:spMkLst>
        </pc:spChg>
        <pc:spChg chg="del">
          <ac:chgData name="Scott Sink" userId="007532c1-63dd-4f29-9932-df3a9735f490" providerId="ADAL" clId="{FB50856E-B55B-40FE-B1F3-9C82FC6E2468}" dt="2023-07-18T09:03:33.051" v="2080"/>
          <ac:spMkLst>
            <pc:docMk/>
            <pc:sldMk cId="1993808250" sldId="3825"/>
            <ac:spMk id="3" creationId="{B0832AD1-17A5-7270-828E-3B006E3EFEE8}"/>
          </ac:spMkLst>
        </pc:spChg>
        <pc:spChg chg="add mod">
          <ac:chgData name="Scott Sink" userId="007532c1-63dd-4f29-9932-df3a9735f490" providerId="ADAL" clId="{FB50856E-B55B-40FE-B1F3-9C82FC6E2468}" dt="2023-07-18T09:05:30.957" v="2313" actId="1076"/>
          <ac:spMkLst>
            <pc:docMk/>
            <pc:sldMk cId="1993808250" sldId="3825"/>
            <ac:spMk id="6" creationId="{58888413-7CA7-1FBE-CC3B-6F8A79B0E008}"/>
          </ac:spMkLst>
        </pc:spChg>
        <pc:picChg chg="add mod">
          <ac:chgData name="Scott Sink" userId="007532c1-63dd-4f29-9932-df3a9735f490" providerId="ADAL" clId="{FB50856E-B55B-40FE-B1F3-9C82FC6E2468}" dt="2023-07-18T09:05:26.524" v="2312" actId="1076"/>
          <ac:picMkLst>
            <pc:docMk/>
            <pc:sldMk cId="1993808250" sldId="3825"/>
            <ac:picMk id="5" creationId="{3893D221-F923-2C73-E538-6FA801BE9BE8}"/>
          </ac:picMkLst>
        </pc:picChg>
      </pc:sldChg>
      <pc:sldChg chg="modSp add mod ord">
        <pc:chgData name="Scott Sink" userId="007532c1-63dd-4f29-9932-df3a9735f490" providerId="ADAL" clId="{FB50856E-B55B-40FE-B1F3-9C82FC6E2468}" dt="2023-07-18T09:08:16.649" v="2353" actId="14100"/>
        <pc:sldMkLst>
          <pc:docMk/>
          <pc:sldMk cId="204166521" sldId="3826"/>
        </pc:sldMkLst>
        <pc:spChg chg="mod">
          <ac:chgData name="Scott Sink" userId="007532c1-63dd-4f29-9932-df3a9735f490" providerId="ADAL" clId="{FB50856E-B55B-40FE-B1F3-9C82FC6E2468}" dt="2023-07-18T09:08:16.649" v="2353" actId="14100"/>
          <ac:spMkLst>
            <pc:docMk/>
            <pc:sldMk cId="204166521" sldId="3826"/>
            <ac:spMk id="4" creationId="{B79D0A2A-E1CA-9345-4E54-9779FF5A2CBD}"/>
          </ac:spMkLst>
        </pc:spChg>
      </pc:sldChg>
      <pc:sldChg chg="add">
        <pc:chgData name="Scott Sink" userId="007532c1-63dd-4f29-9932-df3a9735f490" providerId="ADAL" clId="{FB50856E-B55B-40FE-B1F3-9C82FC6E2468}" dt="2023-07-18T09:07:58.381" v="2350"/>
        <pc:sldMkLst>
          <pc:docMk/>
          <pc:sldMk cId="622139300" sldId="3827"/>
        </pc:sldMkLst>
      </pc:sldChg>
      <pc:sldChg chg="modSp add mod">
        <pc:chgData name="Scott Sink" userId="007532c1-63dd-4f29-9932-df3a9735f490" providerId="ADAL" clId="{FB50856E-B55B-40FE-B1F3-9C82FC6E2468}" dt="2023-07-18T09:09:10.757" v="2361" actId="1076"/>
        <pc:sldMkLst>
          <pc:docMk/>
          <pc:sldMk cId="2369896792" sldId="3828"/>
        </pc:sldMkLst>
        <pc:spChg chg="mod">
          <ac:chgData name="Scott Sink" userId="007532c1-63dd-4f29-9932-df3a9735f490" providerId="ADAL" clId="{FB50856E-B55B-40FE-B1F3-9C82FC6E2468}" dt="2023-07-18T09:09:10.757" v="2361" actId="1076"/>
          <ac:spMkLst>
            <pc:docMk/>
            <pc:sldMk cId="2369896792" sldId="3828"/>
            <ac:spMk id="484" creationId="{00000000-0000-0000-0000-000000000000}"/>
          </ac:spMkLst>
        </pc:spChg>
      </pc:sldChg>
      <pc:sldChg chg="add">
        <pc:chgData name="Scott Sink" userId="007532c1-63dd-4f29-9932-df3a9735f490" providerId="ADAL" clId="{FB50856E-B55B-40FE-B1F3-9C82FC6E2468}" dt="2023-07-18T09:08:35.526" v="2355"/>
        <pc:sldMkLst>
          <pc:docMk/>
          <pc:sldMk cId="2437843139" sldId="3829"/>
        </pc:sldMkLst>
      </pc:sldChg>
      <pc:sldChg chg="modSp add mod ord">
        <pc:chgData name="Scott Sink" userId="007532c1-63dd-4f29-9932-df3a9735f490" providerId="ADAL" clId="{FB50856E-B55B-40FE-B1F3-9C82FC6E2468}" dt="2023-07-18T09:20:00.687" v="2407" actId="20577"/>
        <pc:sldMkLst>
          <pc:docMk/>
          <pc:sldMk cId="1069406534" sldId="3830"/>
        </pc:sldMkLst>
        <pc:spChg chg="mod">
          <ac:chgData name="Scott Sink" userId="007532c1-63dd-4f29-9932-df3a9735f490" providerId="ADAL" clId="{FB50856E-B55B-40FE-B1F3-9C82FC6E2468}" dt="2023-07-18T09:20:00.687" v="2407" actId="20577"/>
          <ac:spMkLst>
            <pc:docMk/>
            <pc:sldMk cId="1069406534" sldId="3830"/>
            <ac:spMk id="3" creationId="{7B16BC75-C2AB-83B4-C85C-5282FE6F9BC5}"/>
          </ac:spMkLst>
        </pc:spChg>
        <pc:spChg chg="mod">
          <ac:chgData name="Scott Sink" userId="007532c1-63dd-4f29-9932-df3a9735f490" providerId="ADAL" clId="{FB50856E-B55B-40FE-B1F3-9C82FC6E2468}" dt="2023-07-18T09:09:28.441" v="2363" actId="14100"/>
          <ac:spMkLst>
            <pc:docMk/>
            <pc:sldMk cId="1069406534" sldId="3830"/>
            <ac:spMk id="4" creationId="{B79D0A2A-E1CA-9345-4E54-9779FF5A2CBD}"/>
          </ac:spMkLst>
        </pc:spChg>
      </pc:sldChg>
      <pc:sldChg chg="modSp new mod">
        <pc:chgData name="Scott Sink" userId="007532c1-63dd-4f29-9932-df3a9735f490" providerId="ADAL" clId="{FB50856E-B55B-40FE-B1F3-9C82FC6E2468}" dt="2023-07-18T09:24:50.843" v="2915" actId="20577"/>
        <pc:sldMkLst>
          <pc:docMk/>
          <pc:sldMk cId="1063000673" sldId="3831"/>
        </pc:sldMkLst>
        <pc:spChg chg="mod">
          <ac:chgData name="Scott Sink" userId="007532c1-63dd-4f29-9932-df3a9735f490" providerId="ADAL" clId="{FB50856E-B55B-40FE-B1F3-9C82FC6E2468}" dt="2023-07-18T09:20:42.407" v="2417" actId="20577"/>
          <ac:spMkLst>
            <pc:docMk/>
            <pc:sldMk cId="1063000673" sldId="3831"/>
            <ac:spMk id="2" creationId="{2498209F-1E9E-7756-66AB-5B9BE1B4E87B}"/>
          </ac:spMkLst>
        </pc:spChg>
        <pc:spChg chg="mod">
          <ac:chgData name="Scott Sink" userId="007532c1-63dd-4f29-9932-df3a9735f490" providerId="ADAL" clId="{FB50856E-B55B-40FE-B1F3-9C82FC6E2468}" dt="2023-07-18T09:24:50.843" v="2915" actId="20577"/>
          <ac:spMkLst>
            <pc:docMk/>
            <pc:sldMk cId="1063000673" sldId="3831"/>
            <ac:spMk id="3" creationId="{838939BF-B5E3-62FA-85F5-F1C1B82F88B9}"/>
          </ac:spMkLst>
        </pc:spChg>
      </pc:sldChg>
      <pc:sldChg chg="add">
        <pc:chgData name="Scott Sink" userId="007532c1-63dd-4f29-9932-df3a9735f490" providerId="ADAL" clId="{FB50856E-B55B-40FE-B1F3-9C82FC6E2468}" dt="2023-07-18T09:25:28.168" v="2917"/>
        <pc:sldMkLst>
          <pc:docMk/>
          <pc:sldMk cId="1846841187" sldId="3832"/>
        </pc:sldMkLst>
      </pc:sldChg>
      <pc:sldChg chg="add">
        <pc:chgData name="Scott Sink" userId="007532c1-63dd-4f29-9932-df3a9735f490" providerId="ADAL" clId="{FB50856E-B55B-40FE-B1F3-9C82FC6E2468}" dt="2023-07-18T09:25:46.157" v="2919"/>
        <pc:sldMkLst>
          <pc:docMk/>
          <pc:sldMk cId="4261189701" sldId="3833"/>
        </pc:sldMkLst>
      </pc:sldChg>
      <pc:sldChg chg="add">
        <pc:chgData name="Scott Sink" userId="007532c1-63dd-4f29-9932-df3a9735f490" providerId="ADAL" clId="{FB50856E-B55B-40FE-B1F3-9C82FC6E2468}" dt="2023-07-18T09:25:58.857" v="2921"/>
        <pc:sldMkLst>
          <pc:docMk/>
          <pc:sldMk cId="3439730488" sldId="3834"/>
        </pc:sldMkLst>
      </pc:sldChg>
      <pc:sldChg chg="add">
        <pc:chgData name="Scott Sink" userId="007532c1-63dd-4f29-9932-df3a9735f490" providerId="ADAL" clId="{FB50856E-B55B-40FE-B1F3-9C82FC6E2468}" dt="2023-07-18T09:26:05.092" v="2923"/>
        <pc:sldMkLst>
          <pc:docMk/>
          <pc:sldMk cId="886335543" sldId="3835"/>
        </pc:sldMkLst>
      </pc:sldChg>
      <pc:sldChg chg="add">
        <pc:chgData name="Scott Sink" userId="007532c1-63dd-4f29-9932-df3a9735f490" providerId="ADAL" clId="{FB50856E-B55B-40FE-B1F3-9C82FC6E2468}" dt="2023-07-18T09:26:17.774" v="2925"/>
        <pc:sldMkLst>
          <pc:docMk/>
          <pc:sldMk cId="3613241240" sldId="3836"/>
        </pc:sldMkLst>
      </pc:sldChg>
      <pc:sldChg chg="modSp add mod ord">
        <pc:chgData name="Scott Sink" userId="007532c1-63dd-4f29-9932-df3a9735f490" providerId="ADAL" clId="{FB50856E-B55B-40FE-B1F3-9C82FC6E2468}" dt="2023-07-18T09:27:00.524" v="2929" actId="1076"/>
        <pc:sldMkLst>
          <pc:docMk/>
          <pc:sldMk cId="2410004639" sldId="3837"/>
        </pc:sldMkLst>
        <pc:spChg chg="mod">
          <ac:chgData name="Scott Sink" userId="007532c1-63dd-4f29-9932-df3a9735f490" providerId="ADAL" clId="{FB50856E-B55B-40FE-B1F3-9C82FC6E2468}" dt="2023-07-18T09:27:00.524" v="2929" actId="1076"/>
          <ac:spMkLst>
            <pc:docMk/>
            <pc:sldMk cId="2410004639" sldId="3837"/>
            <ac:spMk id="4" creationId="{B79D0A2A-E1CA-9345-4E54-9779FF5A2CBD}"/>
          </ac:spMkLst>
        </pc:spChg>
      </pc:sldChg>
      <pc:sldChg chg="modSp add mod ord">
        <pc:chgData name="Scott Sink" userId="007532c1-63dd-4f29-9932-df3a9735f490" providerId="ADAL" clId="{FB50856E-B55B-40FE-B1F3-9C82FC6E2468}" dt="2023-07-18T10:46:07.657" v="4047" actId="1076"/>
        <pc:sldMkLst>
          <pc:docMk/>
          <pc:sldMk cId="1756765352" sldId="3838"/>
        </pc:sldMkLst>
        <pc:spChg chg="mod">
          <ac:chgData name="Scott Sink" userId="007532c1-63dd-4f29-9932-df3a9735f490" providerId="ADAL" clId="{FB50856E-B55B-40FE-B1F3-9C82FC6E2468}" dt="2023-07-18T10:46:07.657" v="4047" actId="1076"/>
          <ac:spMkLst>
            <pc:docMk/>
            <pc:sldMk cId="1756765352" sldId="3838"/>
            <ac:spMk id="4" creationId="{F9C14737-400F-AD0C-2BAA-D809C411A7DF}"/>
          </ac:spMkLst>
        </pc:spChg>
      </pc:sldChg>
      <pc:sldChg chg="modSp new mod">
        <pc:chgData name="Scott Sink" userId="007532c1-63dd-4f29-9932-df3a9735f490" providerId="ADAL" clId="{FB50856E-B55B-40FE-B1F3-9C82FC6E2468}" dt="2023-07-18T10:54:03.796" v="4156" actId="20577"/>
        <pc:sldMkLst>
          <pc:docMk/>
          <pc:sldMk cId="4236490376" sldId="3839"/>
        </pc:sldMkLst>
        <pc:spChg chg="mod">
          <ac:chgData name="Scott Sink" userId="007532c1-63dd-4f29-9932-df3a9735f490" providerId="ADAL" clId="{FB50856E-B55B-40FE-B1F3-9C82FC6E2468}" dt="2023-07-18T10:35:49.791" v="3131" actId="5793"/>
          <ac:spMkLst>
            <pc:docMk/>
            <pc:sldMk cId="4236490376" sldId="3839"/>
            <ac:spMk id="2" creationId="{7F5C2313-DA73-5012-654E-0A175805BA93}"/>
          </ac:spMkLst>
        </pc:spChg>
        <pc:spChg chg="mod">
          <ac:chgData name="Scott Sink" userId="007532c1-63dd-4f29-9932-df3a9735f490" providerId="ADAL" clId="{FB50856E-B55B-40FE-B1F3-9C82FC6E2468}" dt="2023-07-18T10:54:03.796" v="4156" actId="20577"/>
          <ac:spMkLst>
            <pc:docMk/>
            <pc:sldMk cId="4236490376" sldId="3839"/>
            <ac:spMk id="3" creationId="{319B8EB8-A4D1-6475-F47B-52CF973CE61D}"/>
          </ac:spMkLst>
        </pc:spChg>
      </pc:sldChg>
      <pc:sldChg chg="add">
        <pc:chgData name="Scott Sink" userId="007532c1-63dd-4f29-9932-df3a9735f490" providerId="ADAL" clId="{FB50856E-B55B-40FE-B1F3-9C82FC6E2468}" dt="2023-07-18T10:45:52.991" v="4042" actId="2890"/>
        <pc:sldMkLst>
          <pc:docMk/>
          <pc:sldMk cId="1026042606" sldId="3840"/>
        </pc:sldMkLst>
      </pc:sldChg>
      <pc:sldChg chg="add">
        <pc:chgData name="Scott Sink" userId="007532c1-63dd-4f29-9932-df3a9735f490" providerId="ADAL" clId="{FB50856E-B55B-40FE-B1F3-9C82FC6E2468}" dt="2023-07-18T10:51:59.274" v="4087"/>
        <pc:sldMkLst>
          <pc:docMk/>
          <pc:sldMk cId="3420830703" sldId="3841"/>
        </pc:sldMkLst>
      </pc:sldChg>
      <pc:sldChg chg="add">
        <pc:chgData name="Scott Sink" userId="007532c1-63dd-4f29-9932-df3a9735f490" providerId="ADAL" clId="{FB50856E-B55B-40FE-B1F3-9C82FC6E2468}" dt="2023-07-18T10:52:27.362" v="4089"/>
        <pc:sldMkLst>
          <pc:docMk/>
          <pc:sldMk cId="3756393100" sldId="3842"/>
        </pc:sldMkLst>
      </pc:sldChg>
      <pc:sldChg chg="add">
        <pc:chgData name="Scott Sink" userId="007532c1-63dd-4f29-9932-df3a9735f490" providerId="ADAL" clId="{FB50856E-B55B-40FE-B1F3-9C82FC6E2468}" dt="2023-07-18T10:52:37.240" v="4091"/>
        <pc:sldMkLst>
          <pc:docMk/>
          <pc:sldMk cId="23949133" sldId="3843"/>
        </pc:sldMkLst>
      </pc:sldChg>
      <pc:sldChg chg="add">
        <pc:chgData name="Scott Sink" userId="007532c1-63dd-4f29-9932-df3a9735f490" providerId="ADAL" clId="{FB50856E-B55B-40FE-B1F3-9C82FC6E2468}" dt="2023-07-18T10:52:45.124" v="4093"/>
        <pc:sldMkLst>
          <pc:docMk/>
          <pc:sldMk cId="1081180001" sldId="3844"/>
        </pc:sldMkLst>
      </pc:sldChg>
      <pc:sldChg chg="add del">
        <pc:chgData name="Scott Sink" userId="007532c1-63dd-4f29-9932-df3a9735f490" providerId="ADAL" clId="{FB50856E-B55B-40FE-B1F3-9C82FC6E2468}" dt="2023-07-18T14:32:47.863" v="4336" actId="47"/>
        <pc:sldMkLst>
          <pc:docMk/>
          <pc:sldMk cId="4125629823" sldId="3845"/>
        </pc:sldMkLst>
      </pc:sldChg>
      <pc:sldChg chg="add">
        <pc:chgData name="Scott Sink" userId="007532c1-63dd-4f29-9932-df3a9735f490" providerId="ADAL" clId="{FB50856E-B55B-40FE-B1F3-9C82FC6E2468}" dt="2023-07-18T10:53:07.409" v="4097"/>
        <pc:sldMkLst>
          <pc:docMk/>
          <pc:sldMk cId="1600348266" sldId="3846"/>
        </pc:sldMkLst>
      </pc:sldChg>
      <pc:sldChg chg="add">
        <pc:chgData name="Scott Sink" userId="007532c1-63dd-4f29-9932-df3a9735f490" providerId="ADAL" clId="{FB50856E-B55B-40FE-B1F3-9C82FC6E2468}" dt="2023-07-18T10:53:14.277" v="4099"/>
        <pc:sldMkLst>
          <pc:docMk/>
          <pc:sldMk cId="719694049" sldId="3847"/>
        </pc:sldMkLst>
      </pc:sldChg>
      <pc:sldChg chg="add">
        <pc:chgData name="Scott Sink" userId="007532c1-63dd-4f29-9932-df3a9735f490" providerId="ADAL" clId="{FB50856E-B55B-40FE-B1F3-9C82FC6E2468}" dt="2023-07-18T10:53:20.182" v="4101"/>
        <pc:sldMkLst>
          <pc:docMk/>
          <pc:sldMk cId="3626608943" sldId="3848"/>
        </pc:sldMkLst>
      </pc:sldChg>
      <pc:sldChg chg="add">
        <pc:chgData name="Scott Sink" userId="007532c1-63dd-4f29-9932-df3a9735f490" providerId="ADAL" clId="{FB50856E-B55B-40FE-B1F3-9C82FC6E2468}" dt="2023-07-18T10:53:27.857" v="4103"/>
        <pc:sldMkLst>
          <pc:docMk/>
          <pc:sldMk cId="1654434577" sldId="3849"/>
        </pc:sldMkLst>
      </pc:sldChg>
      <pc:sldChg chg="add">
        <pc:chgData name="Scott Sink" userId="007532c1-63dd-4f29-9932-df3a9735f490" providerId="ADAL" clId="{FB50856E-B55B-40FE-B1F3-9C82FC6E2468}" dt="2023-07-18T10:53:28.500" v="4105"/>
        <pc:sldMkLst>
          <pc:docMk/>
          <pc:sldMk cId="1578409776" sldId="3850"/>
        </pc:sldMkLst>
      </pc:sldChg>
      <pc:sldChg chg="add del">
        <pc:chgData name="Scott Sink" userId="007532c1-63dd-4f29-9932-df3a9735f490" providerId="ADAL" clId="{FB50856E-B55B-40FE-B1F3-9C82FC6E2468}" dt="2023-07-18T10:53:39.435" v="4110" actId="47"/>
        <pc:sldMkLst>
          <pc:docMk/>
          <pc:sldMk cId="198538110" sldId="3851"/>
        </pc:sldMkLst>
      </pc:sldChg>
      <pc:sldChg chg="add">
        <pc:chgData name="Scott Sink" userId="007532c1-63dd-4f29-9932-df3a9735f490" providerId="ADAL" clId="{FB50856E-B55B-40FE-B1F3-9C82FC6E2468}" dt="2023-07-18T10:53:34.243" v="4109"/>
        <pc:sldMkLst>
          <pc:docMk/>
          <pc:sldMk cId="80119684" sldId="3852"/>
        </pc:sldMkLst>
      </pc:sldChg>
      <pc:sldChg chg="add del">
        <pc:chgData name="Scott Sink" userId="007532c1-63dd-4f29-9932-df3a9735f490" providerId="ADAL" clId="{FB50856E-B55B-40FE-B1F3-9C82FC6E2468}" dt="2023-07-18T13:23:23.274" v="4313" actId="47"/>
        <pc:sldMkLst>
          <pc:docMk/>
          <pc:sldMk cId="1715031840" sldId="3853"/>
        </pc:sldMkLst>
      </pc:sldChg>
      <pc:sldChg chg="add del">
        <pc:chgData name="Scott Sink" userId="007532c1-63dd-4f29-9932-df3a9735f490" providerId="ADAL" clId="{FB50856E-B55B-40FE-B1F3-9C82FC6E2468}" dt="2023-07-18T13:23:24.574" v="4314" actId="47"/>
        <pc:sldMkLst>
          <pc:docMk/>
          <pc:sldMk cId="1621552969" sldId="3854"/>
        </pc:sldMkLst>
      </pc:sldChg>
      <pc:sldMasterChg chg="addSldLayout">
        <pc:chgData name="Scott Sink" userId="007532c1-63dd-4f29-9932-df3a9735f490" providerId="ADAL" clId="{FB50856E-B55B-40FE-B1F3-9C82FC6E2468}" dt="2023-07-18T10:53:27.824" v="4102" actId="27028"/>
        <pc:sldMasterMkLst>
          <pc:docMk/>
          <pc:sldMasterMk cId="0" sldId="2147483648"/>
        </pc:sldMasterMkLst>
        <pc:sldLayoutChg chg="add">
          <pc:chgData name="Scott Sink" userId="007532c1-63dd-4f29-9932-df3a9735f490" providerId="ADAL" clId="{FB50856E-B55B-40FE-B1F3-9C82FC6E2468}" dt="2023-07-18T09:08:35.510" v="2354" actId="27028"/>
          <pc:sldLayoutMkLst>
            <pc:docMk/>
            <pc:sldMasterMk cId="0" sldId="2147483648"/>
            <pc:sldLayoutMk cId="0" sldId="2147483649"/>
          </pc:sldLayoutMkLst>
        </pc:sldLayoutChg>
        <pc:sldLayoutChg chg="add">
          <pc:chgData name="Scott Sink" userId="007532c1-63dd-4f29-9932-df3a9735f490" providerId="ADAL" clId="{FB50856E-B55B-40FE-B1F3-9C82FC6E2468}" dt="2023-07-18T10:53:14.244" v="4098" actId="27028"/>
          <pc:sldLayoutMkLst>
            <pc:docMk/>
            <pc:sldMasterMk cId="0" sldId="2147483648"/>
            <pc:sldLayoutMk cId="0" sldId="2147483654"/>
          </pc:sldLayoutMkLst>
        </pc:sldLayoutChg>
        <pc:sldLayoutChg chg="add">
          <pc:chgData name="Scott Sink" userId="007532c1-63dd-4f29-9932-df3a9735f490" providerId="ADAL" clId="{FB50856E-B55B-40FE-B1F3-9C82FC6E2468}" dt="2023-07-18T10:53:27.824" v="4102" actId="27028"/>
          <pc:sldLayoutMkLst>
            <pc:docMk/>
            <pc:sldMasterMk cId="0" sldId="2147483648"/>
            <pc:sldLayoutMk cId="0" sldId="2147483660"/>
          </pc:sldLayoutMkLst>
        </pc:sldLayoutChg>
      </pc:sldMasterChg>
      <pc:sldMasterChg chg="del delSldLayout">
        <pc:chgData name="Scott Sink" userId="007532c1-63dd-4f29-9932-df3a9735f490" providerId="ADAL" clId="{FB50856E-B55B-40FE-B1F3-9C82FC6E2468}" dt="2023-07-18T09:45:55.789" v="3078" actId="47"/>
        <pc:sldMasterMkLst>
          <pc:docMk/>
          <pc:sldMasterMk cId="0" sldId="2147483658"/>
        </pc:sldMasterMkLst>
        <pc:sldLayoutChg chg="del">
          <pc:chgData name="Scott Sink" userId="007532c1-63dd-4f29-9932-df3a9735f490" providerId="ADAL" clId="{FB50856E-B55B-40FE-B1F3-9C82FC6E2468}" dt="2023-07-18T09:45:55.789" v="3078" actId="47"/>
          <pc:sldLayoutMkLst>
            <pc:docMk/>
            <pc:sldMasterMk cId="0" sldId="2147483658"/>
            <pc:sldLayoutMk cId="1335986753" sldId="2147497901"/>
          </pc:sldLayoutMkLst>
        </pc:sldLayoutChg>
      </pc:sldMasterChg>
      <pc:sldMasterChg chg="add del addSldLayout delSldLayout">
        <pc:chgData name="Scott Sink" userId="007532c1-63dd-4f29-9932-df3a9735f490" providerId="ADAL" clId="{FB50856E-B55B-40FE-B1F3-9C82FC6E2468}" dt="2023-07-18T13:23:24.574" v="4314" actId="47"/>
        <pc:sldMasterMkLst>
          <pc:docMk/>
          <pc:sldMasterMk cId="0" sldId="2147483661"/>
        </pc:sldMasterMkLst>
        <pc:sldLayoutChg chg="add del">
          <pc:chgData name="Scott Sink" userId="007532c1-63dd-4f29-9932-df3a9735f490" providerId="ADAL" clId="{FB50856E-B55B-40FE-B1F3-9C82FC6E2468}" dt="2023-07-18T13:23:23.274" v="4313" actId="47"/>
          <pc:sldLayoutMkLst>
            <pc:docMk/>
            <pc:sldMasterMk cId="0" sldId="2147483661"/>
            <pc:sldLayoutMk cId="0" sldId="2147483659"/>
          </pc:sldLayoutMkLst>
        </pc:sldLayoutChg>
        <pc:sldLayoutChg chg="add del">
          <pc:chgData name="Scott Sink" userId="007532c1-63dd-4f29-9932-df3a9735f490" providerId="ADAL" clId="{FB50856E-B55B-40FE-B1F3-9C82FC6E2468}" dt="2023-07-18T13:23:24.574" v="4314" actId="47"/>
          <pc:sldLayoutMkLst>
            <pc:docMk/>
            <pc:sldMasterMk cId="0" sldId="2147483661"/>
            <pc:sldLayoutMk cId="0" sldId="2147498066"/>
          </pc:sldLayoutMkLst>
        </pc:sldLayoutChg>
      </pc:sldMasterChg>
      <pc:sldMasterChg chg="del delSldLayout">
        <pc:chgData name="Scott Sink" userId="007532c1-63dd-4f29-9932-df3a9735f490" providerId="ADAL" clId="{FB50856E-B55B-40FE-B1F3-9C82FC6E2468}" dt="2023-07-18T14:30:17.924" v="4329" actId="47"/>
        <pc:sldMasterMkLst>
          <pc:docMk/>
          <pc:sldMasterMk cId="0" sldId="2147483666"/>
        </pc:sldMasterMkLst>
        <pc:sldLayoutChg chg="del">
          <pc:chgData name="Scott Sink" userId="007532c1-63dd-4f29-9932-df3a9735f490" providerId="ADAL" clId="{FB50856E-B55B-40FE-B1F3-9C82FC6E2468}" dt="2023-07-18T09:45:48.107" v="3072" actId="47"/>
          <pc:sldLayoutMkLst>
            <pc:docMk/>
            <pc:sldMasterMk cId="0" sldId="2147483666"/>
            <pc:sldLayoutMk cId="1393805021" sldId="2147483669"/>
          </pc:sldLayoutMkLst>
        </pc:sldLayoutChg>
        <pc:sldLayoutChg chg="del">
          <pc:chgData name="Scott Sink" userId="007532c1-63dd-4f29-9932-df3a9735f490" providerId="ADAL" clId="{FB50856E-B55B-40FE-B1F3-9C82FC6E2468}" dt="2023-07-18T14:30:17.924" v="4329" actId="47"/>
          <pc:sldLayoutMkLst>
            <pc:docMk/>
            <pc:sldMasterMk cId="0" sldId="2147483666"/>
            <pc:sldLayoutMk cId="0" sldId="2147497908"/>
          </pc:sldLayoutMkLst>
        </pc:sldLayoutChg>
      </pc:sldMasterChg>
      <pc:sldMasterChg chg="del delSldLayout">
        <pc:chgData name="Scott Sink" userId="007532c1-63dd-4f29-9932-df3a9735f490" providerId="ADAL" clId="{FB50856E-B55B-40FE-B1F3-9C82FC6E2468}" dt="2023-07-18T09:46:00.807" v="3081" actId="47"/>
        <pc:sldMasterMkLst>
          <pc:docMk/>
          <pc:sldMasterMk cId="1310371896" sldId="2147483726"/>
        </pc:sldMasterMkLst>
        <pc:sldLayoutChg chg="del">
          <pc:chgData name="Scott Sink" userId="007532c1-63dd-4f29-9932-df3a9735f490" providerId="ADAL" clId="{FB50856E-B55B-40FE-B1F3-9C82FC6E2468}" dt="2023-07-18T09:46:00.807" v="3081" actId="47"/>
          <pc:sldLayoutMkLst>
            <pc:docMk/>
            <pc:sldMasterMk cId="1310371896" sldId="2147483726"/>
            <pc:sldLayoutMk cId="613140667" sldId="2147483728"/>
          </pc:sldLayoutMkLst>
        </pc:sldLayoutChg>
      </pc:sldMasterChg>
      <pc:sldMasterChg chg="del delSldLayout">
        <pc:chgData name="Scott Sink" userId="007532c1-63dd-4f29-9932-df3a9735f490" providerId="ADAL" clId="{FB50856E-B55B-40FE-B1F3-9C82FC6E2468}" dt="2023-07-18T14:30:22.325" v="4333" actId="47"/>
        <pc:sldMasterMkLst>
          <pc:docMk/>
          <pc:sldMasterMk cId="0" sldId="2147484151"/>
        </pc:sldMasterMkLst>
        <pc:sldLayoutChg chg="del">
          <pc:chgData name="Scott Sink" userId="007532c1-63dd-4f29-9932-df3a9735f490" providerId="ADAL" clId="{FB50856E-B55B-40FE-B1F3-9C82FC6E2468}" dt="2023-07-18T14:30:22.325" v="4333" actId="47"/>
          <pc:sldLayoutMkLst>
            <pc:docMk/>
            <pc:sldMasterMk cId="0" sldId="2147484151"/>
            <pc:sldLayoutMk cId="3956399100" sldId="2147497324"/>
          </pc:sldLayoutMkLst>
        </pc:sldLayoutChg>
      </pc:sldMasterChg>
      <pc:sldMasterChg chg="add addSldLayout">
        <pc:chgData name="Scott Sink" userId="007532c1-63dd-4f29-9932-df3a9735f490" providerId="ADAL" clId="{FB50856E-B55B-40FE-B1F3-9C82FC6E2468}" dt="2023-07-18T10:51:59.230" v="4086" actId="27028"/>
        <pc:sldMasterMkLst>
          <pc:docMk/>
          <pc:sldMasterMk cId="0" sldId="2147484232"/>
        </pc:sldMasterMkLst>
        <pc:sldLayoutChg chg="add">
          <pc:chgData name="Scott Sink" userId="007532c1-63dd-4f29-9932-df3a9735f490" providerId="ADAL" clId="{FB50856E-B55B-40FE-B1F3-9C82FC6E2468}" dt="2023-07-18T10:51:59.230" v="4086" actId="27028"/>
          <pc:sldLayoutMkLst>
            <pc:docMk/>
            <pc:sldMasterMk cId="0" sldId="2147484232"/>
            <pc:sldLayoutMk cId="3919436892" sldId="2147484233"/>
          </pc:sldLayoutMkLst>
        </pc:sldLayoutChg>
      </pc:sldMasterChg>
      <pc:sldMasterChg chg="add addSldLayout delSldLayout">
        <pc:chgData name="Scott Sink" userId="007532c1-63dd-4f29-9932-df3a9735f490" providerId="ADAL" clId="{FB50856E-B55B-40FE-B1F3-9C82FC6E2468}" dt="2023-07-18T07:57:39.710" v="506" actId="47"/>
        <pc:sldMasterMkLst>
          <pc:docMk/>
          <pc:sldMasterMk cId="0" sldId="2147484238"/>
        </pc:sldMasterMkLst>
        <pc:sldLayoutChg chg="add del">
          <pc:chgData name="Scott Sink" userId="007532c1-63dd-4f29-9932-df3a9735f490" providerId="ADAL" clId="{FB50856E-B55B-40FE-B1F3-9C82FC6E2468}" dt="2023-07-18T07:57:39.710" v="506" actId="47"/>
          <pc:sldLayoutMkLst>
            <pc:docMk/>
            <pc:sldMasterMk cId="0" sldId="2147484238"/>
            <pc:sldLayoutMk cId="2112750604" sldId="2147484239"/>
          </pc:sldLayoutMkLst>
        </pc:sldLayoutChg>
        <pc:sldLayoutChg chg="add">
          <pc:chgData name="Scott Sink" userId="007532c1-63dd-4f29-9932-df3a9735f490" providerId="ADAL" clId="{FB50856E-B55B-40FE-B1F3-9C82FC6E2468}" dt="2023-07-17T10:50:37.366" v="265" actId="27028"/>
          <pc:sldLayoutMkLst>
            <pc:docMk/>
            <pc:sldMasterMk cId="0" sldId="2147484238"/>
            <pc:sldLayoutMk cId="3361075070" sldId="2147484241"/>
          </pc:sldLayoutMkLst>
        </pc:sldLayoutChg>
      </pc:sldMasterChg>
      <pc:sldMasterChg chg="add addSldLayout">
        <pc:chgData name="Scott Sink" userId="007532c1-63dd-4f29-9932-df3a9735f490" providerId="ADAL" clId="{FB50856E-B55B-40FE-B1F3-9C82FC6E2468}" dt="2023-07-17T10:50:33.928" v="261" actId="27028"/>
        <pc:sldMasterMkLst>
          <pc:docMk/>
          <pc:sldMasterMk cId="0" sldId="2147484300"/>
        </pc:sldMasterMkLst>
        <pc:sldLayoutChg chg="add">
          <pc:chgData name="Scott Sink" userId="007532c1-63dd-4f29-9932-df3a9735f490" providerId="ADAL" clId="{FB50856E-B55B-40FE-B1F3-9C82FC6E2468}" dt="2023-07-17T10:50:33.928" v="261" actId="27028"/>
          <pc:sldLayoutMkLst>
            <pc:docMk/>
            <pc:sldMasterMk cId="0" sldId="2147484300"/>
            <pc:sldLayoutMk cId="2585945822" sldId="2147484301"/>
          </pc:sldLayoutMkLst>
        </pc:sldLayoutChg>
      </pc:sldMasterChg>
      <pc:sldMasterChg chg="add addSldLayout">
        <pc:chgData name="Scott Sink" userId="007532c1-63dd-4f29-9932-df3a9735f490" providerId="ADAL" clId="{FB50856E-B55B-40FE-B1F3-9C82FC6E2468}" dt="2023-07-18T07:59:31.624" v="507" actId="27028"/>
        <pc:sldMasterMkLst>
          <pc:docMk/>
          <pc:sldMasterMk cId="0" sldId="2147497829"/>
        </pc:sldMasterMkLst>
        <pc:sldLayoutChg chg="add">
          <pc:chgData name="Scott Sink" userId="007532c1-63dd-4f29-9932-df3a9735f490" providerId="ADAL" clId="{FB50856E-B55B-40FE-B1F3-9C82FC6E2468}" dt="2023-07-18T07:59:31.624" v="507" actId="27028"/>
          <pc:sldLayoutMkLst>
            <pc:docMk/>
            <pc:sldMasterMk cId="0" sldId="2147497829"/>
            <pc:sldLayoutMk cId="0" sldId="2147484221"/>
          </pc:sldLayoutMkLst>
        </pc:sldLayoutChg>
      </pc:sldMasterChg>
      <pc:sldMasterChg chg="add addSldLayout">
        <pc:chgData name="Scott Sink" userId="007532c1-63dd-4f29-9932-df3a9735f490" providerId="ADAL" clId="{FB50856E-B55B-40FE-B1F3-9C82FC6E2468}" dt="2023-07-17T10:49:58.086" v="257" actId="27028"/>
        <pc:sldMasterMkLst>
          <pc:docMk/>
          <pc:sldMasterMk cId="650928819" sldId="2147497886"/>
        </pc:sldMasterMkLst>
        <pc:sldLayoutChg chg="add">
          <pc:chgData name="Scott Sink" userId="007532c1-63dd-4f29-9932-df3a9735f490" providerId="ADAL" clId="{FB50856E-B55B-40FE-B1F3-9C82FC6E2468}" dt="2023-07-17T10:49:58.086" v="257" actId="27028"/>
          <pc:sldLayoutMkLst>
            <pc:docMk/>
            <pc:sldMasterMk cId="650928819" sldId="2147497886"/>
            <pc:sldLayoutMk cId="2108126181" sldId="2147497887"/>
          </pc:sldLayoutMkLst>
        </pc:sldLayoutChg>
      </pc:sldMasterChg>
      <pc:sldMasterChg chg="add del addSldLayout delSldLayout">
        <pc:chgData name="Scott Sink" userId="007532c1-63dd-4f29-9932-df3a9735f490" providerId="ADAL" clId="{FB50856E-B55B-40FE-B1F3-9C82FC6E2468}" dt="2023-07-18T08:33:10.592" v="1317" actId="47"/>
        <pc:sldMasterMkLst>
          <pc:docMk/>
          <pc:sldMasterMk cId="2801597579" sldId="2147497888"/>
        </pc:sldMasterMkLst>
        <pc:sldLayoutChg chg="add del">
          <pc:chgData name="Scott Sink" userId="007532c1-63dd-4f29-9932-df3a9735f490" providerId="ADAL" clId="{FB50856E-B55B-40FE-B1F3-9C82FC6E2468}" dt="2023-07-18T08:33:10.592" v="1317" actId="47"/>
          <pc:sldLayoutMkLst>
            <pc:docMk/>
            <pc:sldMasterMk cId="2801597579" sldId="2147497888"/>
            <pc:sldLayoutMk cId="1934662150" sldId="2147497889"/>
          </pc:sldLayoutMkLst>
        </pc:sldLayoutChg>
      </pc:sldMasterChg>
      <pc:sldMasterChg chg="addSldLayout delSldLayout">
        <pc:chgData name="Scott Sink" userId="007532c1-63dd-4f29-9932-df3a9735f490" providerId="ADAL" clId="{FB50856E-B55B-40FE-B1F3-9C82FC6E2468}" dt="2023-07-18T09:46:09.157" v="3084" actId="47"/>
        <pc:sldMasterMkLst>
          <pc:docMk/>
          <pc:sldMasterMk cId="109284353" sldId="2147497892"/>
        </pc:sldMasterMkLst>
        <pc:sldLayoutChg chg="add">
          <pc:chgData name="Scott Sink" userId="007532c1-63dd-4f29-9932-df3a9735f490" providerId="ADAL" clId="{FB50856E-B55B-40FE-B1F3-9C82FC6E2468}" dt="2023-07-18T08:29:01.345" v="1258" actId="27028"/>
          <pc:sldLayoutMkLst>
            <pc:docMk/>
            <pc:sldMasterMk cId="109284353" sldId="2147497892"/>
            <pc:sldLayoutMk cId="2050625499" sldId="2147497884"/>
          </pc:sldLayoutMkLst>
        </pc:sldLayoutChg>
        <pc:sldLayoutChg chg="del">
          <pc:chgData name="Scott Sink" userId="007532c1-63dd-4f29-9932-df3a9735f490" providerId="ADAL" clId="{FB50856E-B55B-40FE-B1F3-9C82FC6E2468}" dt="2023-07-18T09:46:09.157" v="3084" actId="47"/>
          <pc:sldLayoutMkLst>
            <pc:docMk/>
            <pc:sldMasterMk cId="109284353" sldId="2147497892"/>
            <pc:sldLayoutMk cId="2587822317" sldId="2147497899"/>
          </pc:sldLayoutMkLst>
        </pc:sldLayoutChg>
      </pc:sldMasterChg>
      <pc:sldMasterChg chg="del delSldLayout">
        <pc:chgData name="Scott Sink" userId="007532c1-63dd-4f29-9932-df3a9735f490" providerId="ADAL" clId="{FB50856E-B55B-40FE-B1F3-9C82FC6E2468}" dt="2023-07-18T09:27:49.390" v="2934" actId="47"/>
        <pc:sldMasterMkLst>
          <pc:docMk/>
          <pc:sldMasterMk cId="2986711267" sldId="2147497900"/>
        </pc:sldMasterMkLst>
        <pc:sldLayoutChg chg="del">
          <pc:chgData name="Scott Sink" userId="007532c1-63dd-4f29-9932-df3a9735f490" providerId="ADAL" clId="{FB50856E-B55B-40FE-B1F3-9C82FC6E2468}" dt="2023-07-18T09:27:49.390" v="2934" actId="47"/>
          <pc:sldLayoutMkLst>
            <pc:docMk/>
            <pc:sldMasterMk cId="2986711267" sldId="2147497900"/>
            <pc:sldLayoutMk cId="2640896162" sldId="2147497902"/>
          </pc:sldLayoutMkLst>
        </pc:sldLayoutChg>
      </pc:sldMasterChg>
      <pc:sldMasterChg chg="add addSldLayout">
        <pc:chgData name="Scott Sink" userId="007532c1-63dd-4f29-9932-df3a9735f490" providerId="ADAL" clId="{FB50856E-B55B-40FE-B1F3-9C82FC6E2468}" dt="2023-07-18T09:25:28.152" v="2916" actId="27028"/>
        <pc:sldMasterMkLst>
          <pc:docMk/>
          <pc:sldMasterMk cId="1617394283" sldId="2147498055"/>
        </pc:sldMasterMkLst>
        <pc:sldLayoutChg chg="add">
          <pc:chgData name="Scott Sink" userId="007532c1-63dd-4f29-9932-df3a9735f490" providerId="ADAL" clId="{FB50856E-B55B-40FE-B1F3-9C82FC6E2468}" dt="2023-07-18T09:25:28.152" v="2916" actId="27028"/>
          <pc:sldLayoutMkLst>
            <pc:docMk/>
            <pc:sldMasterMk cId="1617394283" sldId="2147498055"/>
            <pc:sldLayoutMk cId="2853465870" sldId="2147498056"/>
          </pc:sldLayoutMkLst>
        </pc:sldLayoutChg>
      </pc:sldMasterChg>
      <pc:sldMasterChg chg="add addSldLayout">
        <pc:chgData name="Scott Sink" userId="007532c1-63dd-4f29-9932-df3a9735f490" providerId="ADAL" clId="{FB50856E-B55B-40FE-B1F3-9C82FC6E2468}" dt="2023-07-18T09:26:17.758" v="2924" actId="27028"/>
        <pc:sldMasterMkLst>
          <pc:docMk/>
          <pc:sldMasterMk cId="3569362743" sldId="2147498057"/>
        </pc:sldMasterMkLst>
        <pc:sldLayoutChg chg="add">
          <pc:chgData name="Scott Sink" userId="007532c1-63dd-4f29-9932-df3a9735f490" providerId="ADAL" clId="{FB50856E-B55B-40FE-B1F3-9C82FC6E2468}" dt="2023-07-18T09:25:46.144" v="2918" actId="27028"/>
          <pc:sldLayoutMkLst>
            <pc:docMk/>
            <pc:sldMasterMk cId="3569362743" sldId="2147498057"/>
            <pc:sldLayoutMk cId="2492938058" sldId="2147498059"/>
          </pc:sldLayoutMkLst>
        </pc:sldLayoutChg>
        <pc:sldLayoutChg chg="add">
          <pc:chgData name="Scott Sink" userId="007532c1-63dd-4f29-9932-df3a9735f490" providerId="ADAL" clId="{FB50856E-B55B-40FE-B1F3-9C82FC6E2468}" dt="2023-07-18T09:26:05.074" v="2922" actId="27028"/>
          <pc:sldLayoutMkLst>
            <pc:docMk/>
            <pc:sldMasterMk cId="3569362743" sldId="2147498057"/>
            <pc:sldLayoutMk cId="1417110283" sldId="2147498061"/>
          </pc:sldLayoutMkLst>
        </pc:sldLayoutChg>
        <pc:sldLayoutChg chg="add">
          <pc:chgData name="Scott Sink" userId="007532c1-63dd-4f29-9932-df3a9735f490" providerId="ADAL" clId="{FB50856E-B55B-40FE-B1F3-9C82FC6E2468}" dt="2023-07-18T09:25:58.841" v="2920" actId="27028"/>
          <pc:sldLayoutMkLst>
            <pc:docMk/>
            <pc:sldMasterMk cId="3569362743" sldId="2147498057"/>
            <pc:sldLayoutMk cId="2123509647" sldId="2147498062"/>
          </pc:sldLayoutMkLst>
        </pc:sldLayoutChg>
        <pc:sldLayoutChg chg="add">
          <pc:chgData name="Scott Sink" userId="007532c1-63dd-4f29-9932-df3a9735f490" providerId="ADAL" clId="{FB50856E-B55B-40FE-B1F3-9C82FC6E2468}" dt="2023-07-18T09:26:17.758" v="2924" actId="27028"/>
          <pc:sldLayoutMkLst>
            <pc:docMk/>
            <pc:sldMasterMk cId="3569362743" sldId="2147498057"/>
            <pc:sldLayoutMk cId="1265982232" sldId="2147498063"/>
          </pc:sldLayoutMkLst>
        </pc:sldLayoutChg>
      </pc:sldMasterChg>
      <pc:sldMasterChg chg="add replId addSldLayout modSldLayout">
        <pc:chgData name="Scott Sink" userId="007532c1-63dd-4f29-9932-df3a9735f490" providerId="ADAL" clId="{FB50856E-B55B-40FE-B1F3-9C82FC6E2468}" dt="2023-07-18T13:22:57.096" v="4309" actId="27028"/>
        <pc:sldMasterMkLst>
          <pc:docMk/>
          <pc:sldMasterMk cId="2704963644" sldId="2147498064"/>
        </pc:sldMasterMkLst>
        <pc:sldLayoutChg chg="add replId">
          <pc:chgData name="Scott Sink" userId="007532c1-63dd-4f29-9932-df3a9735f490" providerId="ADAL" clId="{FB50856E-B55B-40FE-B1F3-9C82FC6E2468}" dt="2023-07-18T13:22:57.096" v="4309" actId="27028"/>
          <pc:sldLayoutMkLst>
            <pc:docMk/>
            <pc:sldMasterMk cId="2704963644" sldId="2147498064"/>
            <pc:sldLayoutMk cId="3950766809" sldId="2147498065"/>
          </pc:sldLayoutMkLst>
        </pc:sldLayoutChg>
      </pc:sldMasterChg>
    </pc:docChg>
  </pc:docChgLst>
  <pc:docChgLst>
    <pc:chgData name="Scott Sink" userId="007532c1-63dd-4f29-9932-df3a9735f490" providerId="ADAL" clId="{9E3C8D41-9167-4835-BE54-6D463ECD2610}"/>
    <pc:docChg chg="undo custSel addSld delSld modSld sldOrd addMainMaster delMainMaster modMainMaster">
      <pc:chgData name="Scott Sink" userId="007532c1-63dd-4f29-9932-df3a9735f490" providerId="ADAL" clId="{9E3C8D41-9167-4835-BE54-6D463ECD2610}" dt="2023-04-18T10:15:59.136" v="7491" actId="14100"/>
      <pc:docMkLst>
        <pc:docMk/>
      </pc:docMkLst>
      <pc:sldChg chg="ord">
        <pc:chgData name="Scott Sink" userId="007532c1-63dd-4f29-9932-df3a9735f490" providerId="ADAL" clId="{9E3C8D41-9167-4835-BE54-6D463ECD2610}" dt="2023-04-17T11:09:40.012" v="4799"/>
        <pc:sldMkLst>
          <pc:docMk/>
          <pc:sldMk cId="0" sldId="972"/>
        </pc:sldMkLst>
      </pc:sldChg>
      <pc:sldChg chg="ord">
        <pc:chgData name="Scott Sink" userId="007532c1-63dd-4f29-9932-df3a9735f490" providerId="ADAL" clId="{9E3C8D41-9167-4835-BE54-6D463ECD2610}" dt="2023-04-10T11:08:13.026" v="1663"/>
        <pc:sldMkLst>
          <pc:docMk/>
          <pc:sldMk cId="0" sldId="973"/>
        </pc:sldMkLst>
      </pc:sldChg>
      <pc:sldChg chg="ord">
        <pc:chgData name="Scott Sink" userId="007532c1-63dd-4f29-9932-df3a9735f490" providerId="ADAL" clId="{9E3C8D41-9167-4835-BE54-6D463ECD2610}" dt="2023-04-10T11:08:04.126" v="1661"/>
        <pc:sldMkLst>
          <pc:docMk/>
          <pc:sldMk cId="0" sldId="974"/>
        </pc:sldMkLst>
      </pc:sldChg>
      <pc:sldChg chg="del">
        <pc:chgData name="Scott Sink" userId="007532c1-63dd-4f29-9932-df3a9735f490" providerId="ADAL" clId="{9E3C8D41-9167-4835-BE54-6D463ECD2610}" dt="2023-04-18T05:20:18.129" v="7056" actId="47"/>
        <pc:sldMkLst>
          <pc:docMk/>
          <pc:sldMk cId="0" sldId="975"/>
        </pc:sldMkLst>
      </pc:sldChg>
      <pc:sldChg chg="del">
        <pc:chgData name="Scott Sink" userId="007532c1-63dd-4f29-9932-df3a9735f490" providerId="ADAL" clId="{9E3C8D41-9167-4835-BE54-6D463ECD2610}" dt="2023-04-18T05:20:02.634" v="7049" actId="47"/>
        <pc:sldMkLst>
          <pc:docMk/>
          <pc:sldMk cId="1081947393" sldId="993"/>
        </pc:sldMkLst>
      </pc:sldChg>
      <pc:sldChg chg="del">
        <pc:chgData name="Scott Sink" userId="007532c1-63dd-4f29-9932-df3a9735f490" providerId="ADAL" clId="{9E3C8D41-9167-4835-BE54-6D463ECD2610}" dt="2023-04-18T05:20:23.487" v="7058" actId="47"/>
        <pc:sldMkLst>
          <pc:docMk/>
          <pc:sldMk cId="1520149310" sldId="1008"/>
        </pc:sldMkLst>
      </pc:sldChg>
      <pc:sldChg chg="del">
        <pc:chgData name="Scott Sink" userId="007532c1-63dd-4f29-9932-df3a9735f490" providerId="ADAL" clId="{9E3C8D41-9167-4835-BE54-6D463ECD2610}" dt="2023-04-18T05:20:19.512" v="7057" actId="47"/>
        <pc:sldMkLst>
          <pc:docMk/>
          <pc:sldMk cId="1419392209" sldId="1010"/>
        </pc:sldMkLst>
      </pc:sldChg>
      <pc:sldChg chg="del">
        <pc:chgData name="Scott Sink" userId="007532c1-63dd-4f29-9932-df3a9735f490" providerId="ADAL" clId="{9E3C8D41-9167-4835-BE54-6D463ECD2610}" dt="2023-04-18T05:20:16.801" v="7055" actId="47"/>
        <pc:sldMkLst>
          <pc:docMk/>
          <pc:sldMk cId="3565726042" sldId="1014"/>
        </pc:sldMkLst>
      </pc:sldChg>
      <pc:sldChg chg="del">
        <pc:chgData name="Scott Sink" userId="007532c1-63dd-4f29-9932-df3a9735f490" providerId="ADAL" clId="{9E3C8D41-9167-4835-BE54-6D463ECD2610}" dt="2023-04-18T05:20:14.497" v="7054" actId="47"/>
        <pc:sldMkLst>
          <pc:docMk/>
          <pc:sldMk cId="207448335" sldId="1015"/>
        </pc:sldMkLst>
      </pc:sldChg>
      <pc:sldChg chg="del">
        <pc:chgData name="Scott Sink" userId="007532c1-63dd-4f29-9932-df3a9735f490" providerId="ADAL" clId="{9E3C8D41-9167-4835-BE54-6D463ECD2610}" dt="2023-04-18T05:20:30.049" v="7059" actId="47"/>
        <pc:sldMkLst>
          <pc:docMk/>
          <pc:sldMk cId="2481794241" sldId="1030"/>
        </pc:sldMkLst>
      </pc:sldChg>
      <pc:sldChg chg="modSp mod">
        <pc:chgData name="Scott Sink" userId="007532c1-63dd-4f29-9932-df3a9735f490" providerId="ADAL" clId="{9E3C8D41-9167-4835-BE54-6D463ECD2610}" dt="2023-04-17T11:04:49.370" v="4470" actId="403"/>
        <pc:sldMkLst>
          <pc:docMk/>
          <pc:sldMk cId="1191895561" sldId="1073"/>
        </pc:sldMkLst>
        <pc:spChg chg="mod">
          <ac:chgData name="Scott Sink" userId="007532c1-63dd-4f29-9932-df3a9735f490" providerId="ADAL" clId="{9E3C8D41-9167-4835-BE54-6D463ECD2610}" dt="2023-04-17T11:04:49.370" v="4470" actId="403"/>
          <ac:spMkLst>
            <pc:docMk/>
            <pc:sldMk cId="1191895561" sldId="1073"/>
            <ac:spMk id="34818" creationId="{CD8765AA-FD17-4376-8483-B1841837B4D8}"/>
          </ac:spMkLst>
        </pc:spChg>
        <pc:picChg chg="mod">
          <ac:chgData name="Scott Sink" userId="007532c1-63dd-4f29-9932-df3a9735f490" providerId="ADAL" clId="{9E3C8D41-9167-4835-BE54-6D463ECD2610}" dt="2023-04-17T11:04:37.832" v="4466" actId="1076"/>
          <ac:picMkLst>
            <pc:docMk/>
            <pc:sldMk cId="1191895561" sldId="1073"/>
            <ac:picMk id="9" creationId="{2C4E32F5-07B8-2458-A53B-8CCFE770B36F}"/>
          </ac:picMkLst>
        </pc:picChg>
        <pc:picChg chg="mod">
          <ac:chgData name="Scott Sink" userId="007532c1-63dd-4f29-9932-df3a9735f490" providerId="ADAL" clId="{9E3C8D41-9167-4835-BE54-6D463ECD2610}" dt="2023-04-17T11:04:43.950" v="4467" actId="1076"/>
          <ac:picMkLst>
            <pc:docMk/>
            <pc:sldMk cId="1191895561" sldId="1073"/>
            <ac:picMk id="13" creationId="{C2461E31-15B4-BA5A-67F8-E8BC1DA5EFD2}"/>
          </ac:picMkLst>
        </pc:picChg>
        <pc:picChg chg="mod">
          <ac:chgData name="Scott Sink" userId="007532c1-63dd-4f29-9932-df3a9735f490" providerId="ADAL" clId="{9E3C8D41-9167-4835-BE54-6D463ECD2610}" dt="2023-04-10T10:48:55.240" v="930" actId="1076"/>
          <ac:picMkLst>
            <pc:docMk/>
            <pc:sldMk cId="1191895561" sldId="1073"/>
            <ac:picMk id="34829" creationId="{992710B9-FA7F-4F75-ADEB-295FE16AC110}"/>
          </ac:picMkLst>
        </pc:picChg>
      </pc:sldChg>
      <pc:sldChg chg="del">
        <pc:chgData name="Scott Sink" userId="007532c1-63dd-4f29-9932-df3a9735f490" providerId="ADAL" clId="{9E3C8D41-9167-4835-BE54-6D463ECD2610}" dt="2023-04-18T05:20:03.743" v="7050" actId="47"/>
        <pc:sldMkLst>
          <pc:docMk/>
          <pc:sldMk cId="2709457554" sldId="3528"/>
        </pc:sldMkLst>
      </pc:sldChg>
      <pc:sldChg chg="ord">
        <pc:chgData name="Scott Sink" userId="007532c1-63dd-4f29-9932-df3a9735f490" providerId="ADAL" clId="{9E3C8D41-9167-4835-BE54-6D463ECD2610}" dt="2023-04-18T05:19:31.555" v="7047"/>
        <pc:sldMkLst>
          <pc:docMk/>
          <pc:sldMk cId="3394926519" sldId="3543"/>
        </pc:sldMkLst>
      </pc:sldChg>
      <pc:sldChg chg="del">
        <pc:chgData name="Scott Sink" userId="007532c1-63dd-4f29-9932-df3a9735f490" providerId="ADAL" clId="{9E3C8D41-9167-4835-BE54-6D463ECD2610}" dt="2023-04-18T05:20:08.072" v="7051" actId="47"/>
        <pc:sldMkLst>
          <pc:docMk/>
          <pc:sldMk cId="4108777311" sldId="3545"/>
        </pc:sldMkLst>
      </pc:sldChg>
      <pc:sldChg chg="del">
        <pc:chgData name="Scott Sink" userId="007532c1-63dd-4f29-9932-df3a9735f490" providerId="ADAL" clId="{9E3C8D41-9167-4835-BE54-6D463ECD2610}" dt="2023-04-10T10:47:44.444" v="923" actId="47"/>
        <pc:sldMkLst>
          <pc:docMk/>
          <pc:sldMk cId="4011216617" sldId="3556"/>
        </pc:sldMkLst>
      </pc:sldChg>
      <pc:sldChg chg="del">
        <pc:chgData name="Scott Sink" userId="007532c1-63dd-4f29-9932-df3a9735f490" providerId="ADAL" clId="{9E3C8D41-9167-4835-BE54-6D463ECD2610}" dt="2023-04-18T05:20:31.193" v="7060" actId="47"/>
        <pc:sldMkLst>
          <pc:docMk/>
          <pc:sldMk cId="1828680455" sldId="3561"/>
        </pc:sldMkLst>
      </pc:sldChg>
      <pc:sldChg chg="del">
        <pc:chgData name="Scott Sink" userId="007532c1-63dd-4f29-9932-df3a9735f490" providerId="ADAL" clId="{9E3C8D41-9167-4835-BE54-6D463ECD2610}" dt="2023-04-18T05:20:10.051" v="7052" actId="47"/>
        <pc:sldMkLst>
          <pc:docMk/>
          <pc:sldMk cId="2031061649" sldId="3575"/>
        </pc:sldMkLst>
      </pc:sldChg>
      <pc:sldChg chg="del">
        <pc:chgData name="Scott Sink" userId="007532c1-63dd-4f29-9932-df3a9735f490" providerId="ADAL" clId="{9E3C8D41-9167-4835-BE54-6D463ECD2610}" dt="2023-04-18T05:20:10.984" v="7053" actId="47"/>
        <pc:sldMkLst>
          <pc:docMk/>
          <pc:sldMk cId="2058958684" sldId="3576"/>
        </pc:sldMkLst>
      </pc:sldChg>
      <pc:sldChg chg="del">
        <pc:chgData name="Scott Sink" userId="007532c1-63dd-4f29-9932-df3a9735f490" providerId="ADAL" clId="{9E3C8D41-9167-4835-BE54-6D463ECD2610}" dt="2023-04-10T10:50:51.666" v="1041" actId="47"/>
        <pc:sldMkLst>
          <pc:docMk/>
          <pc:sldMk cId="4081513264" sldId="3580"/>
        </pc:sldMkLst>
      </pc:sldChg>
      <pc:sldChg chg="del">
        <pc:chgData name="Scott Sink" userId="007532c1-63dd-4f29-9932-df3a9735f490" providerId="ADAL" clId="{9E3C8D41-9167-4835-BE54-6D463ECD2610}" dt="2023-04-10T10:54:10.459" v="1135" actId="47"/>
        <pc:sldMkLst>
          <pc:docMk/>
          <pc:sldMk cId="1093580571" sldId="3581"/>
        </pc:sldMkLst>
      </pc:sldChg>
      <pc:sldChg chg="modSp mod ord">
        <pc:chgData name="Scott Sink" userId="007532c1-63dd-4f29-9932-df3a9735f490" providerId="ADAL" clId="{9E3C8D41-9167-4835-BE54-6D463ECD2610}" dt="2023-04-16T09:44:32.360" v="2480" actId="20577"/>
        <pc:sldMkLst>
          <pc:docMk/>
          <pc:sldMk cId="2587135016" sldId="3583"/>
        </pc:sldMkLst>
        <pc:spChg chg="mod">
          <ac:chgData name="Scott Sink" userId="007532c1-63dd-4f29-9932-df3a9735f490" providerId="ADAL" clId="{9E3C8D41-9167-4835-BE54-6D463ECD2610}" dt="2023-04-16T09:44:32.360" v="2480" actId="20577"/>
          <ac:spMkLst>
            <pc:docMk/>
            <pc:sldMk cId="2587135016" sldId="3583"/>
            <ac:spMk id="6" creationId="{E734B233-DE41-C447-9A4F-4B49FB04B831}"/>
          </ac:spMkLst>
        </pc:spChg>
      </pc:sldChg>
      <pc:sldChg chg="modSp ord">
        <pc:chgData name="Scott Sink" userId="007532c1-63dd-4f29-9932-df3a9735f490" providerId="ADAL" clId="{9E3C8D41-9167-4835-BE54-6D463ECD2610}" dt="2023-04-16T14:16:40.004" v="4463" actId="1076"/>
        <pc:sldMkLst>
          <pc:docMk/>
          <pc:sldMk cId="156920407" sldId="3584"/>
        </pc:sldMkLst>
        <pc:spChg chg="mod">
          <ac:chgData name="Scott Sink" userId="007532c1-63dd-4f29-9932-df3a9735f490" providerId="ADAL" clId="{9E3C8D41-9167-4835-BE54-6D463ECD2610}" dt="2023-04-16T14:16:33.494" v="4462" actId="14100"/>
          <ac:spMkLst>
            <pc:docMk/>
            <pc:sldMk cId="156920407" sldId="3584"/>
            <ac:spMk id="27656" creationId="{4C18286E-B858-4AE7-A906-BC587D69642E}"/>
          </ac:spMkLst>
        </pc:spChg>
        <pc:spChg chg="mod">
          <ac:chgData name="Scott Sink" userId="007532c1-63dd-4f29-9932-df3a9735f490" providerId="ADAL" clId="{9E3C8D41-9167-4835-BE54-6D463ECD2610}" dt="2023-04-16T14:16:23.066" v="4458" actId="14100"/>
          <ac:spMkLst>
            <pc:docMk/>
            <pc:sldMk cId="156920407" sldId="3584"/>
            <ac:spMk id="27657" creationId="{E34D7E2F-48D6-4733-91B0-3AE20A5B2206}"/>
          </ac:spMkLst>
        </pc:spChg>
        <pc:picChg chg="mod">
          <ac:chgData name="Scott Sink" userId="007532c1-63dd-4f29-9932-df3a9735f490" providerId="ADAL" clId="{9E3C8D41-9167-4835-BE54-6D463ECD2610}" dt="2023-04-16T14:16:40.004" v="4463" actId="1076"/>
          <ac:picMkLst>
            <pc:docMk/>
            <pc:sldMk cId="156920407" sldId="3584"/>
            <ac:picMk id="27654" creationId="{7E22E97A-B4B4-4968-B2C4-CC6952539C16}"/>
          </ac:picMkLst>
        </pc:picChg>
      </pc:sldChg>
      <pc:sldChg chg="del">
        <pc:chgData name="Scott Sink" userId="007532c1-63dd-4f29-9932-df3a9735f490" providerId="ADAL" clId="{9E3C8D41-9167-4835-BE54-6D463ECD2610}" dt="2023-04-10T11:22:02.311" v="2354" actId="47"/>
        <pc:sldMkLst>
          <pc:docMk/>
          <pc:sldMk cId="1156798635" sldId="3585"/>
        </pc:sldMkLst>
      </pc:sldChg>
      <pc:sldChg chg="del">
        <pc:chgData name="Scott Sink" userId="007532c1-63dd-4f29-9932-df3a9735f490" providerId="ADAL" clId="{9E3C8D41-9167-4835-BE54-6D463ECD2610}" dt="2023-04-18T05:20:35.368" v="7061" actId="47"/>
        <pc:sldMkLst>
          <pc:docMk/>
          <pc:sldMk cId="3994094586" sldId="3586"/>
        </pc:sldMkLst>
      </pc:sldChg>
      <pc:sldChg chg="del">
        <pc:chgData name="Scott Sink" userId="007532c1-63dd-4f29-9932-df3a9735f490" providerId="ADAL" clId="{9E3C8D41-9167-4835-BE54-6D463ECD2610}" dt="2023-04-10T10:52:37.026" v="1097" actId="47"/>
        <pc:sldMkLst>
          <pc:docMk/>
          <pc:sldMk cId="415907632" sldId="3588"/>
        </pc:sldMkLst>
      </pc:sldChg>
      <pc:sldChg chg="del">
        <pc:chgData name="Scott Sink" userId="007532c1-63dd-4f29-9932-df3a9735f490" providerId="ADAL" clId="{9E3C8D41-9167-4835-BE54-6D463ECD2610}" dt="2023-04-10T10:54:09.509" v="1134" actId="47"/>
        <pc:sldMkLst>
          <pc:docMk/>
          <pc:sldMk cId="3890885787" sldId="3592"/>
        </pc:sldMkLst>
      </pc:sldChg>
      <pc:sldChg chg="del">
        <pc:chgData name="Scott Sink" userId="007532c1-63dd-4f29-9932-df3a9735f490" providerId="ADAL" clId="{9E3C8D41-9167-4835-BE54-6D463ECD2610}" dt="2023-04-10T11:22:52.503" v="2359" actId="47"/>
        <pc:sldMkLst>
          <pc:docMk/>
          <pc:sldMk cId="2623999364" sldId="3593"/>
        </pc:sldMkLst>
      </pc:sldChg>
      <pc:sldChg chg="del">
        <pc:chgData name="Scott Sink" userId="007532c1-63dd-4f29-9932-df3a9735f490" providerId="ADAL" clId="{9E3C8D41-9167-4835-BE54-6D463ECD2610}" dt="2023-04-10T11:22:45.926" v="2357" actId="47"/>
        <pc:sldMkLst>
          <pc:docMk/>
          <pc:sldMk cId="3912324480" sldId="3594"/>
        </pc:sldMkLst>
      </pc:sldChg>
      <pc:sldChg chg="del">
        <pc:chgData name="Scott Sink" userId="007532c1-63dd-4f29-9932-df3a9735f490" providerId="ADAL" clId="{9E3C8D41-9167-4835-BE54-6D463ECD2610}" dt="2023-04-18T05:20:38.449" v="7062" actId="47"/>
        <pc:sldMkLst>
          <pc:docMk/>
          <pc:sldMk cId="4015846564" sldId="3595"/>
        </pc:sldMkLst>
      </pc:sldChg>
      <pc:sldChg chg="del">
        <pc:chgData name="Scott Sink" userId="007532c1-63dd-4f29-9932-df3a9735f490" providerId="ADAL" clId="{9E3C8D41-9167-4835-BE54-6D463ECD2610}" dt="2023-04-10T11:22:57.843" v="2360" actId="47"/>
        <pc:sldMkLst>
          <pc:docMk/>
          <pc:sldMk cId="3991207018" sldId="3596"/>
        </pc:sldMkLst>
      </pc:sldChg>
      <pc:sldChg chg="del">
        <pc:chgData name="Scott Sink" userId="007532c1-63dd-4f29-9932-df3a9735f490" providerId="ADAL" clId="{9E3C8D41-9167-4835-BE54-6D463ECD2610}" dt="2023-04-10T10:50:53.997" v="1042" actId="47"/>
        <pc:sldMkLst>
          <pc:docMk/>
          <pc:sldMk cId="702407938" sldId="3597"/>
        </pc:sldMkLst>
      </pc:sldChg>
      <pc:sldChg chg="del">
        <pc:chgData name="Scott Sink" userId="007532c1-63dd-4f29-9932-df3a9735f490" providerId="ADAL" clId="{9E3C8D41-9167-4835-BE54-6D463ECD2610}" dt="2023-04-10T11:22:50.575" v="2358" actId="47"/>
        <pc:sldMkLst>
          <pc:docMk/>
          <pc:sldMk cId="1378970743" sldId="3598"/>
        </pc:sldMkLst>
      </pc:sldChg>
      <pc:sldChg chg="modSp del mod">
        <pc:chgData name="Scott Sink" userId="007532c1-63dd-4f29-9932-df3a9735f490" providerId="ADAL" clId="{9E3C8D41-9167-4835-BE54-6D463ECD2610}" dt="2023-04-18T05:19:35.576" v="7048" actId="47"/>
        <pc:sldMkLst>
          <pc:docMk/>
          <pc:sldMk cId="1934364303" sldId="3599"/>
        </pc:sldMkLst>
        <pc:spChg chg="mod">
          <ac:chgData name="Scott Sink" userId="007532c1-63dd-4f29-9932-df3a9735f490" providerId="ADAL" clId="{9E3C8D41-9167-4835-BE54-6D463ECD2610}" dt="2023-04-16T12:53:52.199" v="4261" actId="20577"/>
          <ac:spMkLst>
            <pc:docMk/>
            <pc:sldMk cId="1934364303" sldId="3599"/>
            <ac:spMk id="3" creationId="{F0B294B4-5BC5-2610-ED70-63C0F88F5F12}"/>
          </ac:spMkLst>
        </pc:spChg>
      </pc:sldChg>
      <pc:sldChg chg="del">
        <pc:chgData name="Scott Sink" userId="007532c1-63dd-4f29-9932-df3a9735f490" providerId="ADAL" clId="{9E3C8D41-9167-4835-BE54-6D463ECD2610}" dt="2023-04-10T10:52:39.863" v="1100" actId="47"/>
        <pc:sldMkLst>
          <pc:docMk/>
          <pc:sldMk cId="2313767426" sldId="3600"/>
        </pc:sldMkLst>
      </pc:sldChg>
      <pc:sldChg chg="del">
        <pc:chgData name="Scott Sink" userId="007532c1-63dd-4f29-9932-df3a9735f490" providerId="ADAL" clId="{9E3C8D41-9167-4835-BE54-6D463ECD2610}" dt="2023-04-10T10:52:38.976" v="1099" actId="47"/>
        <pc:sldMkLst>
          <pc:docMk/>
          <pc:sldMk cId="2637935649" sldId="3601"/>
        </pc:sldMkLst>
      </pc:sldChg>
      <pc:sldChg chg="del">
        <pc:chgData name="Scott Sink" userId="007532c1-63dd-4f29-9932-df3a9735f490" providerId="ADAL" clId="{9E3C8D41-9167-4835-BE54-6D463ECD2610}" dt="2023-04-10T11:23:01.056" v="2361" actId="47"/>
        <pc:sldMkLst>
          <pc:docMk/>
          <pc:sldMk cId="3033714040" sldId="3602"/>
        </pc:sldMkLst>
      </pc:sldChg>
      <pc:sldChg chg="addSp delSp modSp mod">
        <pc:chgData name="Scott Sink" userId="007532c1-63dd-4f29-9932-df3a9735f490" providerId="ADAL" clId="{9E3C8D41-9167-4835-BE54-6D463ECD2610}" dt="2023-04-16T10:23:37.617" v="3393" actId="20577"/>
        <pc:sldMkLst>
          <pc:docMk/>
          <pc:sldMk cId="985217198" sldId="3603"/>
        </pc:sldMkLst>
        <pc:spChg chg="mod">
          <ac:chgData name="Scott Sink" userId="007532c1-63dd-4f29-9932-df3a9735f490" providerId="ADAL" clId="{9E3C8D41-9167-4835-BE54-6D463ECD2610}" dt="2023-04-16T09:51:14.074" v="2729" actId="20577"/>
          <ac:spMkLst>
            <pc:docMk/>
            <pc:sldMk cId="985217198" sldId="3603"/>
            <ac:spMk id="2" creationId="{E211C6D2-E137-A675-E129-1B7CA1893BC6}"/>
          </ac:spMkLst>
        </pc:spChg>
        <pc:spChg chg="mod">
          <ac:chgData name="Scott Sink" userId="007532c1-63dd-4f29-9932-df3a9735f490" providerId="ADAL" clId="{9E3C8D41-9167-4835-BE54-6D463ECD2610}" dt="2023-04-16T10:23:37.617" v="3393" actId="20577"/>
          <ac:spMkLst>
            <pc:docMk/>
            <pc:sldMk cId="985217198" sldId="3603"/>
            <ac:spMk id="3" creationId="{6D76E1CA-0434-A800-0AC3-87790CA7F766}"/>
          </ac:spMkLst>
        </pc:spChg>
        <pc:spChg chg="del mod">
          <ac:chgData name="Scott Sink" userId="007532c1-63dd-4f29-9932-df3a9735f490" providerId="ADAL" clId="{9E3C8D41-9167-4835-BE54-6D463ECD2610}" dt="2023-04-16T10:21:58.602" v="3320" actId="478"/>
          <ac:spMkLst>
            <pc:docMk/>
            <pc:sldMk cId="985217198" sldId="3603"/>
            <ac:spMk id="4" creationId="{6DB03709-4D62-0C95-17C9-6EEC74CD24EE}"/>
          </ac:spMkLst>
        </pc:spChg>
        <pc:spChg chg="add mod">
          <ac:chgData name="Scott Sink" userId="007532c1-63dd-4f29-9932-df3a9735f490" providerId="ADAL" clId="{9E3C8D41-9167-4835-BE54-6D463ECD2610}" dt="2023-04-16T10:22:10.838" v="3332" actId="20577"/>
          <ac:spMkLst>
            <pc:docMk/>
            <pc:sldMk cId="985217198" sldId="3603"/>
            <ac:spMk id="20" creationId="{9EA92477-BDAD-061B-15D6-B2A787979BFB}"/>
          </ac:spMkLst>
        </pc:spChg>
        <pc:picChg chg="add del mod">
          <ac:chgData name="Scott Sink" userId="007532c1-63dd-4f29-9932-df3a9735f490" providerId="ADAL" clId="{9E3C8D41-9167-4835-BE54-6D463ECD2610}" dt="2023-04-16T09:51:27.927" v="2745" actId="478"/>
          <ac:picMkLst>
            <pc:docMk/>
            <pc:sldMk cId="985217198" sldId="3603"/>
            <ac:picMk id="6" creationId="{6F11B3E2-F3B2-9042-F2E4-6A6761867775}"/>
          </ac:picMkLst>
        </pc:picChg>
        <pc:picChg chg="add del mod">
          <ac:chgData name="Scott Sink" userId="007532c1-63dd-4f29-9932-df3a9735f490" providerId="ADAL" clId="{9E3C8D41-9167-4835-BE54-6D463ECD2610}" dt="2023-04-16T09:51:27.302" v="2744" actId="478"/>
          <ac:picMkLst>
            <pc:docMk/>
            <pc:sldMk cId="985217198" sldId="3603"/>
            <ac:picMk id="8" creationId="{CD2C4AC9-BBC6-BDC9-4E31-61BD19601D4F}"/>
          </ac:picMkLst>
        </pc:picChg>
        <pc:picChg chg="add del mod">
          <ac:chgData name="Scott Sink" userId="007532c1-63dd-4f29-9932-df3a9735f490" providerId="ADAL" clId="{9E3C8D41-9167-4835-BE54-6D463ECD2610}" dt="2023-04-16T09:51:28.582" v="2746" actId="478"/>
          <ac:picMkLst>
            <pc:docMk/>
            <pc:sldMk cId="985217198" sldId="3603"/>
            <ac:picMk id="10" creationId="{7C0FB243-5006-ABB8-DF8C-12D874BC486B}"/>
          </ac:picMkLst>
        </pc:picChg>
        <pc:picChg chg="add del mod">
          <ac:chgData name="Scott Sink" userId="007532c1-63dd-4f29-9932-df3a9735f490" providerId="ADAL" clId="{9E3C8D41-9167-4835-BE54-6D463ECD2610}" dt="2023-04-16T09:51:29.196" v="2747" actId="478"/>
          <ac:picMkLst>
            <pc:docMk/>
            <pc:sldMk cId="985217198" sldId="3603"/>
            <ac:picMk id="12" creationId="{BFD5A692-5DF4-0713-DE4F-1FE34437AA44}"/>
          </ac:picMkLst>
        </pc:picChg>
        <pc:picChg chg="add mod">
          <ac:chgData name="Scott Sink" userId="007532c1-63dd-4f29-9932-df3a9735f490" providerId="ADAL" clId="{9E3C8D41-9167-4835-BE54-6D463ECD2610}" dt="2023-04-16T10:22:30.825" v="3333" actId="1076"/>
          <ac:picMkLst>
            <pc:docMk/>
            <pc:sldMk cId="985217198" sldId="3603"/>
            <ac:picMk id="14" creationId="{41E9ABA5-744B-A398-1A9A-D02A0285D9FF}"/>
          </ac:picMkLst>
        </pc:picChg>
        <pc:picChg chg="add mod">
          <ac:chgData name="Scott Sink" userId="007532c1-63dd-4f29-9932-df3a9735f490" providerId="ADAL" clId="{9E3C8D41-9167-4835-BE54-6D463ECD2610}" dt="2023-04-16T10:22:38.066" v="3337" actId="1076"/>
          <ac:picMkLst>
            <pc:docMk/>
            <pc:sldMk cId="985217198" sldId="3603"/>
            <ac:picMk id="16" creationId="{13F67B5E-2B59-7B23-8B16-48AAF16CDC82}"/>
          </ac:picMkLst>
        </pc:picChg>
        <pc:picChg chg="add mod">
          <ac:chgData name="Scott Sink" userId="007532c1-63dd-4f29-9932-df3a9735f490" providerId="ADAL" clId="{9E3C8D41-9167-4835-BE54-6D463ECD2610}" dt="2023-04-16T10:22:36.476" v="3336" actId="1076"/>
          <ac:picMkLst>
            <pc:docMk/>
            <pc:sldMk cId="985217198" sldId="3603"/>
            <ac:picMk id="17" creationId="{6DC9C90C-4793-DA69-873D-31B92B933716}"/>
          </ac:picMkLst>
        </pc:picChg>
        <pc:picChg chg="add mod">
          <ac:chgData name="Scott Sink" userId="007532c1-63dd-4f29-9932-df3a9735f490" providerId="ADAL" clId="{9E3C8D41-9167-4835-BE54-6D463ECD2610}" dt="2023-04-16T10:22:42.720" v="3340" actId="1076"/>
          <ac:picMkLst>
            <pc:docMk/>
            <pc:sldMk cId="985217198" sldId="3603"/>
            <ac:picMk id="19" creationId="{32DCF1F1-6118-EF92-6A9A-94F7EA9170D5}"/>
          </ac:picMkLst>
        </pc:picChg>
        <pc:picChg chg="add mod">
          <ac:chgData name="Scott Sink" userId="007532c1-63dd-4f29-9932-df3a9735f490" providerId="ADAL" clId="{9E3C8D41-9167-4835-BE54-6D463ECD2610}" dt="2023-04-16T10:23:13.412" v="3372" actId="1076"/>
          <ac:picMkLst>
            <pc:docMk/>
            <pc:sldMk cId="985217198" sldId="3603"/>
            <ac:picMk id="21" creationId="{F0FEA507-2F90-51BF-03D2-888AABF4FC3B}"/>
          </ac:picMkLst>
        </pc:picChg>
        <pc:picChg chg="add mod">
          <ac:chgData name="Scott Sink" userId="007532c1-63dd-4f29-9932-df3a9735f490" providerId="ADAL" clId="{9E3C8D41-9167-4835-BE54-6D463ECD2610}" dt="2023-04-16T10:23:29.193" v="3374" actId="1076"/>
          <ac:picMkLst>
            <pc:docMk/>
            <pc:sldMk cId="985217198" sldId="3603"/>
            <ac:picMk id="22" creationId="{F470191B-F04A-24E4-6FA1-3738105BE287}"/>
          </ac:picMkLst>
        </pc:picChg>
      </pc:sldChg>
      <pc:sldChg chg="add del ord">
        <pc:chgData name="Scott Sink" userId="007532c1-63dd-4f29-9932-df3a9735f490" providerId="ADAL" clId="{9E3C8D41-9167-4835-BE54-6D463ECD2610}" dt="2023-04-17T11:23:05.931" v="4946"/>
        <pc:sldMkLst>
          <pc:docMk/>
          <pc:sldMk cId="3115082838" sldId="3612"/>
        </pc:sldMkLst>
      </pc:sldChg>
      <pc:sldChg chg="del">
        <pc:chgData name="Scott Sink" userId="007532c1-63dd-4f29-9932-df3a9735f490" providerId="ADAL" clId="{9E3C8D41-9167-4835-BE54-6D463ECD2610}" dt="2023-04-10T10:52:38.174" v="1098" actId="47"/>
        <pc:sldMkLst>
          <pc:docMk/>
          <pc:sldMk cId="3384557778" sldId="3613"/>
        </pc:sldMkLst>
      </pc:sldChg>
      <pc:sldChg chg="addSp modSp mod">
        <pc:chgData name="Scott Sink" userId="007532c1-63dd-4f29-9932-df3a9735f490" providerId="ADAL" clId="{9E3C8D41-9167-4835-BE54-6D463ECD2610}" dt="2023-04-16T09:43:38.627" v="2402" actId="20577"/>
        <pc:sldMkLst>
          <pc:docMk/>
          <pc:sldMk cId="46988055" sldId="3614"/>
        </pc:sldMkLst>
        <pc:spChg chg="mod">
          <ac:chgData name="Scott Sink" userId="007532c1-63dd-4f29-9932-df3a9735f490" providerId="ADAL" clId="{9E3C8D41-9167-4835-BE54-6D463ECD2610}" dt="2023-04-16T09:43:38.627" v="2402" actId="20577"/>
          <ac:spMkLst>
            <pc:docMk/>
            <pc:sldMk cId="46988055" sldId="3614"/>
            <ac:spMk id="2" creationId="{E1E0086A-5BF8-7173-D3A9-BF6931F43FA3}"/>
          </ac:spMkLst>
        </pc:spChg>
        <pc:picChg chg="add mod">
          <ac:chgData name="Scott Sink" userId="007532c1-63dd-4f29-9932-df3a9735f490" providerId="ADAL" clId="{9E3C8D41-9167-4835-BE54-6D463ECD2610}" dt="2023-04-10T10:51:48.105" v="1082" actId="1076"/>
          <ac:picMkLst>
            <pc:docMk/>
            <pc:sldMk cId="46988055" sldId="3614"/>
            <ac:picMk id="3" creationId="{C3B2E1ED-D114-2F5E-F569-E0C734195579}"/>
          </ac:picMkLst>
        </pc:picChg>
      </pc:sldChg>
      <pc:sldChg chg="del">
        <pc:chgData name="Scott Sink" userId="007532c1-63dd-4f29-9932-df3a9735f490" providerId="ADAL" clId="{9E3C8D41-9167-4835-BE54-6D463ECD2610}" dt="2023-04-10T11:22:31.726" v="2355" actId="47"/>
        <pc:sldMkLst>
          <pc:docMk/>
          <pc:sldMk cId="1014058352" sldId="3615"/>
        </pc:sldMkLst>
      </pc:sldChg>
      <pc:sldChg chg="del">
        <pc:chgData name="Scott Sink" userId="007532c1-63dd-4f29-9932-df3a9735f490" providerId="ADAL" clId="{9E3C8D41-9167-4835-BE54-6D463ECD2610}" dt="2023-04-10T11:22:38.287" v="2356" actId="47"/>
        <pc:sldMkLst>
          <pc:docMk/>
          <pc:sldMk cId="83943494" sldId="3616"/>
        </pc:sldMkLst>
      </pc:sldChg>
      <pc:sldChg chg="addSp delSp modSp add mod ord">
        <pc:chgData name="Scott Sink" userId="007532c1-63dd-4f29-9932-df3a9735f490" providerId="ADAL" clId="{9E3C8D41-9167-4835-BE54-6D463ECD2610}" dt="2023-04-10T10:48:39.674" v="929" actId="14100"/>
        <pc:sldMkLst>
          <pc:docMk/>
          <pc:sldMk cId="3858186052" sldId="3617"/>
        </pc:sldMkLst>
        <pc:spChg chg="mod">
          <ac:chgData name="Scott Sink" userId="007532c1-63dd-4f29-9932-df3a9735f490" providerId="ADAL" clId="{9E3C8D41-9167-4835-BE54-6D463ECD2610}" dt="2023-04-10T10:48:00.236" v="924" actId="1076"/>
          <ac:spMkLst>
            <pc:docMk/>
            <pc:sldMk cId="3858186052" sldId="3617"/>
            <ac:spMk id="3" creationId="{5CB5E778-EB37-08BC-8A65-E0A5BEF24F5F}"/>
          </ac:spMkLst>
        </pc:spChg>
        <pc:spChg chg="mod">
          <ac:chgData name="Scott Sink" userId="007532c1-63dd-4f29-9932-df3a9735f490" providerId="ADAL" clId="{9E3C8D41-9167-4835-BE54-6D463ECD2610}" dt="2023-04-10T10:39:51.553" v="282" actId="1076"/>
          <ac:spMkLst>
            <pc:docMk/>
            <pc:sldMk cId="3858186052" sldId="3617"/>
            <ac:spMk id="6" creationId="{C5018F96-B3E6-1C7C-503A-A6964F5B4827}"/>
          </ac:spMkLst>
        </pc:spChg>
        <pc:spChg chg="del mod">
          <ac:chgData name="Scott Sink" userId="007532c1-63dd-4f29-9932-df3a9735f490" providerId="ADAL" clId="{9E3C8D41-9167-4835-BE54-6D463ECD2610}" dt="2023-04-10T10:33:59.976" v="112" actId="478"/>
          <ac:spMkLst>
            <pc:docMk/>
            <pc:sldMk cId="3858186052" sldId="3617"/>
            <ac:spMk id="8" creationId="{834A3D95-AABF-15B2-B130-31997D858343}"/>
          </ac:spMkLst>
        </pc:spChg>
        <pc:spChg chg="del mod">
          <ac:chgData name="Scott Sink" userId="007532c1-63dd-4f29-9932-df3a9735f490" providerId="ADAL" clId="{9E3C8D41-9167-4835-BE54-6D463ECD2610}" dt="2023-04-10T10:33:56.130" v="110" actId="478"/>
          <ac:spMkLst>
            <pc:docMk/>
            <pc:sldMk cId="3858186052" sldId="3617"/>
            <ac:spMk id="9" creationId="{234F1F37-5877-D412-832C-5AB78F1305C6}"/>
          </ac:spMkLst>
        </pc:spChg>
        <pc:spChg chg="mod">
          <ac:chgData name="Scott Sink" userId="007532c1-63dd-4f29-9932-df3a9735f490" providerId="ADAL" clId="{9E3C8D41-9167-4835-BE54-6D463ECD2610}" dt="2023-04-10T10:32:42.926" v="73" actId="20577"/>
          <ac:spMkLst>
            <pc:docMk/>
            <pc:sldMk cId="3858186052" sldId="3617"/>
            <ac:spMk id="10" creationId="{B47D77AC-10E5-F7CA-1821-CA4162CCE788}"/>
          </ac:spMkLst>
        </pc:spChg>
        <pc:spChg chg="add del mod">
          <ac:chgData name="Scott Sink" userId="007532c1-63dd-4f29-9932-df3a9735f490" providerId="ADAL" clId="{9E3C8D41-9167-4835-BE54-6D463ECD2610}" dt="2023-04-10T10:37:26.361" v="180"/>
          <ac:spMkLst>
            <pc:docMk/>
            <pc:sldMk cId="3858186052" sldId="3617"/>
            <ac:spMk id="13" creationId="{AB83E98B-72ED-CD8E-8CE8-4FFCFAE0AD6F}"/>
          </ac:spMkLst>
        </pc:spChg>
        <pc:spChg chg="add del mod">
          <ac:chgData name="Scott Sink" userId="007532c1-63dd-4f29-9932-df3a9735f490" providerId="ADAL" clId="{9E3C8D41-9167-4835-BE54-6D463ECD2610}" dt="2023-04-10T10:37:26.376" v="182"/>
          <ac:spMkLst>
            <pc:docMk/>
            <pc:sldMk cId="3858186052" sldId="3617"/>
            <ac:spMk id="14" creationId="{C2F3824B-B2AF-E9A4-B753-0F0868E3495D}"/>
          </ac:spMkLst>
        </pc:spChg>
        <pc:spChg chg="add del mod">
          <ac:chgData name="Scott Sink" userId="007532c1-63dd-4f29-9932-df3a9735f490" providerId="ADAL" clId="{9E3C8D41-9167-4835-BE54-6D463ECD2610}" dt="2023-04-10T10:37:26.376" v="184"/>
          <ac:spMkLst>
            <pc:docMk/>
            <pc:sldMk cId="3858186052" sldId="3617"/>
            <ac:spMk id="18" creationId="{5FD14AED-A4E9-359E-A7CA-5C6445C46D4F}"/>
          </ac:spMkLst>
        </pc:spChg>
        <pc:spChg chg="add mod">
          <ac:chgData name="Scott Sink" userId="007532c1-63dd-4f29-9932-df3a9735f490" providerId="ADAL" clId="{9E3C8D41-9167-4835-BE54-6D463ECD2610}" dt="2023-04-10T10:39:25.042" v="275" actId="1076"/>
          <ac:spMkLst>
            <pc:docMk/>
            <pc:sldMk cId="3858186052" sldId="3617"/>
            <ac:spMk id="19" creationId="{56B87C1C-A03F-D739-5E61-58304DA481D8}"/>
          </ac:spMkLst>
        </pc:spChg>
        <pc:spChg chg="mod">
          <ac:chgData name="Scott Sink" userId="007532c1-63dd-4f29-9932-df3a9735f490" providerId="ADAL" clId="{9E3C8D41-9167-4835-BE54-6D463ECD2610}" dt="2023-04-10T10:33:49.426" v="108" actId="20577"/>
          <ac:spMkLst>
            <pc:docMk/>
            <pc:sldMk cId="3858186052" sldId="3617"/>
            <ac:spMk id="22" creationId="{693B6C1D-D021-4EC9-AC66-7E12E6EAE67F}"/>
          </ac:spMkLst>
        </pc:spChg>
        <pc:spChg chg="add mod">
          <ac:chgData name="Scott Sink" userId="007532c1-63dd-4f29-9932-df3a9735f490" providerId="ADAL" clId="{9E3C8D41-9167-4835-BE54-6D463ECD2610}" dt="2023-04-10T10:39:44.259" v="280" actId="1076"/>
          <ac:spMkLst>
            <pc:docMk/>
            <pc:sldMk cId="3858186052" sldId="3617"/>
            <ac:spMk id="23" creationId="{4EA0D366-CE29-FBA8-36F6-A526371ECC4E}"/>
          </ac:spMkLst>
        </pc:spChg>
        <pc:spChg chg="mod">
          <ac:chgData name="Scott Sink" userId="007532c1-63dd-4f29-9932-df3a9735f490" providerId="ADAL" clId="{9E3C8D41-9167-4835-BE54-6D463ECD2610}" dt="2023-04-10T10:33:33.798" v="91" actId="404"/>
          <ac:spMkLst>
            <pc:docMk/>
            <pc:sldMk cId="3858186052" sldId="3617"/>
            <ac:spMk id="28" creationId="{BA4CEFC9-7EA0-4E3D-8519-C99F7A7D0F70}"/>
          </ac:spMkLst>
        </pc:spChg>
        <pc:picChg chg="add mod">
          <ac:chgData name="Scott Sink" userId="007532c1-63dd-4f29-9932-df3a9735f490" providerId="ADAL" clId="{9E3C8D41-9167-4835-BE54-6D463ECD2610}" dt="2023-04-10T10:34:12.029" v="115" actId="1076"/>
          <ac:picMkLst>
            <pc:docMk/>
            <pc:sldMk cId="3858186052" sldId="3617"/>
            <ac:picMk id="4" creationId="{3278AFBD-8904-291A-2A95-535DC0C61C7F}"/>
          </ac:picMkLst>
        </pc:picChg>
        <pc:picChg chg="del">
          <ac:chgData name="Scott Sink" userId="007532c1-63dd-4f29-9932-df3a9735f490" providerId="ADAL" clId="{9E3C8D41-9167-4835-BE54-6D463ECD2610}" dt="2023-04-10T10:33:26.052" v="88" actId="478"/>
          <ac:picMkLst>
            <pc:docMk/>
            <pc:sldMk cId="3858186052" sldId="3617"/>
            <ac:picMk id="11" creationId="{0FFEA317-821E-2DC8-BCFC-C211A9134060}"/>
          </ac:picMkLst>
        </pc:picChg>
        <pc:picChg chg="add mod">
          <ac:chgData name="Scott Sink" userId="007532c1-63dd-4f29-9932-df3a9735f490" providerId="ADAL" clId="{9E3C8D41-9167-4835-BE54-6D463ECD2610}" dt="2023-04-10T10:39:26.742" v="276" actId="1076"/>
          <ac:picMkLst>
            <pc:docMk/>
            <pc:sldMk cId="3858186052" sldId="3617"/>
            <ac:picMk id="12" creationId="{521E15FE-920F-415A-3FC3-E38436698BAB}"/>
          </ac:picMkLst>
        </pc:picChg>
        <pc:picChg chg="del">
          <ac:chgData name="Scott Sink" userId="007532c1-63dd-4f29-9932-df3a9735f490" providerId="ADAL" clId="{9E3C8D41-9167-4835-BE54-6D463ECD2610}" dt="2023-04-10T10:48:11.074" v="926" actId="478"/>
          <ac:picMkLst>
            <pc:docMk/>
            <pc:sldMk cId="3858186052" sldId="3617"/>
            <ac:picMk id="15" creationId="{ADC8ABD6-C976-6805-52C2-0F24B8251203}"/>
          </ac:picMkLst>
        </pc:picChg>
        <pc:picChg chg="del">
          <ac:chgData name="Scott Sink" userId="007532c1-63dd-4f29-9932-df3a9735f490" providerId="ADAL" clId="{9E3C8D41-9167-4835-BE54-6D463ECD2610}" dt="2023-04-10T10:32:52.509" v="74" actId="478"/>
          <ac:picMkLst>
            <pc:docMk/>
            <pc:sldMk cId="3858186052" sldId="3617"/>
            <ac:picMk id="17" creationId="{AA090982-7CCA-75C4-1C01-D70BCAC61367}"/>
          </ac:picMkLst>
        </pc:picChg>
        <pc:picChg chg="add mod">
          <ac:chgData name="Scott Sink" userId="007532c1-63dd-4f29-9932-df3a9735f490" providerId="ADAL" clId="{9E3C8D41-9167-4835-BE54-6D463ECD2610}" dt="2023-04-10T10:39:46.322" v="281" actId="1076"/>
          <ac:picMkLst>
            <pc:docMk/>
            <pc:sldMk cId="3858186052" sldId="3617"/>
            <ac:picMk id="21" creationId="{2D47B59B-5914-AD91-AD4B-1A595DEEE575}"/>
          </ac:picMkLst>
        </pc:picChg>
        <pc:picChg chg="add mod">
          <ac:chgData name="Scott Sink" userId="007532c1-63dd-4f29-9932-df3a9735f490" providerId="ADAL" clId="{9E3C8D41-9167-4835-BE54-6D463ECD2610}" dt="2023-04-10T10:48:39.674" v="929" actId="14100"/>
          <ac:picMkLst>
            <pc:docMk/>
            <pc:sldMk cId="3858186052" sldId="3617"/>
            <ac:picMk id="24" creationId="{A6A71D98-28D0-E3E9-275A-21B2E8EDB4D0}"/>
          </ac:picMkLst>
        </pc:picChg>
      </pc:sldChg>
      <pc:sldChg chg="addSp modSp add mod ord">
        <pc:chgData name="Scott Sink" userId="007532c1-63dd-4f29-9932-df3a9735f490" providerId="ADAL" clId="{9E3C8D41-9167-4835-BE54-6D463ECD2610}" dt="2023-04-18T10:13:49.133" v="7461" actId="20577"/>
        <pc:sldMkLst>
          <pc:docMk/>
          <pc:sldMk cId="3939640140" sldId="3618"/>
        </pc:sldMkLst>
        <pc:spChg chg="mod">
          <ac:chgData name="Scott Sink" userId="007532c1-63dd-4f29-9932-df3a9735f490" providerId="ADAL" clId="{9E3C8D41-9167-4835-BE54-6D463ECD2610}" dt="2023-04-18T10:13:49.133" v="7461" actId="20577"/>
          <ac:spMkLst>
            <pc:docMk/>
            <pc:sldMk cId="3939640140" sldId="3618"/>
            <ac:spMk id="3" creationId="{A5A8E09D-F143-AC8C-4127-0ABEDD96C64B}"/>
          </ac:spMkLst>
        </pc:spChg>
        <pc:spChg chg="add mod">
          <ac:chgData name="Scott Sink" userId="007532c1-63dd-4f29-9932-df3a9735f490" providerId="ADAL" clId="{9E3C8D41-9167-4835-BE54-6D463ECD2610}" dt="2023-04-18T05:22:46.369" v="7086" actId="1076"/>
          <ac:spMkLst>
            <pc:docMk/>
            <pc:sldMk cId="3939640140" sldId="3618"/>
            <ac:spMk id="5" creationId="{BD119F5D-19E2-ECEF-100F-32C90BA4E4C8}"/>
          </ac:spMkLst>
        </pc:spChg>
        <pc:spChg chg="add mod">
          <ac:chgData name="Scott Sink" userId="007532c1-63dd-4f29-9932-df3a9735f490" providerId="ADAL" clId="{9E3C8D41-9167-4835-BE54-6D463ECD2610}" dt="2023-04-18T05:22:42.099" v="7085" actId="14100"/>
          <ac:spMkLst>
            <pc:docMk/>
            <pc:sldMk cId="3939640140" sldId="3618"/>
            <ac:spMk id="6" creationId="{A568D454-ADD5-6F63-CA8A-7EE4FE147F51}"/>
          </ac:spMkLst>
        </pc:spChg>
      </pc:sldChg>
      <pc:sldChg chg="addSp delSp modSp add del mod ord">
        <pc:chgData name="Scott Sink" userId="007532c1-63dd-4f29-9932-df3a9735f490" providerId="ADAL" clId="{9E3C8D41-9167-4835-BE54-6D463ECD2610}" dt="2023-04-18T10:14:43.630" v="7471" actId="47"/>
        <pc:sldMkLst>
          <pc:docMk/>
          <pc:sldMk cId="49472227" sldId="3619"/>
        </pc:sldMkLst>
        <pc:spChg chg="mod">
          <ac:chgData name="Scott Sink" userId="007532c1-63dd-4f29-9932-df3a9735f490" providerId="ADAL" clId="{9E3C8D41-9167-4835-BE54-6D463ECD2610}" dt="2023-04-16T10:12:17.682" v="3248" actId="27636"/>
          <ac:spMkLst>
            <pc:docMk/>
            <pc:sldMk cId="49472227" sldId="3619"/>
            <ac:spMk id="3" creationId="{A5A8E09D-F143-AC8C-4127-0ABEDD96C64B}"/>
          </ac:spMkLst>
        </pc:spChg>
        <pc:spChg chg="del mod">
          <ac:chgData name="Scott Sink" userId="007532c1-63dd-4f29-9932-df3a9735f490" providerId="ADAL" clId="{9E3C8D41-9167-4835-BE54-6D463ECD2610}" dt="2023-04-17T11:12:41.511" v="4804" actId="478"/>
          <ac:spMkLst>
            <pc:docMk/>
            <pc:sldMk cId="49472227" sldId="3619"/>
            <ac:spMk id="5" creationId="{BD119F5D-19E2-ECEF-100F-32C90BA4E4C8}"/>
          </ac:spMkLst>
        </pc:spChg>
        <pc:spChg chg="add mod">
          <ac:chgData name="Scott Sink" userId="007532c1-63dd-4f29-9932-df3a9735f490" providerId="ADAL" clId="{9E3C8D41-9167-4835-BE54-6D463ECD2610}" dt="2023-04-16T10:12:23.092" v="3249" actId="1076"/>
          <ac:spMkLst>
            <pc:docMk/>
            <pc:sldMk cId="49472227" sldId="3619"/>
            <ac:spMk id="6" creationId="{F5FA34A8-ECC0-FEC2-79F6-0A4B213195AE}"/>
          </ac:spMkLst>
        </pc:spChg>
        <pc:spChg chg="add del mod">
          <ac:chgData name="Scott Sink" userId="007532c1-63dd-4f29-9932-df3a9735f490" providerId="ADAL" clId="{9E3C8D41-9167-4835-BE54-6D463ECD2610}" dt="2023-04-18T10:14:19.807" v="7465" actId="21"/>
          <ac:spMkLst>
            <pc:docMk/>
            <pc:sldMk cId="49472227" sldId="3619"/>
            <ac:spMk id="7" creationId="{6B833083-2031-977C-27B6-709DE4177A2A}"/>
          </ac:spMkLst>
        </pc:spChg>
      </pc:sldChg>
      <pc:sldChg chg="modSp add del mod ord">
        <pc:chgData name="Scott Sink" userId="007532c1-63dd-4f29-9932-df3a9735f490" providerId="ADAL" clId="{9E3C8D41-9167-4835-BE54-6D463ECD2610}" dt="2023-04-16T10:28:04.947" v="3413" actId="47"/>
        <pc:sldMkLst>
          <pc:docMk/>
          <pc:sldMk cId="72651237" sldId="3620"/>
        </pc:sldMkLst>
        <pc:spChg chg="mod">
          <ac:chgData name="Scott Sink" userId="007532c1-63dd-4f29-9932-df3a9735f490" providerId="ADAL" clId="{9E3C8D41-9167-4835-BE54-6D463ECD2610}" dt="2023-04-16T10:27:54.293" v="3409" actId="1076"/>
          <ac:spMkLst>
            <pc:docMk/>
            <pc:sldMk cId="72651237" sldId="3620"/>
            <ac:spMk id="6" creationId="{F5FA34A8-ECC0-FEC2-79F6-0A4B213195AE}"/>
          </ac:spMkLst>
        </pc:spChg>
      </pc:sldChg>
      <pc:sldChg chg="modSp add del mod">
        <pc:chgData name="Scott Sink" userId="007532c1-63dd-4f29-9932-df3a9735f490" providerId="ADAL" clId="{9E3C8D41-9167-4835-BE54-6D463ECD2610}" dt="2023-04-16T10:28:29.379" v="3418" actId="47"/>
        <pc:sldMkLst>
          <pc:docMk/>
          <pc:sldMk cId="1886648351" sldId="3621"/>
        </pc:sldMkLst>
        <pc:spChg chg="mod">
          <ac:chgData name="Scott Sink" userId="007532c1-63dd-4f29-9932-df3a9735f490" providerId="ADAL" clId="{9E3C8D41-9167-4835-BE54-6D463ECD2610}" dt="2023-04-10T10:54:33.240" v="1140" actId="14100"/>
          <ac:spMkLst>
            <pc:docMk/>
            <pc:sldMk cId="1886648351" sldId="3621"/>
            <ac:spMk id="6" creationId="{F5FA34A8-ECC0-FEC2-79F6-0A4B213195AE}"/>
          </ac:spMkLst>
        </pc:spChg>
      </pc:sldChg>
      <pc:sldChg chg="modSp new mod">
        <pc:chgData name="Scott Sink" userId="007532c1-63dd-4f29-9932-df3a9735f490" providerId="ADAL" clId="{9E3C8D41-9167-4835-BE54-6D463ECD2610}" dt="2023-04-17T11:08:14.231" v="4797" actId="1076"/>
        <pc:sldMkLst>
          <pc:docMk/>
          <pc:sldMk cId="3121620661" sldId="3622"/>
        </pc:sldMkLst>
        <pc:spChg chg="mod">
          <ac:chgData name="Scott Sink" userId="007532c1-63dd-4f29-9932-df3a9735f490" providerId="ADAL" clId="{9E3C8D41-9167-4835-BE54-6D463ECD2610}" dt="2023-04-10T11:02:36.026" v="1146" actId="20577"/>
          <ac:spMkLst>
            <pc:docMk/>
            <pc:sldMk cId="3121620661" sldId="3622"/>
            <ac:spMk id="2" creationId="{F57C5E07-DB5B-55F2-6F01-6B61AC3D8F04}"/>
          </ac:spMkLst>
        </pc:spChg>
        <pc:spChg chg="mod">
          <ac:chgData name="Scott Sink" userId="007532c1-63dd-4f29-9932-df3a9735f490" providerId="ADAL" clId="{9E3C8D41-9167-4835-BE54-6D463ECD2610}" dt="2023-04-17T11:08:14.231" v="4797" actId="1076"/>
          <ac:spMkLst>
            <pc:docMk/>
            <pc:sldMk cId="3121620661" sldId="3622"/>
            <ac:spMk id="3" creationId="{D52268DB-61E4-27E1-5D29-0E7DE9B5711D}"/>
          </ac:spMkLst>
        </pc:spChg>
      </pc:sldChg>
      <pc:sldChg chg="addSp delSp modSp add mod">
        <pc:chgData name="Scott Sink" userId="007532c1-63dd-4f29-9932-df3a9735f490" providerId="ADAL" clId="{9E3C8D41-9167-4835-BE54-6D463ECD2610}" dt="2023-04-16T09:46:03.561" v="2538" actId="20577"/>
        <pc:sldMkLst>
          <pc:docMk/>
          <pc:sldMk cId="4090951317" sldId="3623"/>
        </pc:sldMkLst>
        <pc:spChg chg="add mod">
          <ac:chgData name="Scott Sink" userId="007532c1-63dd-4f29-9932-df3a9735f490" providerId="ADAL" clId="{9E3C8D41-9167-4835-BE54-6D463ECD2610}" dt="2023-04-10T11:20:16.209" v="2334" actId="20577"/>
          <ac:spMkLst>
            <pc:docMk/>
            <pc:sldMk cId="4090951317" sldId="3623"/>
            <ac:spMk id="4" creationId="{0D0F99CD-3D99-4749-94B3-B98145487B15}"/>
          </ac:spMkLst>
        </pc:spChg>
        <pc:spChg chg="add mod">
          <ac:chgData name="Scott Sink" userId="007532c1-63dd-4f29-9932-df3a9735f490" providerId="ADAL" clId="{9E3C8D41-9167-4835-BE54-6D463ECD2610}" dt="2023-04-10T11:18:28.124" v="2196" actId="1076"/>
          <ac:spMkLst>
            <pc:docMk/>
            <pc:sldMk cId="4090951317" sldId="3623"/>
            <ac:spMk id="5" creationId="{C51DC1DE-FC17-A749-7651-89A402DA5B82}"/>
          </ac:spMkLst>
        </pc:spChg>
        <pc:spChg chg="add mod">
          <ac:chgData name="Scott Sink" userId="007532c1-63dd-4f29-9932-df3a9735f490" providerId="ADAL" clId="{9E3C8D41-9167-4835-BE54-6D463ECD2610}" dt="2023-04-10T11:20:44.499" v="2335" actId="20577"/>
          <ac:spMkLst>
            <pc:docMk/>
            <pc:sldMk cId="4090951317" sldId="3623"/>
            <ac:spMk id="6" creationId="{3632891E-1371-F5A1-C86E-DCB7FAFA8828}"/>
          </ac:spMkLst>
        </pc:spChg>
        <pc:spChg chg="add mod">
          <ac:chgData name="Scott Sink" userId="007532c1-63dd-4f29-9932-df3a9735f490" providerId="ADAL" clId="{9E3C8D41-9167-4835-BE54-6D463ECD2610}" dt="2023-04-16T09:45:18.677" v="2482" actId="1076"/>
          <ac:spMkLst>
            <pc:docMk/>
            <pc:sldMk cId="4090951317" sldId="3623"/>
            <ac:spMk id="7" creationId="{8B3DE0C7-BB83-8552-004A-8CF8FA1ABF94}"/>
          </ac:spMkLst>
        </pc:spChg>
        <pc:spChg chg="add mod">
          <ac:chgData name="Scott Sink" userId="007532c1-63dd-4f29-9932-df3a9735f490" providerId="ADAL" clId="{9E3C8D41-9167-4835-BE54-6D463ECD2610}" dt="2023-04-16T09:45:14.760" v="2481" actId="1076"/>
          <ac:spMkLst>
            <pc:docMk/>
            <pc:sldMk cId="4090951317" sldId="3623"/>
            <ac:spMk id="8" creationId="{6F8BFE50-6F1C-1975-7CB5-07549C90B25D}"/>
          </ac:spMkLst>
        </pc:spChg>
        <pc:spChg chg="add mod">
          <ac:chgData name="Scott Sink" userId="007532c1-63dd-4f29-9932-df3a9735f490" providerId="ADAL" clId="{9E3C8D41-9167-4835-BE54-6D463ECD2610}" dt="2023-04-10T11:21:32.876" v="2353" actId="20577"/>
          <ac:spMkLst>
            <pc:docMk/>
            <pc:sldMk cId="4090951317" sldId="3623"/>
            <ac:spMk id="9" creationId="{E6914DFD-8064-1084-C3F5-A54F23444D59}"/>
          </ac:spMkLst>
        </pc:spChg>
        <pc:spChg chg="add mod">
          <ac:chgData name="Scott Sink" userId="007532c1-63dd-4f29-9932-df3a9735f490" providerId="ADAL" clId="{9E3C8D41-9167-4835-BE54-6D463ECD2610}" dt="2023-04-10T11:19:44.175" v="2321" actId="20577"/>
          <ac:spMkLst>
            <pc:docMk/>
            <pc:sldMk cId="4090951317" sldId="3623"/>
            <ac:spMk id="10" creationId="{340B5619-6CC6-F9EB-4D74-E673FA653768}"/>
          </ac:spMkLst>
        </pc:spChg>
        <pc:spChg chg="add mod">
          <ac:chgData name="Scott Sink" userId="007532c1-63dd-4f29-9932-df3a9735f490" providerId="ADAL" clId="{9E3C8D41-9167-4835-BE54-6D463ECD2610}" dt="2023-04-16T09:46:03.561" v="2538" actId="20577"/>
          <ac:spMkLst>
            <pc:docMk/>
            <pc:sldMk cId="4090951317" sldId="3623"/>
            <ac:spMk id="11" creationId="{8AC13123-CCA6-C213-A214-620B0BA47248}"/>
          </ac:spMkLst>
        </pc:spChg>
        <pc:spChg chg="del">
          <ac:chgData name="Scott Sink" userId="007532c1-63dd-4f29-9932-df3a9735f490" providerId="ADAL" clId="{9E3C8D41-9167-4835-BE54-6D463ECD2610}" dt="2023-04-10T11:08:50.531" v="1669" actId="478"/>
          <ac:spMkLst>
            <pc:docMk/>
            <pc:sldMk cId="4090951317" sldId="3623"/>
            <ac:spMk id="27656" creationId="{4C18286E-B858-4AE7-A906-BC587D69642E}"/>
          </ac:spMkLst>
        </pc:spChg>
        <pc:spChg chg="del">
          <ac:chgData name="Scott Sink" userId="007532c1-63dd-4f29-9932-df3a9735f490" providerId="ADAL" clId="{9E3C8D41-9167-4835-BE54-6D463ECD2610}" dt="2023-04-10T11:08:45.980" v="1666" actId="478"/>
          <ac:spMkLst>
            <pc:docMk/>
            <pc:sldMk cId="4090951317" sldId="3623"/>
            <ac:spMk id="27657" creationId="{E34D7E2F-48D6-4733-91B0-3AE20A5B2206}"/>
          </ac:spMkLst>
        </pc:spChg>
        <pc:graphicFrameChg chg="del mod">
          <ac:chgData name="Scott Sink" userId="007532c1-63dd-4f29-9932-df3a9735f490" providerId="ADAL" clId="{9E3C8D41-9167-4835-BE54-6D463ECD2610}" dt="2023-04-10T11:08:48.103" v="1668" actId="478"/>
          <ac:graphicFrameMkLst>
            <pc:docMk/>
            <pc:sldMk cId="4090951317" sldId="3623"/>
            <ac:graphicFrameMk id="12" creationId="{D406EAE0-49B0-45EF-9BF0-6B5724EC0A6A}"/>
          </ac:graphicFrameMkLst>
        </pc:graphicFrameChg>
        <pc:picChg chg="del">
          <ac:chgData name="Scott Sink" userId="007532c1-63dd-4f29-9932-df3a9735f490" providerId="ADAL" clId="{9E3C8D41-9167-4835-BE54-6D463ECD2610}" dt="2023-04-10T11:08:43.567" v="1665" actId="478"/>
          <ac:picMkLst>
            <pc:docMk/>
            <pc:sldMk cId="4090951317" sldId="3623"/>
            <ac:picMk id="27654" creationId="{7E22E97A-B4B4-4968-B2C4-CC6952539C16}"/>
          </ac:picMkLst>
        </pc:picChg>
      </pc:sldChg>
      <pc:sldChg chg="addSp modSp add mod">
        <pc:chgData name="Scott Sink" userId="007532c1-63dd-4f29-9932-df3a9735f490" providerId="ADAL" clId="{9E3C8D41-9167-4835-BE54-6D463ECD2610}" dt="2023-04-16T10:21:45.675" v="3319" actId="20577"/>
        <pc:sldMkLst>
          <pc:docMk/>
          <pc:sldMk cId="1989919581" sldId="3624"/>
        </pc:sldMkLst>
        <pc:spChg chg="mod">
          <ac:chgData name="Scott Sink" userId="007532c1-63dd-4f29-9932-df3a9735f490" providerId="ADAL" clId="{9E3C8D41-9167-4835-BE54-6D463ECD2610}" dt="2023-04-16T10:21:45.675" v="3319" actId="20577"/>
          <ac:spMkLst>
            <pc:docMk/>
            <pc:sldMk cId="1989919581" sldId="3624"/>
            <ac:spMk id="4" creationId="{6DB03709-4D62-0C95-17C9-6EEC74CD24EE}"/>
          </ac:spMkLst>
        </pc:spChg>
        <pc:picChg chg="mod">
          <ac:chgData name="Scott Sink" userId="007532c1-63dd-4f29-9932-df3a9735f490" providerId="ADAL" clId="{9E3C8D41-9167-4835-BE54-6D463ECD2610}" dt="2023-04-16T10:18:18.090" v="3269" actId="1076"/>
          <ac:picMkLst>
            <pc:docMk/>
            <pc:sldMk cId="1989919581" sldId="3624"/>
            <ac:picMk id="6" creationId="{6F11B3E2-F3B2-9042-F2E4-6A6761867775}"/>
          </ac:picMkLst>
        </pc:picChg>
        <pc:picChg chg="add mod modCrop">
          <ac:chgData name="Scott Sink" userId="007532c1-63dd-4f29-9932-df3a9735f490" providerId="ADAL" clId="{9E3C8D41-9167-4835-BE54-6D463ECD2610}" dt="2023-04-16T10:18:10.960" v="3267" actId="1076"/>
          <ac:picMkLst>
            <pc:docMk/>
            <pc:sldMk cId="1989919581" sldId="3624"/>
            <ac:picMk id="7" creationId="{F57656F3-46A4-792F-4B06-6A2AF7CB9CD7}"/>
          </ac:picMkLst>
        </pc:picChg>
        <pc:picChg chg="mod">
          <ac:chgData name="Scott Sink" userId="007532c1-63dd-4f29-9932-df3a9735f490" providerId="ADAL" clId="{9E3C8D41-9167-4835-BE54-6D463ECD2610}" dt="2023-04-16T10:18:14.070" v="3268" actId="1076"/>
          <ac:picMkLst>
            <pc:docMk/>
            <pc:sldMk cId="1989919581" sldId="3624"/>
            <ac:picMk id="8" creationId="{CD2C4AC9-BBC6-BDC9-4E31-61BD19601D4F}"/>
          </ac:picMkLst>
        </pc:picChg>
        <pc:picChg chg="mod">
          <ac:chgData name="Scott Sink" userId="007532c1-63dd-4f29-9932-df3a9735f490" providerId="ADAL" clId="{9E3C8D41-9167-4835-BE54-6D463ECD2610}" dt="2023-04-16T10:19:10.904" v="3277" actId="1076"/>
          <ac:picMkLst>
            <pc:docMk/>
            <pc:sldMk cId="1989919581" sldId="3624"/>
            <ac:picMk id="10" creationId="{7C0FB243-5006-ABB8-DF8C-12D874BC486B}"/>
          </ac:picMkLst>
        </pc:picChg>
        <pc:picChg chg="add mod">
          <ac:chgData name="Scott Sink" userId="007532c1-63dd-4f29-9932-df3a9735f490" providerId="ADAL" clId="{9E3C8D41-9167-4835-BE54-6D463ECD2610}" dt="2023-04-16T10:19:02.926" v="3276" actId="1076"/>
          <ac:picMkLst>
            <pc:docMk/>
            <pc:sldMk cId="1989919581" sldId="3624"/>
            <ac:picMk id="11" creationId="{672CB1E1-8334-DDC9-E40A-004CDE1E9A75}"/>
          </ac:picMkLst>
        </pc:picChg>
        <pc:picChg chg="mod">
          <ac:chgData name="Scott Sink" userId="007532c1-63dd-4f29-9932-df3a9735f490" providerId="ADAL" clId="{9E3C8D41-9167-4835-BE54-6D463ECD2610}" dt="2023-04-16T10:20:05.005" v="3286" actId="1076"/>
          <ac:picMkLst>
            <pc:docMk/>
            <pc:sldMk cId="1989919581" sldId="3624"/>
            <ac:picMk id="12" creationId="{BFD5A692-5DF4-0713-DE4F-1FE34437AA44}"/>
          </ac:picMkLst>
        </pc:picChg>
        <pc:picChg chg="add mod modCrop">
          <ac:chgData name="Scott Sink" userId="007532c1-63dd-4f29-9932-df3a9735f490" providerId="ADAL" clId="{9E3C8D41-9167-4835-BE54-6D463ECD2610}" dt="2023-04-16T10:19:57.367" v="3285" actId="1076"/>
          <ac:picMkLst>
            <pc:docMk/>
            <pc:sldMk cId="1989919581" sldId="3624"/>
            <ac:picMk id="14" creationId="{EF8736A0-B65F-BA5E-637C-02B2640DC18B}"/>
          </ac:picMkLst>
        </pc:picChg>
        <pc:picChg chg="add mod">
          <ac:chgData name="Scott Sink" userId="007532c1-63dd-4f29-9932-df3a9735f490" providerId="ADAL" clId="{9E3C8D41-9167-4835-BE54-6D463ECD2610}" dt="2023-04-16T10:20:38.495" v="3293" actId="1076"/>
          <ac:picMkLst>
            <pc:docMk/>
            <pc:sldMk cId="1989919581" sldId="3624"/>
            <ac:picMk id="16" creationId="{FEB273B6-A634-C40F-A407-EE35ABB135EF}"/>
          </ac:picMkLst>
        </pc:picChg>
      </pc:sldChg>
      <pc:sldChg chg="modSp add del mod">
        <pc:chgData name="Scott Sink" userId="007532c1-63dd-4f29-9932-df3a9735f490" providerId="ADAL" clId="{9E3C8D41-9167-4835-BE54-6D463ECD2610}" dt="2023-04-16T10:09:18.178" v="3223" actId="47"/>
        <pc:sldMkLst>
          <pc:docMk/>
          <pc:sldMk cId="232223840" sldId="3625"/>
        </pc:sldMkLst>
        <pc:spChg chg="mod">
          <ac:chgData name="Scott Sink" userId="007532c1-63dd-4f29-9932-df3a9735f490" providerId="ADAL" clId="{9E3C8D41-9167-4835-BE54-6D463ECD2610}" dt="2023-04-16T10:06:50.004" v="3119" actId="1076"/>
          <ac:spMkLst>
            <pc:docMk/>
            <pc:sldMk cId="232223840" sldId="3625"/>
            <ac:spMk id="3" creationId="{6D76E1CA-0434-A800-0AC3-87790CA7F766}"/>
          </ac:spMkLst>
        </pc:spChg>
      </pc:sldChg>
      <pc:sldChg chg="addSp delSp modSp add mod">
        <pc:chgData name="Scott Sink" userId="007532c1-63dd-4f29-9932-df3a9735f490" providerId="ADAL" clId="{9E3C8D41-9167-4835-BE54-6D463ECD2610}" dt="2023-04-18T04:47:34.798" v="6670" actId="403"/>
        <pc:sldMkLst>
          <pc:docMk/>
          <pc:sldMk cId="1357997351" sldId="3626"/>
        </pc:sldMkLst>
        <pc:spChg chg="mod">
          <ac:chgData name="Scott Sink" userId="007532c1-63dd-4f29-9932-df3a9735f490" providerId="ADAL" clId="{9E3C8D41-9167-4835-BE54-6D463ECD2610}" dt="2023-04-17T11:14:15.317" v="4871" actId="1076"/>
          <ac:spMkLst>
            <pc:docMk/>
            <pc:sldMk cId="1357997351" sldId="3626"/>
            <ac:spMk id="2" creationId="{632B48E4-BBAE-520C-32C1-3FDA85F868A1}"/>
          </ac:spMkLst>
        </pc:spChg>
        <pc:spChg chg="add mod">
          <ac:chgData name="Scott Sink" userId="007532c1-63dd-4f29-9932-df3a9735f490" providerId="ADAL" clId="{9E3C8D41-9167-4835-BE54-6D463ECD2610}" dt="2023-04-18T04:47:34.798" v="6670" actId="403"/>
          <ac:spMkLst>
            <pc:docMk/>
            <pc:sldMk cId="1357997351" sldId="3626"/>
            <ac:spMk id="5" creationId="{D018112C-FC75-CAE0-AC7C-0E6218148891}"/>
          </ac:spMkLst>
        </pc:spChg>
        <pc:spChg chg="mod">
          <ac:chgData name="Scott Sink" userId="007532c1-63dd-4f29-9932-df3a9735f490" providerId="ADAL" clId="{9E3C8D41-9167-4835-BE54-6D463ECD2610}" dt="2023-04-18T04:46:35.226" v="6577" actId="1076"/>
          <ac:spMkLst>
            <pc:docMk/>
            <pc:sldMk cId="1357997351" sldId="3626"/>
            <ac:spMk id="11" creationId="{4CE7A314-EA89-FE08-FFF0-E0F74CBDC1E7}"/>
          </ac:spMkLst>
        </pc:spChg>
        <pc:picChg chg="add mod">
          <ac:chgData name="Scott Sink" userId="007532c1-63dd-4f29-9932-df3a9735f490" providerId="ADAL" clId="{9E3C8D41-9167-4835-BE54-6D463ECD2610}" dt="2023-04-16T10:07:49.310" v="3137" actId="1076"/>
          <ac:picMkLst>
            <pc:docMk/>
            <pc:sldMk cId="1357997351" sldId="3626"/>
            <ac:picMk id="3" creationId="{348DB231-230E-B6B6-37E7-BE0AB5898CCE}"/>
          </ac:picMkLst>
        </pc:picChg>
        <pc:picChg chg="add del mod">
          <ac:chgData name="Scott Sink" userId="007532c1-63dd-4f29-9932-df3a9735f490" providerId="ADAL" clId="{9E3C8D41-9167-4835-BE54-6D463ECD2610}" dt="2023-04-17T11:16:57.714" v="4889" actId="478"/>
          <ac:picMkLst>
            <pc:docMk/>
            <pc:sldMk cId="1357997351" sldId="3626"/>
            <ac:picMk id="6" creationId="{12896BA2-8799-2B89-BFD1-038B186F1912}"/>
          </ac:picMkLst>
        </pc:picChg>
        <pc:picChg chg="add del mod">
          <ac:chgData name="Scott Sink" userId="007532c1-63dd-4f29-9932-df3a9735f490" providerId="ADAL" clId="{9E3C8D41-9167-4835-BE54-6D463ECD2610}" dt="2023-04-17T11:20:27.691" v="4931" actId="478"/>
          <ac:picMkLst>
            <pc:docMk/>
            <pc:sldMk cId="1357997351" sldId="3626"/>
            <ac:picMk id="8" creationId="{DA03CDA4-3B12-141C-E704-923B5E53A594}"/>
          </ac:picMkLst>
        </pc:picChg>
      </pc:sldChg>
      <pc:sldChg chg="add">
        <pc:chgData name="Scott Sink" userId="007532c1-63dd-4f29-9932-df3a9735f490" providerId="ADAL" clId="{9E3C8D41-9167-4835-BE54-6D463ECD2610}" dt="2023-04-16T09:53:41.562" v="2867"/>
        <pc:sldMkLst>
          <pc:docMk/>
          <pc:sldMk cId="3912324480" sldId="3627"/>
        </pc:sldMkLst>
      </pc:sldChg>
      <pc:sldChg chg="add">
        <pc:chgData name="Scott Sink" userId="007532c1-63dd-4f29-9932-df3a9735f490" providerId="ADAL" clId="{9E3C8D41-9167-4835-BE54-6D463ECD2610}" dt="2023-04-16T09:53:47.127" v="2869"/>
        <pc:sldMkLst>
          <pc:docMk/>
          <pc:sldMk cId="1123099622" sldId="3628"/>
        </pc:sldMkLst>
      </pc:sldChg>
      <pc:sldChg chg="add">
        <pc:chgData name="Scott Sink" userId="007532c1-63dd-4f29-9932-df3a9735f490" providerId="ADAL" clId="{9E3C8D41-9167-4835-BE54-6D463ECD2610}" dt="2023-04-16T09:53:52.293" v="2871"/>
        <pc:sldMkLst>
          <pc:docMk/>
          <pc:sldMk cId="168551946" sldId="3629"/>
        </pc:sldMkLst>
      </pc:sldChg>
      <pc:sldChg chg="add">
        <pc:chgData name="Scott Sink" userId="007532c1-63dd-4f29-9932-df3a9735f490" providerId="ADAL" clId="{9E3C8D41-9167-4835-BE54-6D463ECD2610}" dt="2023-04-16T09:53:56.127" v="2873"/>
        <pc:sldMkLst>
          <pc:docMk/>
          <pc:sldMk cId="2387595628" sldId="3630"/>
        </pc:sldMkLst>
      </pc:sldChg>
      <pc:sldChg chg="addSp delSp modSp new mod ord">
        <pc:chgData name="Scott Sink" userId="007532c1-63dd-4f29-9932-df3a9735f490" providerId="ADAL" clId="{9E3C8D41-9167-4835-BE54-6D463ECD2610}" dt="2023-04-17T11:21:12.515" v="4941"/>
        <pc:sldMkLst>
          <pc:docMk/>
          <pc:sldMk cId="628219299" sldId="3631"/>
        </pc:sldMkLst>
        <pc:spChg chg="mod">
          <ac:chgData name="Scott Sink" userId="007532c1-63dd-4f29-9932-df3a9735f490" providerId="ADAL" clId="{9E3C8D41-9167-4835-BE54-6D463ECD2610}" dt="2023-04-16T10:02:51.926" v="3032" actId="20577"/>
          <ac:spMkLst>
            <pc:docMk/>
            <pc:sldMk cId="628219299" sldId="3631"/>
            <ac:spMk id="2" creationId="{306AEBD1-4C47-9A3E-7054-388EAA7773C5}"/>
          </ac:spMkLst>
        </pc:spChg>
        <pc:spChg chg="del">
          <ac:chgData name="Scott Sink" userId="007532c1-63dd-4f29-9932-df3a9735f490" providerId="ADAL" clId="{9E3C8D41-9167-4835-BE54-6D463ECD2610}" dt="2023-04-16T10:01:32.453" v="2878" actId="931"/>
          <ac:spMkLst>
            <pc:docMk/>
            <pc:sldMk cId="628219299" sldId="3631"/>
            <ac:spMk id="3" creationId="{528AF6A8-7E95-FF07-A416-658DDF61A4A8}"/>
          </ac:spMkLst>
        </pc:spChg>
        <pc:picChg chg="add mod">
          <ac:chgData name="Scott Sink" userId="007532c1-63dd-4f29-9932-df3a9735f490" providerId="ADAL" clId="{9E3C8D41-9167-4835-BE54-6D463ECD2610}" dt="2023-04-16T10:01:38.893" v="2883" actId="1076"/>
          <ac:picMkLst>
            <pc:docMk/>
            <pc:sldMk cId="628219299" sldId="3631"/>
            <ac:picMk id="6" creationId="{5A62B356-8005-D495-27D3-820261C5A2DD}"/>
          </ac:picMkLst>
        </pc:picChg>
      </pc:sldChg>
      <pc:sldChg chg="add del">
        <pc:chgData name="Scott Sink" userId="007532c1-63dd-4f29-9932-df3a9735f490" providerId="ADAL" clId="{9E3C8D41-9167-4835-BE54-6D463ECD2610}" dt="2023-04-16T09:54:07.966" v="2876" actId="47"/>
        <pc:sldMkLst>
          <pc:docMk/>
          <pc:sldMk cId="1897555989" sldId="3631"/>
        </pc:sldMkLst>
      </pc:sldChg>
      <pc:sldChg chg="addSp delSp modSp new mod">
        <pc:chgData name="Scott Sink" userId="007532c1-63dd-4f29-9932-df3a9735f490" providerId="ADAL" clId="{9E3C8D41-9167-4835-BE54-6D463ECD2610}" dt="2023-04-16T10:06:04.955" v="3117" actId="1076"/>
        <pc:sldMkLst>
          <pc:docMk/>
          <pc:sldMk cId="1814918814" sldId="3632"/>
        </pc:sldMkLst>
        <pc:spChg chg="mod">
          <ac:chgData name="Scott Sink" userId="007532c1-63dd-4f29-9932-df3a9735f490" providerId="ADAL" clId="{9E3C8D41-9167-4835-BE54-6D463ECD2610}" dt="2023-04-16T10:05:56.567" v="3116" actId="1076"/>
          <ac:spMkLst>
            <pc:docMk/>
            <pc:sldMk cId="1814918814" sldId="3632"/>
            <ac:spMk id="2" creationId="{43472B78-63B9-F16F-5B65-F69F221DC4D9}"/>
          </ac:spMkLst>
        </pc:spChg>
        <pc:spChg chg="del">
          <ac:chgData name="Scott Sink" userId="007532c1-63dd-4f29-9932-df3a9735f490" providerId="ADAL" clId="{9E3C8D41-9167-4835-BE54-6D463ECD2610}" dt="2023-04-16T10:04:45.700" v="3035" actId="931"/>
          <ac:spMkLst>
            <pc:docMk/>
            <pc:sldMk cId="1814918814" sldId="3632"/>
            <ac:spMk id="3" creationId="{0E8D0C03-E830-4DB3-F364-33E30354CABA}"/>
          </ac:spMkLst>
        </pc:spChg>
        <pc:spChg chg="mod">
          <ac:chgData name="Scott Sink" userId="007532c1-63dd-4f29-9932-df3a9735f490" providerId="ADAL" clId="{9E3C8D41-9167-4835-BE54-6D463ECD2610}" dt="2023-04-16T10:06:04.955" v="3117" actId="1076"/>
          <ac:spMkLst>
            <pc:docMk/>
            <pc:sldMk cId="1814918814" sldId="3632"/>
            <ac:spMk id="4" creationId="{0DE62838-40FF-5002-0FAA-75150849EDCA}"/>
          </ac:spMkLst>
        </pc:spChg>
        <pc:picChg chg="add mod">
          <ac:chgData name="Scott Sink" userId="007532c1-63dd-4f29-9932-df3a9735f490" providerId="ADAL" clId="{9E3C8D41-9167-4835-BE54-6D463ECD2610}" dt="2023-04-16T10:05:12.343" v="3047" actId="14100"/>
          <ac:picMkLst>
            <pc:docMk/>
            <pc:sldMk cId="1814918814" sldId="3632"/>
            <ac:picMk id="6" creationId="{00EED362-132B-7956-0C8F-5B859E113A43}"/>
          </ac:picMkLst>
        </pc:picChg>
      </pc:sldChg>
      <pc:sldChg chg="add del ord">
        <pc:chgData name="Scott Sink" userId="007532c1-63dd-4f29-9932-df3a9735f490" providerId="ADAL" clId="{9E3C8D41-9167-4835-BE54-6D463ECD2610}" dt="2023-04-17T11:56:19.259" v="5989" actId="47"/>
        <pc:sldMkLst>
          <pc:docMk/>
          <pc:sldMk cId="1509910316" sldId="3633"/>
        </pc:sldMkLst>
      </pc:sldChg>
      <pc:sldChg chg="addSp delSp modSp new del">
        <pc:chgData name="Scott Sink" userId="007532c1-63dd-4f29-9932-df3a9735f490" providerId="ADAL" clId="{9E3C8D41-9167-4835-BE54-6D463ECD2610}" dt="2023-04-16T10:13:31.407" v="3254" actId="47"/>
        <pc:sldMkLst>
          <pc:docMk/>
          <pc:sldMk cId="1857302169" sldId="3633"/>
        </pc:sldMkLst>
        <pc:spChg chg="del">
          <ac:chgData name="Scott Sink" userId="007532c1-63dd-4f29-9932-df3a9735f490" providerId="ADAL" clId="{9E3C8D41-9167-4835-BE54-6D463ECD2610}" dt="2023-04-16T10:10:18.317" v="3225" actId="931"/>
          <ac:spMkLst>
            <pc:docMk/>
            <pc:sldMk cId="1857302169" sldId="3633"/>
            <ac:spMk id="3" creationId="{5588FB90-8FE7-777C-4D8C-C49942458EDA}"/>
          </ac:spMkLst>
        </pc:spChg>
        <pc:spChg chg="add mod">
          <ac:chgData name="Scott Sink" userId="007532c1-63dd-4f29-9932-df3a9735f490" providerId="ADAL" clId="{9E3C8D41-9167-4835-BE54-6D463ECD2610}" dt="2023-04-16T10:10:24.156" v="3229" actId="21"/>
          <ac:spMkLst>
            <pc:docMk/>
            <pc:sldMk cId="1857302169" sldId="3633"/>
            <ac:spMk id="6" creationId="{EF8587B0-A5AE-2D55-24B2-372F68003642}"/>
          </ac:spMkLst>
        </pc:spChg>
        <pc:picChg chg="add del mod">
          <ac:chgData name="Scott Sink" userId="007532c1-63dd-4f29-9932-df3a9735f490" providerId="ADAL" clId="{9E3C8D41-9167-4835-BE54-6D463ECD2610}" dt="2023-04-16T10:10:24.156" v="3229" actId="21"/>
          <ac:picMkLst>
            <pc:docMk/>
            <pc:sldMk cId="1857302169" sldId="3633"/>
            <ac:picMk id="5" creationId="{05E31C9F-6858-CA42-1F82-C0C09F596215}"/>
          </ac:picMkLst>
        </pc:picChg>
      </pc:sldChg>
      <pc:sldChg chg="addSp modSp add">
        <pc:chgData name="Scott Sink" userId="007532c1-63dd-4f29-9932-df3a9735f490" providerId="ADAL" clId="{9E3C8D41-9167-4835-BE54-6D463ECD2610}" dt="2023-04-16T12:36:59.606" v="3922"/>
        <pc:sldMkLst>
          <pc:docMk/>
          <pc:sldMk cId="584441069" sldId="3634"/>
        </pc:sldMkLst>
        <pc:picChg chg="add mod">
          <ac:chgData name="Scott Sink" userId="007532c1-63dd-4f29-9932-df3a9735f490" providerId="ADAL" clId="{9E3C8D41-9167-4835-BE54-6D463ECD2610}" dt="2023-04-16T12:36:59.606" v="3922"/>
          <ac:picMkLst>
            <pc:docMk/>
            <pc:sldMk cId="584441069" sldId="3634"/>
            <ac:picMk id="3" creationId="{A94A2FE1-F46F-C272-7EE5-713958222923}"/>
          </ac:picMkLst>
        </pc:picChg>
      </pc:sldChg>
      <pc:sldChg chg="addSp modSp add">
        <pc:chgData name="Scott Sink" userId="007532c1-63dd-4f29-9932-df3a9735f490" providerId="ADAL" clId="{9E3C8D41-9167-4835-BE54-6D463ECD2610}" dt="2023-04-16T12:37:05.631" v="3923"/>
        <pc:sldMkLst>
          <pc:docMk/>
          <pc:sldMk cId="2340664371" sldId="3635"/>
        </pc:sldMkLst>
        <pc:picChg chg="add mod">
          <ac:chgData name="Scott Sink" userId="007532c1-63dd-4f29-9932-df3a9735f490" providerId="ADAL" clId="{9E3C8D41-9167-4835-BE54-6D463ECD2610}" dt="2023-04-16T12:37:05.631" v="3923"/>
          <ac:picMkLst>
            <pc:docMk/>
            <pc:sldMk cId="2340664371" sldId="3635"/>
            <ac:picMk id="2" creationId="{CED74A7E-6020-5426-52AA-B9A31095AB90}"/>
          </ac:picMkLst>
        </pc:picChg>
      </pc:sldChg>
      <pc:sldChg chg="add">
        <pc:chgData name="Scott Sink" userId="007532c1-63dd-4f29-9932-df3a9735f490" providerId="ADAL" clId="{9E3C8D41-9167-4835-BE54-6D463ECD2610}" dt="2023-04-16T10:25:52.027" v="3399"/>
        <pc:sldMkLst>
          <pc:docMk/>
          <pc:sldMk cId="3953636968" sldId="3636"/>
        </pc:sldMkLst>
      </pc:sldChg>
      <pc:sldChg chg="add">
        <pc:chgData name="Scott Sink" userId="007532c1-63dd-4f29-9932-df3a9735f490" providerId="ADAL" clId="{9E3C8D41-9167-4835-BE54-6D463ECD2610}" dt="2023-04-16T10:25:54.065" v="3401"/>
        <pc:sldMkLst>
          <pc:docMk/>
          <pc:sldMk cId="4241288852" sldId="3637"/>
        </pc:sldMkLst>
      </pc:sldChg>
      <pc:sldChg chg="addSp delSp modSp add mod ord">
        <pc:chgData name="Scott Sink" userId="007532c1-63dd-4f29-9932-df3a9735f490" providerId="ADAL" clId="{9E3C8D41-9167-4835-BE54-6D463ECD2610}" dt="2023-04-18T04:58:56.192" v="7010"/>
        <pc:sldMkLst>
          <pc:docMk/>
          <pc:sldMk cId="346339292" sldId="3638"/>
        </pc:sldMkLst>
        <pc:spChg chg="mod">
          <ac:chgData name="Scott Sink" userId="007532c1-63dd-4f29-9932-df3a9735f490" providerId="ADAL" clId="{9E3C8D41-9167-4835-BE54-6D463ECD2610}" dt="2023-04-16T10:29:15.244" v="3472" actId="20577"/>
          <ac:spMkLst>
            <pc:docMk/>
            <pc:sldMk cId="346339292" sldId="3638"/>
            <ac:spMk id="2" creationId="{E211C6D2-E137-A675-E129-1B7CA1893BC6}"/>
          </ac:spMkLst>
        </pc:spChg>
        <pc:spChg chg="mod">
          <ac:chgData name="Scott Sink" userId="007532c1-63dd-4f29-9932-df3a9735f490" providerId="ADAL" clId="{9E3C8D41-9167-4835-BE54-6D463ECD2610}" dt="2023-04-16T10:37:11.981" v="3718" actId="1076"/>
          <ac:spMkLst>
            <pc:docMk/>
            <pc:sldMk cId="346339292" sldId="3638"/>
            <ac:spMk id="3" creationId="{6D76E1CA-0434-A800-0AC3-87790CA7F766}"/>
          </ac:spMkLst>
        </pc:spChg>
        <pc:picChg chg="del">
          <ac:chgData name="Scott Sink" userId="007532c1-63dd-4f29-9932-df3a9735f490" providerId="ADAL" clId="{9E3C8D41-9167-4835-BE54-6D463ECD2610}" dt="2023-04-16T10:32:06.810" v="3653" actId="478"/>
          <ac:picMkLst>
            <pc:docMk/>
            <pc:sldMk cId="346339292" sldId="3638"/>
            <ac:picMk id="6" creationId="{6F11B3E2-F3B2-9042-F2E4-6A6761867775}"/>
          </ac:picMkLst>
        </pc:picChg>
        <pc:picChg chg="del">
          <ac:chgData name="Scott Sink" userId="007532c1-63dd-4f29-9932-df3a9735f490" providerId="ADAL" clId="{9E3C8D41-9167-4835-BE54-6D463ECD2610}" dt="2023-04-16T10:32:04.677" v="3651" actId="478"/>
          <ac:picMkLst>
            <pc:docMk/>
            <pc:sldMk cId="346339292" sldId="3638"/>
            <ac:picMk id="7" creationId="{F57656F3-46A4-792F-4B06-6A2AF7CB9CD7}"/>
          </ac:picMkLst>
        </pc:picChg>
        <pc:picChg chg="del">
          <ac:chgData name="Scott Sink" userId="007532c1-63dd-4f29-9932-df3a9735f490" providerId="ADAL" clId="{9E3C8D41-9167-4835-BE54-6D463ECD2610}" dt="2023-04-16T10:32:06.027" v="3652" actId="478"/>
          <ac:picMkLst>
            <pc:docMk/>
            <pc:sldMk cId="346339292" sldId="3638"/>
            <ac:picMk id="8" creationId="{CD2C4AC9-BBC6-BDC9-4E31-61BD19601D4F}"/>
          </ac:picMkLst>
        </pc:picChg>
        <pc:picChg chg="add mod">
          <ac:chgData name="Scott Sink" userId="007532c1-63dd-4f29-9932-df3a9735f490" providerId="ADAL" clId="{9E3C8D41-9167-4835-BE54-6D463ECD2610}" dt="2023-04-16T10:32:35.693" v="3660" actId="1076"/>
          <ac:picMkLst>
            <pc:docMk/>
            <pc:sldMk cId="346339292" sldId="3638"/>
            <ac:picMk id="9" creationId="{F54D54FC-64A7-A533-E11D-56B92797EBC1}"/>
          </ac:picMkLst>
        </pc:picChg>
        <pc:picChg chg="del">
          <ac:chgData name="Scott Sink" userId="007532c1-63dd-4f29-9932-df3a9735f490" providerId="ADAL" clId="{9E3C8D41-9167-4835-BE54-6D463ECD2610}" dt="2023-04-16T10:32:08.845" v="3656" actId="478"/>
          <ac:picMkLst>
            <pc:docMk/>
            <pc:sldMk cId="346339292" sldId="3638"/>
            <ac:picMk id="10" creationId="{7C0FB243-5006-ABB8-DF8C-12D874BC486B}"/>
          </ac:picMkLst>
        </pc:picChg>
        <pc:picChg chg="del">
          <ac:chgData name="Scott Sink" userId="007532c1-63dd-4f29-9932-df3a9735f490" providerId="ADAL" clId="{9E3C8D41-9167-4835-BE54-6D463ECD2610}" dt="2023-04-16T10:32:07.579" v="3654" actId="478"/>
          <ac:picMkLst>
            <pc:docMk/>
            <pc:sldMk cId="346339292" sldId="3638"/>
            <ac:picMk id="11" creationId="{672CB1E1-8334-DDC9-E40A-004CDE1E9A75}"/>
          </ac:picMkLst>
        </pc:picChg>
        <pc:picChg chg="mod">
          <ac:chgData name="Scott Sink" userId="007532c1-63dd-4f29-9932-df3a9735f490" providerId="ADAL" clId="{9E3C8D41-9167-4835-BE54-6D463ECD2610}" dt="2023-04-16T10:36:56.993" v="3717" actId="1076"/>
          <ac:picMkLst>
            <pc:docMk/>
            <pc:sldMk cId="346339292" sldId="3638"/>
            <ac:picMk id="12" creationId="{BFD5A692-5DF4-0713-DE4F-1FE34437AA44}"/>
          </ac:picMkLst>
        </pc:picChg>
        <pc:picChg chg="add mod">
          <ac:chgData name="Scott Sink" userId="007532c1-63dd-4f29-9932-df3a9735f490" providerId="ADAL" clId="{9E3C8D41-9167-4835-BE54-6D463ECD2610}" dt="2023-04-16T10:32:45.247" v="3662" actId="1076"/>
          <ac:picMkLst>
            <pc:docMk/>
            <pc:sldMk cId="346339292" sldId="3638"/>
            <ac:picMk id="13" creationId="{BF81B193-A4F9-D260-4078-1770781FE68F}"/>
          </ac:picMkLst>
        </pc:picChg>
        <pc:picChg chg="del">
          <ac:chgData name="Scott Sink" userId="007532c1-63dd-4f29-9932-df3a9735f490" providerId="ADAL" clId="{9E3C8D41-9167-4835-BE54-6D463ECD2610}" dt="2023-04-16T10:32:08.276" v="3655" actId="478"/>
          <ac:picMkLst>
            <pc:docMk/>
            <pc:sldMk cId="346339292" sldId="3638"/>
            <ac:picMk id="14" creationId="{EF8736A0-B65F-BA5E-637C-02B2640DC18B}"/>
          </ac:picMkLst>
        </pc:picChg>
        <pc:picChg chg="add mod">
          <ac:chgData name="Scott Sink" userId="007532c1-63dd-4f29-9932-df3a9735f490" providerId="ADAL" clId="{9E3C8D41-9167-4835-BE54-6D463ECD2610}" dt="2023-04-17T13:45:27.739" v="6347" actId="1076"/>
          <ac:picMkLst>
            <pc:docMk/>
            <pc:sldMk cId="346339292" sldId="3638"/>
            <ac:picMk id="15" creationId="{754175FF-9353-8C13-3385-24D2BAEF0C15}"/>
          </ac:picMkLst>
        </pc:picChg>
        <pc:picChg chg="del">
          <ac:chgData name="Scott Sink" userId="007532c1-63dd-4f29-9932-df3a9735f490" providerId="ADAL" clId="{9E3C8D41-9167-4835-BE54-6D463ECD2610}" dt="2023-04-16T10:32:51.177" v="3664" actId="478"/>
          <ac:picMkLst>
            <pc:docMk/>
            <pc:sldMk cId="346339292" sldId="3638"/>
            <ac:picMk id="16" creationId="{FEB273B6-A634-C40F-A407-EE35ABB135EF}"/>
          </ac:picMkLst>
        </pc:picChg>
        <pc:picChg chg="add mod">
          <ac:chgData name="Scott Sink" userId="007532c1-63dd-4f29-9932-df3a9735f490" providerId="ADAL" clId="{9E3C8D41-9167-4835-BE54-6D463ECD2610}" dt="2023-04-17T13:45:30.476" v="6348" actId="1076"/>
          <ac:picMkLst>
            <pc:docMk/>
            <pc:sldMk cId="346339292" sldId="3638"/>
            <ac:picMk id="17" creationId="{CA111C13-FA8A-D936-FEBD-E89B84FE8B5A}"/>
          </ac:picMkLst>
        </pc:picChg>
        <pc:picChg chg="add mod">
          <ac:chgData name="Scott Sink" userId="007532c1-63dd-4f29-9932-df3a9735f490" providerId="ADAL" clId="{9E3C8D41-9167-4835-BE54-6D463ECD2610}" dt="2023-04-17T13:45:34.559" v="6349" actId="1076"/>
          <ac:picMkLst>
            <pc:docMk/>
            <pc:sldMk cId="346339292" sldId="3638"/>
            <ac:picMk id="19" creationId="{7734BF96-30CB-5124-214E-53BFE9629FDC}"/>
          </ac:picMkLst>
        </pc:picChg>
        <pc:picChg chg="add mod">
          <ac:chgData name="Scott Sink" userId="007532c1-63dd-4f29-9932-df3a9735f490" providerId="ADAL" clId="{9E3C8D41-9167-4835-BE54-6D463ECD2610}" dt="2023-04-17T13:45:37.181" v="6350" actId="1076"/>
          <ac:picMkLst>
            <pc:docMk/>
            <pc:sldMk cId="346339292" sldId="3638"/>
            <ac:picMk id="21" creationId="{1AA9785F-0FEA-61FE-92A8-512F8AD3941C}"/>
          </ac:picMkLst>
        </pc:picChg>
        <pc:picChg chg="add mod">
          <ac:chgData name="Scott Sink" userId="007532c1-63dd-4f29-9932-df3a9735f490" providerId="ADAL" clId="{9E3C8D41-9167-4835-BE54-6D463ECD2610}" dt="2023-04-17T13:45:39.277" v="6351" actId="1076"/>
          <ac:picMkLst>
            <pc:docMk/>
            <pc:sldMk cId="346339292" sldId="3638"/>
            <ac:picMk id="23" creationId="{6D7DFD48-868A-4EE8-8D3E-CB51A9292BBC}"/>
          </ac:picMkLst>
        </pc:picChg>
      </pc:sldChg>
      <pc:sldChg chg="addSp delSp modSp add del mod ord">
        <pc:chgData name="Scott Sink" userId="007532c1-63dd-4f29-9932-df3a9735f490" providerId="ADAL" clId="{9E3C8D41-9167-4835-BE54-6D463ECD2610}" dt="2023-04-18T10:15:09.369" v="7475" actId="47"/>
        <pc:sldMkLst>
          <pc:docMk/>
          <pc:sldMk cId="2707107348" sldId="3639"/>
        </pc:sldMkLst>
        <pc:spChg chg="del">
          <ac:chgData name="Scott Sink" userId="007532c1-63dd-4f29-9932-df3a9735f490" providerId="ADAL" clId="{9E3C8D41-9167-4835-BE54-6D463ECD2610}" dt="2023-04-17T12:08:35.107" v="6233" actId="478"/>
          <ac:spMkLst>
            <pc:docMk/>
            <pc:sldMk cId="2707107348" sldId="3639"/>
            <ac:spMk id="5" creationId="{BD119F5D-19E2-ECEF-100F-32C90BA4E4C8}"/>
          </ac:spMkLst>
        </pc:spChg>
        <pc:spChg chg="mod">
          <ac:chgData name="Scott Sink" userId="007532c1-63dd-4f29-9932-df3a9735f490" providerId="ADAL" clId="{9E3C8D41-9167-4835-BE54-6D463ECD2610}" dt="2023-04-16T10:28:10.227" v="3414" actId="1076"/>
          <ac:spMkLst>
            <pc:docMk/>
            <pc:sldMk cId="2707107348" sldId="3639"/>
            <ac:spMk id="6" creationId="{F5FA34A8-ECC0-FEC2-79F6-0A4B213195AE}"/>
          </ac:spMkLst>
        </pc:spChg>
        <pc:spChg chg="add mod">
          <ac:chgData name="Scott Sink" userId="007532c1-63dd-4f29-9932-df3a9735f490" providerId="ADAL" clId="{9E3C8D41-9167-4835-BE54-6D463ECD2610}" dt="2023-04-17T12:08:36.554" v="6234"/>
          <ac:spMkLst>
            <pc:docMk/>
            <pc:sldMk cId="2707107348" sldId="3639"/>
            <ac:spMk id="7" creationId="{186A3E25-9554-FBD3-1C26-4C6962E5FCA6}"/>
          </ac:spMkLst>
        </pc:spChg>
      </pc:sldChg>
      <pc:sldChg chg="addSp delSp modSp add del mod ord">
        <pc:chgData name="Scott Sink" userId="007532c1-63dd-4f29-9932-df3a9735f490" providerId="ADAL" clId="{9E3C8D41-9167-4835-BE54-6D463ECD2610}" dt="2023-04-18T10:15:28.442" v="7482" actId="47"/>
        <pc:sldMkLst>
          <pc:docMk/>
          <pc:sldMk cId="1199111468" sldId="3640"/>
        </pc:sldMkLst>
        <pc:spChg chg="del">
          <ac:chgData name="Scott Sink" userId="007532c1-63dd-4f29-9932-df3a9735f490" providerId="ADAL" clId="{9E3C8D41-9167-4835-BE54-6D463ECD2610}" dt="2023-04-17T12:08:48.915" v="6235" actId="478"/>
          <ac:spMkLst>
            <pc:docMk/>
            <pc:sldMk cId="1199111468" sldId="3640"/>
            <ac:spMk id="5" creationId="{BD119F5D-19E2-ECEF-100F-32C90BA4E4C8}"/>
          </ac:spMkLst>
        </pc:spChg>
        <pc:spChg chg="mod">
          <ac:chgData name="Scott Sink" userId="007532c1-63dd-4f29-9932-df3a9735f490" providerId="ADAL" clId="{9E3C8D41-9167-4835-BE54-6D463ECD2610}" dt="2023-04-16T10:28:50.110" v="3419" actId="1076"/>
          <ac:spMkLst>
            <pc:docMk/>
            <pc:sldMk cId="1199111468" sldId="3640"/>
            <ac:spMk id="6" creationId="{F5FA34A8-ECC0-FEC2-79F6-0A4B213195AE}"/>
          </ac:spMkLst>
        </pc:spChg>
        <pc:spChg chg="add mod">
          <ac:chgData name="Scott Sink" userId="007532c1-63dd-4f29-9932-df3a9735f490" providerId="ADAL" clId="{9E3C8D41-9167-4835-BE54-6D463ECD2610}" dt="2023-04-17T12:08:50.442" v="6236"/>
          <ac:spMkLst>
            <pc:docMk/>
            <pc:sldMk cId="1199111468" sldId="3640"/>
            <ac:spMk id="7" creationId="{8B905A93-A3E8-9B37-BB84-D17427C039E9}"/>
          </ac:spMkLst>
        </pc:spChg>
      </pc:sldChg>
      <pc:sldChg chg="add ord">
        <pc:chgData name="Scott Sink" userId="007532c1-63dd-4f29-9932-df3a9735f490" providerId="ADAL" clId="{9E3C8D41-9167-4835-BE54-6D463ECD2610}" dt="2023-04-16T12:25:08.460" v="3728"/>
        <pc:sldMkLst>
          <pc:docMk/>
          <pc:sldMk cId="2295474388" sldId="3641"/>
        </pc:sldMkLst>
      </pc:sldChg>
      <pc:sldChg chg="add del">
        <pc:chgData name="Scott Sink" userId="007532c1-63dd-4f29-9932-df3a9735f490" providerId="ADAL" clId="{9E3C8D41-9167-4835-BE54-6D463ECD2610}" dt="2023-04-16T12:23:52.694" v="3721" actId="27028"/>
        <pc:sldMkLst>
          <pc:docMk/>
          <pc:sldMk cId="2785095684" sldId="3641"/>
        </pc:sldMkLst>
      </pc:sldChg>
      <pc:sldChg chg="add del">
        <pc:chgData name="Scott Sink" userId="007532c1-63dd-4f29-9932-df3a9735f490" providerId="ADAL" clId="{9E3C8D41-9167-4835-BE54-6D463ECD2610}" dt="2023-04-16T12:24:40.310" v="3726" actId="27028"/>
        <pc:sldMkLst>
          <pc:docMk/>
          <pc:sldMk cId="758789041" sldId="3642"/>
        </pc:sldMkLst>
      </pc:sldChg>
      <pc:sldChg chg="addSp delSp modSp add mod ord">
        <pc:chgData name="Scott Sink" userId="007532c1-63dd-4f29-9932-df3a9735f490" providerId="ADAL" clId="{9E3C8D41-9167-4835-BE54-6D463ECD2610}" dt="2023-04-18T04:51:30.781" v="6849"/>
        <pc:sldMkLst>
          <pc:docMk/>
          <pc:sldMk cId="1397055606" sldId="3642"/>
        </pc:sldMkLst>
        <pc:spChg chg="mod">
          <ac:chgData name="Scott Sink" userId="007532c1-63dd-4f29-9932-df3a9735f490" providerId="ADAL" clId="{9E3C8D41-9167-4835-BE54-6D463ECD2610}" dt="2023-04-16T12:32:42.422" v="3778" actId="14100"/>
          <ac:spMkLst>
            <pc:docMk/>
            <pc:sldMk cId="1397055606" sldId="3642"/>
            <ac:spMk id="2" creationId="{9A3A1A8B-27BF-538A-AE46-03936D172E6D}"/>
          </ac:spMkLst>
        </pc:spChg>
        <pc:spChg chg="mod">
          <ac:chgData name="Scott Sink" userId="007532c1-63dd-4f29-9932-df3a9735f490" providerId="ADAL" clId="{9E3C8D41-9167-4835-BE54-6D463ECD2610}" dt="2023-04-17T11:37:09.818" v="5002" actId="20577"/>
          <ac:spMkLst>
            <pc:docMk/>
            <pc:sldMk cId="1397055606" sldId="3642"/>
            <ac:spMk id="4" creationId="{F890E94B-3FC1-3939-775E-B6AC4F3C7C07}"/>
          </ac:spMkLst>
        </pc:spChg>
        <pc:spChg chg="del">
          <ac:chgData name="Scott Sink" userId="007532c1-63dd-4f29-9932-df3a9735f490" providerId="ADAL" clId="{9E3C8D41-9167-4835-BE54-6D463ECD2610}" dt="2023-04-16T12:27:48.744" v="3738" actId="478"/>
          <ac:spMkLst>
            <pc:docMk/>
            <pc:sldMk cId="1397055606" sldId="3642"/>
            <ac:spMk id="8" creationId="{F34AF09B-524E-6E35-47EF-2470E32598AB}"/>
          </ac:spMkLst>
        </pc:spChg>
        <pc:spChg chg="del">
          <ac:chgData name="Scott Sink" userId="007532c1-63dd-4f29-9932-df3a9735f490" providerId="ADAL" clId="{9E3C8D41-9167-4835-BE54-6D463ECD2610}" dt="2023-04-16T12:27:47.248" v="3736" actId="478"/>
          <ac:spMkLst>
            <pc:docMk/>
            <pc:sldMk cId="1397055606" sldId="3642"/>
            <ac:spMk id="9" creationId="{926FB801-CD90-7F98-0CA5-E19FB15D5DE5}"/>
          </ac:spMkLst>
        </pc:spChg>
        <pc:spChg chg="del">
          <ac:chgData name="Scott Sink" userId="007532c1-63dd-4f29-9932-df3a9735f490" providerId="ADAL" clId="{9E3C8D41-9167-4835-BE54-6D463ECD2610}" dt="2023-04-16T12:28:08.191" v="3744" actId="478"/>
          <ac:spMkLst>
            <pc:docMk/>
            <pc:sldMk cId="1397055606" sldId="3642"/>
            <ac:spMk id="10" creationId="{0887097B-0A23-77C0-7777-77C31A2320CC}"/>
          </ac:spMkLst>
        </pc:spChg>
        <pc:spChg chg="del mod">
          <ac:chgData name="Scott Sink" userId="007532c1-63dd-4f29-9932-df3a9735f490" providerId="ADAL" clId="{9E3C8D41-9167-4835-BE54-6D463ECD2610}" dt="2023-04-16T12:30:35.786" v="3762" actId="478"/>
          <ac:spMkLst>
            <pc:docMk/>
            <pc:sldMk cId="1397055606" sldId="3642"/>
            <ac:spMk id="13" creationId="{D2C8B7B4-3F66-C491-4202-5847BB92CD56}"/>
          </ac:spMkLst>
        </pc:spChg>
        <pc:spChg chg="add mod">
          <ac:chgData name="Scott Sink" userId="007532c1-63dd-4f29-9932-df3a9735f490" providerId="ADAL" clId="{9E3C8D41-9167-4835-BE54-6D463ECD2610}" dt="2023-04-16T12:35:34.627" v="3912" actId="1076"/>
          <ac:spMkLst>
            <pc:docMk/>
            <pc:sldMk cId="1397055606" sldId="3642"/>
            <ac:spMk id="15" creationId="{E4A69D80-730C-74A6-D1A3-D43426CEBD2E}"/>
          </ac:spMkLst>
        </pc:spChg>
        <pc:spChg chg="add mod">
          <ac:chgData name="Scott Sink" userId="007532c1-63dd-4f29-9932-df3a9735f490" providerId="ADAL" clId="{9E3C8D41-9167-4835-BE54-6D463ECD2610}" dt="2023-04-16T12:35:37.318" v="3913" actId="1076"/>
          <ac:spMkLst>
            <pc:docMk/>
            <pc:sldMk cId="1397055606" sldId="3642"/>
            <ac:spMk id="16" creationId="{7667B206-BB8B-7F34-EC9A-CAAAED8D4A97}"/>
          </ac:spMkLst>
        </pc:spChg>
        <pc:picChg chg="add mod">
          <ac:chgData name="Scott Sink" userId="007532c1-63dd-4f29-9932-df3a9735f490" providerId="ADAL" clId="{9E3C8D41-9167-4835-BE54-6D463ECD2610}" dt="2023-04-16T12:33:58.278" v="3902" actId="1076"/>
          <ac:picMkLst>
            <pc:docMk/>
            <pc:sldMk cId="1397055606" sldId="3642"/>
            <ac:picMk id="6" creationId="{24B18EBD-CCB0-51CA-2AC1-E1A5080A5AA0}"/>
          </ac:picMkLst>
        </pc:picChg>
        <pc:picChg chg="del">
          <ac:chgData name="Scott Sink" userId="007532c1-63dd-4f29-9932-df3a9735f490" providerId="ADAL" clId="{9E3C8D41-9167-4835-BE54-6D463ECD2610}" dt="2023-04-16T12:27:47.929" v="3737" actId="478"/>
          <ac:picMkLst>
            <pc:docMk/>
            <pc:sldMk cId="1397055606" sldId="3642"/>
            <ac:picMk id="7" creationId="{7F83A7FA-F154-1DEF-367E-16361EC2A58B}"/>
          </ac:picMkLst>
        </pc:picChg>
        <pc:picChg chg="mod">
          <ac:chgData name="Scott Sink" userId="007532c1-63dd-4f29-9932-df3a9735f490" providerId="ADAL" clId="{9E3C8D41-9167-4835-BE54-6D463ECD2610}" dt="2023-04-16T12:35:40.888" v="3914" actId="1076"/>
          <ac:picMkLst>
            <pc:docMk/>
            <pc:sldMk cId="1397055606" sldId="3642"/>
            <ac:picMk id="12" creationId="{7C5DCDD9-7A0E-5D2C-70A8-97A8B66E702C}"/>
          </ac:picMkLst>
        </pc:picChg>
        <pc:picChg chg="add mod">
          <ac:chgData name="Scott Sink" userId="007532c1-63dd-4f29-9932-df3a9735f490" providerId="ADAL" clId="{9E3C8D41-9167-4835-BE54-6D463ECD2610}" dt="2023-04-16T12:32:48.994" v="3779" actId="1076"/>
          <ac:picMkLst>
            <pc:docMk/>
            <pc:sldMk cId="1397055606" sldId="3642"/>
            <ac:picMk id="14" creationId="{8CADF318-01A5-2FFC-4F34-36B025AA5D1C}"/>
          </ac:picMkLst>
        </pc:picChg>
        <pc:picChg chg="add mod">
          <ac:chgData name="Scott Sink" userId="007532c1-63dd-4f29-9932-df3a9735f490" providerId="ADAL" clId="{9E3C8D41-9167-4835-BE54-6D463ECD2610}" dt="2023-04-16T12:36:29.526" v="3921" actId="1076"/>
          <ac:picMkLst>
            <pc:docMk/>
            <pc:sldMk cId="1397055606" sldId="3642"/>
            <ac:picMk id="18" creationId="{76377650-C309-563A-827A-C766C95C8CA0}"/>
          </ac:picMkLst>
        </pc:picChg>
      </pc:sldChg>
      <pc:sldChg chg="addSp delSp modSp add mod ord">
        <pc:chgData name="Scott Sink" userId="007532c1-63dd-4f29-9932-df3a9735f490" providerId="ADAL" clId="{9E3C8D41-9167-4835-BE54-6D463ECD2610}" dt="2023-04-18T04:59:16.770" v="7016"/>
        <pc:sldMkLst>
          <pc:docMk/>
          <pc:sldMk cId="820912285" sldId="3643"/>
        </pc:sldMkLst>
        <pc:spChg chg="mod">
          <ac:chgData name="Scott Sink" userId="007532c1-63dd-4f29-9932-df3a9735f490" providerId="ADAL" clId="{9E3C8D41-9167-4835-BE54-6D463ECD2610}" dt="2023-04-16T12:48:18.710" v="4077" actId="20577"/>
          <ac:spMkLst>
            <pc:docMk/>
            <pc:sldMk cId="820912285" sldId="3643"/>
            <ac:spMk id="2" creationId="{9A3A1A8B-27BF-538A-AE46-03936D172E6D}"/>
          </ac:spMkLst>
        </pc:spChg>
        <pc:picChg chg="add mod">
          <ac:chgData name="Scott Sink" userId="007532c1-63dd-4f29-9932-df3a9735f490" providerId="ADAL" clId="{9E3C8D41-9167-4835-BE54-6D463ECD2610}" dt="2023-04-16T12:43:34.544" v="4014" actId="1076"/>
          <ac:picMkLst>
            <pc:docMk/>
            <pc:sldMk cId="820912285" sldId="3643"/>
            <ac:picMk id="5" creationId="{8204C545-596E-3824-65C6-A06734B7AF2A}"/>
          </ac:picMkLst>
        </pc:picChg>
        <pc:picChg chg="del">
          <ac:chgData name="Scott Sink" userId="007532c1-63dd-4f29-9932-df3a9735f490" providerId="ADAL" clId="{9E3C8D41-9167-4835-BE54-6D463ECD2610}" dt="2023-04-16T12:39:45.450" v="3987" actId="478"/>
          <ac:picMkLst>
            <pc:docMk/>
            <pc:sldMk cId="820912285" sldId="3643"/>
            <ac:picMk id="6" creationId="{24B18EBD-CCB0-51CA-2AC1-E1A5080A5AA0}"/>
          </ac:picMkLst>
        </pc:picChg>
        <pc:picChg chg="add mod">
          <ac:chgData name="Scott Sink" userId="007532c1-63dd-4f29-9932-df3a9735f490" providerId="ADAL" clId="{9E3C8D41-9167-4835-BE54-6D463ECD2610}" dt="2023-04-16T12:45:08.416" v="4026" actId="1076"/>
          <ac:picMkLst>
            <pc:docMk/>
            <pc:sldMk cId="820912285" sldId="3643"/>
            <ac:picMk id="8" creationId="{BFAEBA5D-BF04-041D-A747-8ADF6C9462FB}"/>
          </ac:picMkLst>
        </pc:picChg>
        <pc:picChg chg="add mod">
          <ac:chgData name="Scott Sink" userId="007532c1-63dd-4f29-9932-df3a9735f490" providerId="ADAL" clId="{9E3C8D41-9167-4835-BE54-6D463ECD2610}" dt="2023-04-16T12:47:49.791" v="4031" actId="1076"/>
          <ac:picMkLst>
            <pc:docMk/>
            <pc:sldMk cId="820912285" sldId="3643"/>
            <ac:picMk id="10" creationId="{FBFE9DB8-F49F-69FE-175A-11AEE494576C}"/>
          </ac:picMkLst>
        </pc:picChg>
        <pc:picChg chg="del">
          <ac:chgData name="Scott Sink" userId="007532c1-63dd-4f29-9932-df3a9735f490" providerId="ADAL" clId="{9E3C8D41-9167-4835-BE54-6D463ECD2610}" dt="2023-04-16T12:41:52.660" v="4008" actId="478"/>
          <ac:picMkLst>
            <pc:docMk/>
            <pc:sldMk cId="820912285" sldId="3643"/>
            <ac:picMk id="12" creationId="{7C5DCDD9-7A0E-5D2C-70A8-97A8B66E702C}"/>
          </ac:picMkLst>
        </pc:picChg>
        <pc:picChg chg="del">
          <ac:chgData name="Scott Sink" userId="007532c1-63dd-4f29-9932-df3a9735f490" providerId="ADAL" clId="{9E3C8D41-9167-4835-BE54-6D463ECD2610}" dt="2023-04-16T12:43:25.087" v="4011" actId="478"/>
          <ac:picMkLst>
            <pc:docMk/>
            <pc:sldMk cId="820912285" sldId="3643"/>
            <ac:picMk id="18" creationId="{76377650-C309-563A-827A-C766C95C8CA0}"/>
          </ac:picMkLst>
        </pc:picChg>
      </pc:sldChg>
      <pc:sldChg chg="modSp add del mod ord">
        <pc:chgData name="Scott Sink" userId="007532c1-63dd-4f29-9932-df3a9735f490" providerId="ADAL" clId="{9E3C8D41-9167-4835-BE54-6D463ECD2610}" dt="2023-04-18T05:39:08.959" v="7428" actId="47"/>
        <pc:sldMkLst>
          <pc:docMk/>
          <pc:sldMk cId="1327553206" sldId="3644"/>
        </pc:sldMkLst>
        <pc:spChg chg="mod">
          <ac:chgData name="Scott Sink" userId="007532c1-63dd-4f29-9932-df3a9735f490" providerId="ADAL" clId="{9E3C8D41-9167-4835-BE54-6D463ECD2610}" dt="2023-04-18T04:58:40.965" v="7004" actId="1076"/>
          <ac:spMkLst>
            <pc:docMk/>
            <pc:sldMk cId="1327553206" sldId="3644"/>
            <ac:spMk id="2" creationId="{8A0A3A2F-3CE9-2B6A-443B-5DB8A8363F2E}"/>
          </ac:spMkLst>
        </pc:spChg>
      </pc:sldChg>
      <pc:sldChg chg="delSp modSp add del mod">
        <pc:chgData name="Scott Sink" userId="007532c1-63dd-4f29-9932-df3a9735f490" providerId="ADAL" clId="{9E3C8D41-9167-4835-BE54-6D463ECD2610}" dt="2023-04-16T12:44:01.110" v="4017" actId="47"/>
        <pc:sldMkLst>
          <pc:docMk/>
          <pc:sldMk cId="2889788747" sldId="3644"/>
        </pc:sldMkLst>
        <pc:spChg chg="mod">
          <ac:chgData name="Scott Sink" userId="007532c1-63dd-4f29-9932-df3a9735f490" providerId="ADAL" clId="{9E3C8D41-9167-4835-BE54-6D463ECD2610}" dt="2023-04-16T12:40:35.594" v="3994" actId="27636"/>
          <ac:spMkLst>
            <pc:docMk/>
            <pc:sldMk cId="2889788747" sldId="3644"/>
            <ac:spMk id="2" creationId="{9A3A1A8B-27BF-538A-AE46-03936D172E6D}"/>
          </ac:spMkLst>
        </pc:spChg>
        <pc:spChg chg="mod">
          <ac:chgData name="Scott Sink" userId="007532c1-63dd-4f29-9932-df3a9735f490" providerId="ADAL" clId="{9E3C8D41-9167-4835-BE54-6D463ECD2610}" dt="2023-04-16T12:40:58.836" v="4000" actId="1076"/>
          <ac:spMkLst>
            <pc:docMk/>
            <pc:sldMk cId="2889788747" sldId="3644"/>
            <ac:spMk id="4" creationId="{F890E94B-3FC1-3939-775E-B6AC4F3C7C07}"/>
          </ac:spMkLst>
        </pc:spChg>
        <pc:spChg chg="del">
          <ac:chgData name="Scott Sink" userId="007532c1-63dd-4f29-9932-df3a9735f490" providerId="ADAL" clId="{9E3C8D41-9167-4835-BE54-6D463ECD2610}" dt="2023-04-16T12:40:42.672" v="3996" actId="478"/>
          <ac:spMkLst>
            <pc:docMk/>
            <pc:sldMk cId="2889788747" sldId="3644"/>
            <ac:spMk id="8" creationId="{F34AF09B-524E-6E35-47EF-2470E32598AB}"/>
          </ac:spMkLst>
        </pc:spChg>
        <pc:spChg chg="mod">
          <ac:chgData name="Scott Sink" userId="007532c1-63dd-4f29-9932-df3a9735f490" providerId="ADAL" clId="{9E3C8D41-9167-4835-BE54-6D463ECD2610}" dt="2023-04-16T12:40:41.727" v="3995" actId="1076"/>
          <ac:spMkLst>
            <pc:docMk/>
            <pc:sldMk cId="2889788747" sldId="3644"/>
            <ac:spMk id="9" creationId="{926FB801-CD90-7F98-0CA5-E19FB15D5DE5}"/>
          </ac:spMkLst>
        </pc:spChg>
        <pc:spChg chg="del">
          <ac:chgData name="Scott Sink" userId="007532c1-63dd-4f29-9932-df3a9735f490" providerId="ADAL" clId="{9E3C8D41-9167-4835-BE54-6D463ECD2610}" dt="2023-04-16T12:40:43.979" v="3997" actId="478"/>
          <ac:spMkLst>
            <pc:docMk/>
            <pc:sldMk cId="2889788747" sldId="3644"/>
            <ac:spMk id="10" creationId="{0887097B-0A23-77C0-7777-77C31A2320CC}"/>
          </ac:spMkLst>
        </pc:spChg>
        <pc:spChg chg="del">
          <ac:chgData name="Scott Sink" userId="007532c1-63dd-4f29-9932-df3a9735f490" providerId="ADAL" clId="{9E3C8D41-9167-4835-BE54-6D463ECD2610}" dt="2023-04-16T12:40:46.711" v="3998" actId="478"/>
          <ac:spMkLst>
            <pc:docMk/>
            <pc:sldMk cId="2889788747" sldId="3644"/>
            <ac:spMk id="13" creationId="{D2C8B7B4-3F66-C491-4202-5847BB92CD56}"/>
          </ac:spMkLst>
        </pc:spChg>
        <pc:picChg chg="del">
          <ac:chgData name="Scott Sink" userId="007532c1-63dd-4f29-9932-df3a9735f490" providerId="ADAL" clId="{9E3C8D41-9167-4835-BE54-6D463ECD2610}" dt="2023-04-16T12:41:50.422" v="4007" actId="21"/>
          <ac:picMkLst>
            <pc:docMk/>
            <pc:sldMk cId="2889788747" sldId="3644"/>
            <ac:picMk id="7" creationId="{7F83A7FA-F154-1DEF-367E-16361EC2A58B}"/>
          </ac:picMkLst>
        </pc:picChg>
        <pc:picChg chg="del">
          <ac:chgData name="Scott Sink" userId="007532c1-63dd-4f29-9932-df3a9735f490" providerId="ADAL" clId="{9E3C8D41-9167-4835-BE54-6D463ECD2610}" dt="2023-04-16T12:40:47.667" v="3999" actId="478"/>
          <ac:picMkLst>
            <pc:docMk/>
            <pc:sldMk cId="2889788747" sldId="3644"/>
            <ac:picMk id="12" creationId="{7C5DCDD9-7A0E-5D2C-70A8-97A8B66E702C}"/>
          </ac:picMkLst>
        </pc:picChg>
      </pc:sldChg>
      <pc:sldChg chg="modSp add del mod">
        <pc:chgData name="Scott Sink" userId="007532c1-63dd-4f29-9932-df3a9735f490" providerId="ADAL" clId="{9E3C8D41-9167-4835-BE54-6D463ECD2610}" dt="2023-04-18T05:39:01.717" v="7427" actId="47"/>
        <pc:sldMkLst>
          <pc:docMk/>
          <pc:sldMk cId="1161909416" sldId="3645"/>
        </pc:sldMkLst>
        <pc:spChg chg="mod">
          <ac:chgData name="Scott Sink" userId="007532c1-63dd-4f29-9932-df3a9735f490" providerId="ADAL" clId="{9E3C8D41-9167-4835-BE54-6D463ECD2610}" dt="2023-04-18T04:59:30.869" v="7017" actId="1076"/>
          <ac:spMkLst>
            <pc:docMk/>
            <pc:sldMk cId="1161909416" sldId="3645"/>
            <ac:spMk id="2" creationId="{F6395FD3-AEC9-38D5-6BCF-29CA797C1DA8}"/>
          </ac:spMkLst>
        </pc:spChg>
      </pc:sldChg>
      <pc:sldChg chg="modSp add mod ord">
        <pc:chgData name="Scott Sink" userId="007532c1-63dd-4f29-9932-df3a9735f490" providerId="ADAL" clId="{9E3C8D41-9167-4835-BE54-6D463ECD2610}" dt="2023-04-18T04:58:21.328" v="7001" actId="1076"/>
        <pc:sldMkLst>
          <pc:docMk/>
          <pc:sldMk cId="3272150657" sldId="3646"/>
        </pc:sldMkLst>
        <pc:spChg chg="mod">
          <ac:chgData name="Scott Sink" userId="007532c1-63dd-4f29-9932-df3a9735f490" providerId="ADAL" clId="{9E3C8D41-9167-4835-BE54-6D463ECD2610}" dt="2023-04-18T04:58:21.328" v="7001" actId="1076"/>
          <ac:spMkLst>
            <pc:docMk/>
            <pc:sldMk cId="3272150657" sldId="3646"/>
            <ac:spMk id="2" creationId="{307FFB44-A94F-8F15-9B33-A981E0FC333B}"/>
          </ac:spMkLst>
        </pc:spChg>
      </pc:sldChg>
      <pc:sldChg chg="add del ord">
        <pc:chgData name="Scott Sink" userId="007532c1-63dd-4f29-9932-df3a9735f490" providerId="ADAL" clId="{9E3C8D41-9167-4835-BE54-6D463ECD2610}" dt="2023-04-18T04:58:13.563" v="7000" actId="47"/>
        <pc:sldMkLst>
          <pc:docMk/>
          <pc:sldMk cId="1679376843" sldId="3647"/>
        </pc:sldMkLst>
      </pc:sldChg>
      <pc:sldChg chg="modSp add mod">
        <pc:chgData name="Scott Sink" userId="007532c1-63dd-4f29-9932-df3a9735f490" providerId="ADAL" clId="{9E3C8D41-9167-4835-BE54-6D463ECD2610}" dt="2023-04-18T04:59:52.436" v="7020" actId="1076"/>
        <pc:sldMkLst>
          <pc:docMk/>
          <pc:sldMk cId="185777116" sldId="3648"/>
        </pc:sldMkLst>
        <pc:spChg chg="mod">
          <ac:chgData name="Scott Sink" userId="007532c1-63dd-4f29-9932-df3a9735f490" providerId="ADAL" clId="{9E3C8D41-9167-4835-BE54-6D463ECD2610}" dt="2023-04-18T04:59:50.088" v="7019" actId="1076"/>
          <ac:spMkLst>
            <pc:docMk/>
            <pc:sldMk cId="185777116" sldId="3648"/>
            <ac:spMk id="9" creationId="{34020909-B335-4740-B2D4-7A86DAD00B92}"/>
          </ac:spMkLst>
        </pc:spChg>
        <pc:picChg chg="mod">
          <ac:chgData name="Scott Sink" userId="007532c1-63dd-4f29-9932-df3a9735f490" providerId="ADAL" clId="{9E3C8D41-9167-4835-BE54-6D463ECD2610}" dt="2023-04-18T04:59:52.436" v="7020" actId="1076"/>
          <ac:picMkLst>
            <pc:docMk/>
            <pc:sldMk cId="185777116" sldId="3648"/>
            <ac:picMk id="8" creationId="{37708129-4383-47E5-ADD3-E2BA2410DFC1}"/>
          </ac:picMkLst>
        </pc:picChg>
      </pc:sldChg>
      <pc:sldChg chg="add del">
        <pc:chgData name="Scott Sink" userId="007532c1-63dd-4f29-9932-df3a9735f490" providerId="ADAL" clId="{9E3C8D41-9167-4835-BE54-6D463ECD2610}" dt="2023-04-18T05:19:19.002" v="7042" actId="47"/>
        <pc:sldMkLst>
          <pc:docMk/>
          <pc:sldMk cId="3256193297" sldId="3649"/>
        </pc:sldMkLst>
      </pc:sldChg>
      <pc:sldChg chg="add del">
        <pc:chgData name="Scott Sink" userId="007532c1-63dd-4f29-9932-df3a9735f490" providerId="ADAL" clId="{9E3C8D41-9167-4835-BE54-6D463ECD2610}" dt="2023-04-18T05:19:20.960" v="7043" actId="47"/>
        <pc:sldMkLst>
          <pc:docMk/>
          <pc:sldMk cId="3432461859" sldId="3650"/>
        </pc:sldMkLst>
      </pc:sldChg>
      <pc:sldChg chg="modSp add mod ord">
        <pc:chgData name="Scott Sink" userId="007532c1-63dd-4f29-9932-df3a9735f490" providerId="ADAL" clId="{9E3C8D41-9167-4835-BE54-6D463ECD2610}" dt="2023-04-18T04:58:30.670" v="7003" actId="1076"/>
        <pc:sldMkLst>
          <pc:docMk/>
          <pc:sldMk cId="2570695360" sldId="3651"/>
        </pc:sldMkLst>
        <pc:spChg chg="mod">
          <ac:chgData name="Scott Sink" userId="007532c1-63dd-4f29-9932-df3a9735f490" providerId="ADAL" clId="{9E3C8D41-9167-4835-BE54-6D463ECD2610}" dt="2023-04-18T04:58:28.033" v="7002" actId="1076"/>
          <ac:spMkLst>
            <pc:docMk/>
            <pc:sldMk cId="2570695360" sldId="3651"/>
            <ac:spMk id="2" creationId="{7248CB3C-56B8-4C44-9434-116CC669CEF2}"/>
          </ac:spMkLst>
        </pc:spChg>
        <pc:picChg chg="mod">
          <ac:chgData name="Scott Sink" userId="007532c1-63dd-4f29-9932-df3a9735f490" providerId="ADAL" clId="{9E3C8D41-9167-4835-BE54-6D463ECD2610}" dt="2023-04-18T04:58:30.670" v="7003" actId="1076"/>
          <ac:picMkLst>
            <pc:docMk/>
            <pc:sldMk cId="2570695360" sldId="3651"/>
            <ac:picMk id="9" creationId="{3939DB02-E441-41F0-B686-BA6E94C7293E}"/>
          </ac:picMkLst>
        </pc:picChg>
      </pc:sldChg>
      <pc:sldChg chg="modSp add del mod">
        <pc:chgData name="Scott Sink" userId="007532c1-63dd-4f29-9932-df3a9735f490" providerId="ADAL" clId="{9E3C8D41-9167-4835-BE54-6D463ECD2610}" dt="2023-04-18T05:19:13.180" v="7039" actId="47"/>
        <pc:sldMkLst>
          <pc:docMk/>
          <pc:sldMk cId="421832102" sldId="3652"/>
        </pc:sldMkLst>
        <pc:spChg chg="mod">
          <ac:chgData name="Scott Sink" userId="007532c1-63dd-4f29-9932-df3a9735f490" providerId="ADAL" clId="{9E3C8D41-9167-4835-BE54-6D463ECD2610}" dt="2023-04-18T04:59:37.291" v="7018" actId="1076"/>
          <ac:spMkLst>
            <pc:docMk/>
            <pc:sldMk cId="421832102" sldId="3652"/>
            <ac:spMk id="38" creationId="{2E249BA2-91DD-43CC-B3A5-CAF6901154C3}"/>
          </ac:spMkLst>
        </pc:spChg>
      </pc:sldChg>
      <pc:sldChg chg="add del">
        <pc:chgData name="Scott Sink" userId="007532c1-63dd-4f29-9932-df3a9735f490" providerId="ADAL" clId="{9E3C8D41-9167-4835-BE54-6D463ECD2610}" dt="2023-04-18T05:19:14.439" v="7040" actId="47"/>
        <pc:sldMkLst>
          <pc:docMk/>
          <pc:sldMk cId="798270204" sldId="3653"/>
        </pc:sldMkLst>
      </pc:sldChg>
      <pc:sldChg chg="add del">
        <pc:chgData name="Scott Sink" userId="007532c1-63dd-4f29-9932-df3a9735f490" providerId="ADAL" clId="{9E3C8D41-9167-4835-BE54-6D463ECD2610}" dt="2023-04-18T05:19:15.378" v="7041" actId="47"/>
        <pc:sldMkLst>
          <pc:docMk/>
          <pc:sldMk cId="959326453" sldId="3654"/>
        </pc:sldMkLst>
      </pc:sldChg>
      <pc:sldChg chg="addSp modSp add mod ord setBg">
        <pc:chgData name="Scott Sink" userId="007532c1-63dd-4f29-9932-df3a9735f490" providerId="ADAL" clId="{9E3C8D41-9167-4835-BE54-6D463ECD2610}" dt="2023-04-18T05:27:41.972" v="7168" actId="403"/>
        <pc:sldMkLst>
          <pc:docMk/>
          <pc:sldMk cId="3947518335" sldId="3655"/>
        </pc:sldMkLst>
        <pc:spChg chg="add mod">
          <ac:chgData name="Scott Sink" userId="007532c1-63dd-4f29-9932-df3a9735f490" providerId="ADAL" clId="{9E3C8D41-9167-4835-BE54-6D463ECD2610}" dt="2023-04-18T05:27:05.665" v="7166" actId="14861"/>
          <ac:spMkLst>
            <pc:docMk/>
            <pc:sldMk cId="3947518335" sldId="3655"/>
            <ac:spMk id="2" creationId="{00FC3847-7A5F-21BE-EE54-9889BFE6F70C}"/>
          </ac:spMkLst>
        </pc:spChg>
        <pc:spChg chg="mod">
          <ac:chgData name="Scott Sink" userId="007532c1-63dd-4f29-9932-df3a9735f490" providerId="ADAL" clId="{9E3C8D41-9167-4835-BE54-6D463ECD2610}" dt="2023-04-18T04:45:08.225" v="6561" actId="20577"/>
          <ac:spMkLst>
            <pc:docMk/>
            <pc:sldMk cId="3947518335" sldId="3655"/>
            <ac:spMk id="32770" creationId="{51541A2F-4644-4582-A265-ADA3DA420C09}"/>
          </ac:spMkLst>
        </pc:spChg>
        <pc:spChg chg="mod">
          <ac:chgData name="Scott Sink" userId="007532c1-63dd-4f29-9932-df3a9735f490" providerId="ADAL" clId="{9E3C8D41-9167-4835-BE54-6D463ECD2610}" dt="2023-04-16T13:48:58.319" v="4406" actId="14100"/>
          <ac:spMkLst>
            <pc:docMk/>
            <pc:sldMk cId="3947518335" sldId="3655"/>
            <ac:spMk id="32774" creationId="{701EC359-212E-4C5E-ABC8-77289C3BB86A}"/>
          </ac:spMkLst>
        </pc:spChg>
        <pc:spChg chg="mod">
          <ac:chgData name="Scott Sink" userId="007532c1-63dd-4f29-9932-df3a9735f490" providerId="ADAL" clId="{9E3C8D41-9167-4835-BE54-6D463ECD2610}" dt="2023-04-18T05:27:41.972" v="7168" actId="403"/>
          <ac:spMkLst>
            <pc:docMk/>
            <pc:sldMk cId="3947518335" sldId="3655"/>
            <ac:spMk id="32775" creationId="{EA04140F-F634-4E63-AD0D-02D7AC8108E2}"/>
          </ac:spMkLst>
        </pc:spChg>
        <pc:picChg chg="mod">
          <ac:chgData name="Scott Sink" userId="007532c1-63dd-4f29-9932-df3a9735f490" providerId="ADAL" clId="{9E3C8D41-9167-4835-BE54-6D463ECD2610}" dt="2023-04-16T13:49:20.421" v="4409" actId="1076"/>
          <ac:picMkLst>
            <pc:docMk/>
            <pc:sldMk cId="3947518335" sldId="3655"/>
            <ac:picMk id="32771" creationId="{22333A62-2AB6-4607-B53B-86B3CEF1A762}"/>
          </ac:picMkLst>
        </pc:picChg>
        <pc:picChg chg="mod">
          <ac:chgData name="Scott Sink" userId="007532c1-63dd-4f29-9932-df3a9735f490" providerId="ADAL" clId="{9E3C8D41-9167-4835-BE54-6D463ECD2610}" dt="2023-04-16T13:49:03.342" v="4408" actId="14100"/>
          <ac:picMkLst>
            <pc:docMk/>
            <pc:sldMk cId="3947518335" sldId="3655"/>
            <ac:picMk id="32773" creationId="{5B66B811-9340-4F02-A2A7-C57E6CBC1699}"/>
          </ac:picMkLst>
        </pc:picChg>
      </pc:sldChg>
      <pc:sldChg chg="addSp delSp modSp add del mod ord">
        <pc:chgData name="Scott Sink" userId="007532c1-63dd-4f29-9932-df3a9735f490" providerId="ADAL" clId="{9E3C8D41-9167-4835-BE54-6D463ECD2610}" dt="2023-04-17T11:10:20.694" v="4800" actId="47"/>
        <pc:sldMkLst>
          <pc:docMk/>
          <pc:sldMk cId="375268922" sldId="3656"/>
        </pc:sldMkLst>
        <pc:spChg chg="mod">
          <ac:chgData name="Scott Sink" userId="007532c1-63dd-4f29-9932-df3a9735f490" providerId="ADAL" clId="{9E3C8D41-9167-4835-BE54-6D463ECD2610}" dt="2023-04-16T13:48:07.209" v="4401" actId="1076"/>
          <ac:spMkLst>
            <pc:docMk/>
            <pc:sldMk cId="375268922" sldId="3656"/>
            <ac:spMk id="2" creationId="{E16934D1-4766-4636-9744-38DFE7C062DB}"/>
          </ac:spMkLst>
        </pc:spChg>
        <pc:spChg chg="mod">
          <ac:chgData name="Scott Sink" userId="007532c1-63dd-4f29-9932-df3a9735f490" providerId="ADAL" clId="{9E3C8D41-9167-4835-BE54-6D463ECD2610}" dt="2023-04-16T13:16:47.506" v="4400" actId="14100"/>
          <ac:spMkLst>
            <pc:docMk/>
            <pc:sldMk cId="375268922" sldId="3656"/>
            <ac:spMk id="6" creationId="{36FF8C66-FC6A-4EA5-BD1A-193810C96FA2}"/>
          </ac:spMkLst>
        </pc:spChg>
        <pc:spChg chg="add mod">
          <ac:chgData name="Scott Sink" userId="007532c1-63dd-4f29-9932-df3a9735f490" providerId="ADAL" clId="{9E3C8D41-9167-4835-BE54-6D463ECD2610}" dt="2023-04-16T14:17:01.662" v="4464" actId="14100"/>
          <ac:spMkLst>
            <pc:docMk/>
            <pc:sldMk cId="375268922" sldId="3656"/>
            <ac:spMk id="8" creationId="{2BDED742-A85C-86AB-7198-D62F339146D2}"/>
          </ac:spMkLst>
        </pc:spChg>
        <pc:picChg chg="del">
          <ac:chgData name="Scott Sink" userId="007532c1-63dd-4f29-9932-df3a9735f490" providerId="ADAL" clId="{9E3C8D41-9167-4835-BE54-6D463ECD2610}" dt="2023-04-16T13:50:24.044" v="4418" actId="478"/>
          <ac:picMkLst>
            <pc:docMk/>
            <pc:sldMk cId="375268922" sldId="3656"/>
            <ac:picMk id="4" creationId="{5358590C-F166-4FC0-A35D-68AC195CE7EB}"/>
          </ac:picMkLst>
        </pc:picChg>
        <pc:picChg chg="del mod modCrop">
          <ac:chgData name="Scott Sink" userId="007532c1-63dd-4f29-9932-df3a9735f490" providerId="ADAL" clId="{9E3C8D41-9167-4835-BE54-6D463ECD2610}" dt="2023-04-16T13:51:41.606" v="4419" actId="478"/>
          <ac:picMkLst>
            <pc:docMk/>
            <pc:sldMk cId="375268922" sldId="3656"/>
            <ac:picMk id="5" creationId="{74460A09-2259-4B41-ABC4-C7E76A656255}"/>
          </ac:picMkLst>
        </pc:picChg>
      </pc:sldChg>
      <pc:sldChg chg="add ord">
        <pc:chgData name="Scott Sink" userId="007532c1-63dd-4f29-9932-df3a9735f490" providerId="ADAL" clId="{9E3C8D41-9167-4835-BE54-6D463ECD2610}" dt="2023-04-16T13:15:48.197" v="4369"/>
        <pc:sldMkLst>
          <pc:docMk/>
          <pc:sldMk cId="3739493891" sldId="3657"/>
        </pc:sldMkLst>
      </pc:sldChg>
      <pc:sldChg chg="modSp add mod ord">
        <pc:chgData name="Scott Sink" userId="007532c1-63dd-4f29-9932-df3a9735f490" providerId="ADAL" clId="{9E3C8D41-9167-4835-BE54-6D463ECD2610}" dt="2023-04-16T13:15:48.197" v="4369"/>
        <pc:sldMkLst>
          <pc:docMk/>
          <pc:sldMk cId="3863865067" sldId="3658"/>
        </pc:sldMkLst>
        <pc:spChg chg="mod">
          <ac:chgData name="Scott Sink" userId="007532c1-63dd-4f29-9932-df3a9735f490" providerId="ADAL" clId="{9E3C8D41-9167-4835-BE54-6D463ECD2610}" dt="2023-04-16T13:15:06.594" v="4367" actId="20577"/>
          <ac:spMkLst>
            <pc:docMk/>
            <pc:sldMk cId="3863865067" sldId="3658"/>
            <ac:spMk id="2" creationId="{30A35D7C-4A4C-4BC4-8196-266A8F0FC532}"/>
          </ac:spMkLst>
        </pc:spChg>
        <pc:spChg chg="mod">
          <ac:chgData name="Scott Sink" userId="007532c1-63dd-4f29-9932-df3a9735f490" providerId="ADAL" clId="{9E3C8D41-9167-4835-BE54-6D463ECD2610}" dt="2023-04-16T13:14:57.260" v="4362" actId="20577"/>
          <ac:spMkLst>
            <pc:docMk/>
            <pc:sldMk cId="3863865067" sldId="3658"/>
            <ac:spMk id="3" creationId="{C6FEC06B-4B1F-468B-8AE2-FD2C6CE6ED0B}"/>
          </ac:spMkLst>
        </pc:spChg>
      </pc:sldChg>
      <pc:sldChg chg="modSp add mod">
        <pc:chgData name="Scott Sink" userId="007532c1-63dd-4f29-9932-df3a9735f490" providerId="ADAL" clId="{9E3C8D41-9167-4835-BE54-6D463ECD2610}" dt="2023-04-18T04:45:45.471" v="6574" actId="20577"/>
        <pc:sldMkLst>
          <pc:docMk/>
          <pc:sldMk cId="1072721253" sldId="3659"/>
        </pc:sldMkLst>
        <pc:spChg chg="mod">
          <ac:chgData name="Scott Sink" userId="007532c1-63dd-4f29-9932-df3a9735f490" providerId="ADAL" clId="{9E3C8D41-9167-4835-BE54-6D463ECD2610}" dt="2023-04-16T13:52:41.502" v="4432" actId="1076"/>
          <ac:spMkLst>
            <pc:docMk/>
            <pc:sldMk cId="1072721253" sldId="3659"/>
            <ac:spMk id="2" creationId="{E16934D1-4766-4636-9744-38DFE7C062DB}"/>
          </ac:spMkLst>
        </pc:spChg>
        <pc:spChg chg="mod">
          <ac:chgData name="Scott Sink" userId="007532c1-63dd-4f29-9932-df3a9735f490" providerId="ADAL" clId="{9E3C8D41-9167-4835-BE54-6D463ECD2610}" dt="2023-04-18T04:45:45.471" v="6574" actId="20577"/>
          <ac:spMkLst>
            <pc:docMk/>
            <pc:sldMk cId="1072721253" sldId="3659"/>
            <ac:spMk id="6" creationId="{36FF8C66-FC6A-4EA5-BD1A-193810C96FA2}"/>
          </ac:spMkLst>
        </pc:spChg>
        <pc:picChg chg="mod">
          <ac:chgData name="Scott Sink" userId="007532c1-63dd-4f29-9932-df3a9735f490" providerId="ADAL" clId="{9E3C8D41-9167-4835-BE54-6D463ECD2610}" dt="2023-04-16T13:52:33.653" v="4428" actId="1076"/>
          <ac:picMkLst>
            <pc:docMk/>
            <pc:sldMk cId="1072721253" sldId="3659"/>
            <ac:picMk id="7" creationId="{41D6C16A-75ED-423C-8A27-E9E197B48863}"/>
          </ac:picMkLst>
        </pc:picChg>
        <pc:picChg chg="mod">
          <ac:chgData name="Scott Sink" userId="007532c1-63dd-4f29-9932-df3a9735f490" providerId="ADAL" clId="{9E3C8D41-9167-4835-BE54-6D463ECD2610}" dt="2023-04-16T13:53:05.177" v="4438" actId="14100"/>
          <ac:picMkLst>
            <pc:docMk/>
            <pc:sldMk cId="1072721253" sldId="3659"/>
            <ac:picMk id="11" creationId="{611B1C87-DE42-20D8-8004-3DE73F89B3BB}"/>
          </ac:picMkLst>
        </pc:picChg>
      </pc:sldChg>
      <pc:sldChg chg="modSp add del mod">
        <pc:chgData name="Scott Sink" userId="007532c1-63dd-4f29-9932-df3a9735f490" providerId="ADAL" clId="{9E3C8D41-9167-4835-BE54-6D463ECD2610}" dt="2023-04-16T13:07:43.894" v="4291" actId="47"/>
        <pc:sldMkLst>
          <pc:docMk/>
          <pc:sldMk cId="3242819266" sldId="3659"/>
        </pc:sldMkLst>
        <pc:spChg chg="mod">
          <ac:chgData name="Scott Sink" userId="007532c1-63dd-4f29-9932-df3a9735f490" providerId="ADAL" clId="{9E3C8D41-9167-4835-BE54-6D463ECD2610}" dt="2023-04-16T13:07:23.383" v="4287" actId="20577"/>
          <ac:spMkLst>
            <pc:docMk/>
            <pc:sldMk cId="3242819266" sldId="3659"/>
            <ac:spMk id="3" creationId="{67CEF2ED-861B-430F-A3C6-400B840E512D}"/>
          </ac:spMkLst>
        </pc:spChg>
      </pc:sldChg>
      <pc:sldChg chg="modSp add mod">
        <pc:chgData name="Scott Sink" userId="007532c1-63dd-4f29-9932-df3a9735f490" providerId="ADAL" clId="{9E3C8D41-9167-4835-BE54-6D463ECD2610}" dt="2023-04-16T13:53:38.710" v="4449" actId="403"/>
        <pc:sldMkLst>
          <pc:docMk/>
          <pc:sldMk cId="3398813940" sldId="3660"/>
        </pc:sldMkLst>
        <pc:spChg chg="mod">
          <ac:chgData name="Scott Sink" userId="007532c1-63dd-4f29-9932-df3a9735f490" providerId="ADAL" clId="{9E3C8D41-9167-4835-BE54-6D463ECD2610}" dt="2023-04-16T13:53:13.351" v="4441" actId="404"/>
          <ac:spMkLst>
            <pc:docMk/>
            <pc:sldMk cId="3398813940" sldId="3660"/>
            <ac:spMk id="2" creationId="{E16934D1-4766-4636-9744-38DFE7C062DB}"/>
          </ac:spMkLst>
        </pc:spChg>
        <pc:spChg chg="mod">
          <ac:chgData name="Scott Sink" userId="007532c1-63dd-4f29-9932-df3a9735f490" providerId="ADAL" clId="{9E3C8D41-9167-4835-BE54-6D463ECD2610}" dt="2023-04-16T13:53:24.587" v="4444" actId="1076"/>
          <ac:spMkLst>
            <pc:docMk/>
            <pc:sldMk cId="3398813940" sldId="3660"/>
            <ac:spMk id="3" creationId="{5652A912-D306-C331-E00E-2982F0EA53C3}"/>
          </ac:spMkLst>
        </pc:spChg>
        <pc:spChg chg="mod">
          <ac:chgData name="Scott Sink" userId="007532c1-63dd-4f29-9932-df3a9735f490" providerId="ADAL" clId="{9E3C8D41-9167-4835-BE54-6D463ECD2610}" dt="2023-04-16T13:53:38.710" v="4449" actId="403"/>
          <ac:spMkLst>
            <pc:docMk/>
            <pc:sldMk cId="3398813940" sldId="3660"/>
            <ac:spMk id="6" creationId="{36FF8C66-FC6A-4EA5-BD1A-193810C96FA2}"/>
          </ac:spMkLst>
        </pc:spChg>
        <pc:picChg chg="mod">
          <ac:chgData name="Scott Sink" userId="007532c1-63dd-4f29-9932-df3a9735f490" providerId="ADAL" clId="{9E3C8D41-9167-4835-BE54-6D463ECD2610}" dt="2023-04-16T13:53:21.210" v="4443" actId="1076"/>
          <ac:picMkLst>
            <pc:docMk/>
            <pc:sldMk cId="3398813940" sldId="3660"/>
            <ac:picMk id="4" creationId="{61054061-4AB2-ADB4-BB62-00C331E4A7F8}"/>
          </ac:picMkLst>
        </pc:picChg>
        <pc:picChg chg="mod">
          <ac:chgData name="Scott Sink" userId="007532c1-63dd-4f29-9932-df3a9735f490" providerId="ADAL" clId="{9E3C8D41-9167-4835-BE54-6D463ECD2610}" dt="2023-04-16T13:53:15.779" v="4442" actId="1076"/>
          <ac:picMkLst>
            <pc:docMk/>
            <pc:sldMk cId="3398813940" sldId="3660"/>
            <ac:picMk id="7" creationId="{41D6C16A-75ED-423C-8A27-E9E197B48863}"/>
          </ac:picMkLst>
        </pc:picChg>
      </pc:sldChg>
      <pc:sldChg chg="modSp add mod">
        <pc:chgData name="Scott Sink" userId="007532c1-63dd-4f29-9932-df3a9735f490" providerId="ADAL" clId="{9E3C8D41-9167-4835-BE54-6D463ECD2610}" dt="2023-04-16T13:54:10.370" v="4454" actId="1076"/>
        <pc:sldMkLst>
          <pc:docMk/>
          <pc:sldMk cId="3679005368" sldId="3661"/>
        </pc:sldMkLst>
        <pc:spChg chg="mod">
          <ac:chgData name="Scott Sink" userId="007532c1-63dd-4f29-9932-df3a9735f490" providerId="ADAL" clId="{9E3C8D41-9167-4835-BE54-6D463ECD2610}" dt="2023-04-16T13:54:10.370" v="4454" actId="1076"/>
          <ac:spMkLst>
            <pc:docMk/>
            <pc:sldMk cId="3679005368" sldId="3661"/>
            <ac:spMk id="2" creationId="{E16934D1-4766-4636-9744-38DFE7C062DB}"/>
          </ac:spMkLst>
        </pc:spChg>
        <pc:picChg chg="mod">
          <ac:chgData name="Scott Sink" userId="007532c1-63dd-4f29-9932-df3a9735f490" providerId="ADAL" clId="{9E3C8D41-9167-4835-BE54-6D463ECD2610}" dt="2023-04-16T13:54:02.254" v="4450" actId="1076"/>
          <ac:picMkLst>
            <pc:docMk/>
            <pc:sldMk cId="3679005368" sldId="3661"/>
            <ac:picMk id="7" creationId="{41D6C16A-75ED-423C-8A27-E9E197B48863}"/>
          </ac:picMkLst>
        </pc:picChg>
      </pc:sldChg>
      <pc:sldChg chg="add">
        <pc:chgData name="Scott Sink" userId="007532c1-63dd-4f29-9932-df3a9735f490" providerId="ADAL" clId="{9E3C8D41-9167-4835-BE54-6D463ECD2610}" dt="2023-04-16T13:52:24.333" v="4427"/>
        <pc:sldMkLst>
          <pc:docMk/>
          <pc:sldMk cId="1146381394" sldId="3662"/>
        </pc:sldMkLst>
      </pc:sldChg>
      <pc:sldChg chg="addSp delSp modSp new mod ord">
        <pc:chgData name="Scott Sink" userId="007532c1-63dd-4f29-9932-df3a9735f490" providerId="ADAL" clId="{9E3C8D41-9167-4835-BE54-6D463ECD2610}" dt="2023-04-17T11:20:46.424" v="4935"/>
        <pc:sldMkLst>
          <pc:docMk/>
          <pc:sldMk cId="2959633687" sldId="3663"/>
        </pc:sldMkLst>
        <pc:spChg chg="mod">
          <ac:chgData name="Scott Sink" userId="007532c1-63dd-4f29-9932-df3a9735f490" providerId="ADAL" clId="{9E3C8D41-9167-4835-BE54-6D463ECD2610}" dt="2023-04-17T11:17:38.959" v="4921" actId="1076"/>
          <ac:spMkLst>
            <pc:docMk/>
            <pc:sldMk cId="2959633687" sldId="3663"/>
            <ac:spMk id="2" creationId="{67476C7C-4F10-1DE8-4C73-302EF178FB5D}"/>
          </ac:spMkLst>
        </pc:spChg>
        <pc:spChg chg="del">
          <ac:chgData name="Scott Sink" userId="007532c1-63dd-4f29-9932-df3a9735f490" providerId="ADAL" clId="{9E3C8D41-9167-4835-BE54-6D463ECD2610}" dt="2023-04-17T11:17:16.826" v="4899" actId="478"/>
          <ac:spMkLst>
            <pc:docMk/>
            <pc:sldMk cId="2959633687" sldId="3663"/>
            <ac:spMk id="3" creationId="{E6E18D96-5042-3D47-4566-7EFA2EEC1E0E}"/>
          </ac:spMkLst>
        </pc:spChg>
        <pc:picChg chg="add mod">
          <ac:chgData name="Scott Sink" userId="007532c1-63dd-4f29-9932-df3a9735f490" providerId="ADAL" clId="{9E3C8D41-9167-4835-BE54-6D463ECD2610}" dt="2023-04-17T11:20:09.561" v="4929" actId="1076"/>
          <ac:picMkLst>
            <pc:docMk/>
            <pc:sldMk cId="2959633687" sldId="3663"/>
            <ac:picMk id="5" creationId="{7B7497E7-1678-08D9-B4D5-5BF346BD14C4}"/>
          </ac:picMkLst>
        </pc:picChg>
        <pc:picChg chg="add mod">
          <ac:chgData name="Scott Sink" userId="007532c1-63dd-4f29-9932-df3a9735f490" providerId="ADAL" clId="{9E3C8D41-9167-4835-BE54-6D463ECD2610}" dt="2023-04-17T11:17:28.011" v="4902"/>
          <ac:picMkLst>
            <pc:docMk/>
            <pc:sldMk cId="2959633687" sldId="3663"/>
            <ac:picMk id="6" creationId="{5C32B693-A392-2DAF-7F59-7D249F49ACA4}"/>
          </ac:picMkLst>
        </pc:picChg>
        <pc:picChg chg="add mod">
          <ac:chgData name="Scott Sink" userId="007532c1-63dd-4f29-9932-df3a9735f490" providerId="ADAL" clId="{9E3C8D41-9167-4835-BE54-6D463ECD2610}" dt="2023-04-17T11:20:12.369" v="4930" actId="1076"/>
          <ac:picMkLst>
            <pc:docMk/>
            <pc:sldMk cId="2959633687" sldId="3663"/>
            <ac:picMk id="8" creationId="{44037144-35D8-5ED7-49E7-49D4907F210E}"/>
          </ac:picMkLst>
        </pc:picChg>
      </pc:sldChg>
      <pc:sldChg chg="modSp new mod ord">
        <pc:chgData name="Scott Sink" userId="007532c1-63dd-4f29-9932-df3a9735f490" providerId="ADAL" clId="{9E3C8D41-9167-4835-BE54-6D463ECD2610}" dt="2023-04-18T04:48:04.245" v="6674"/>
        <pc:sldMkLst>
          <pc:docMk/>
          <pc:sldMk cId="2028695767" sldId="3664"/>
        </pc:sldMkLst>
        <pc:spChg chg="mod">
          <ac:chgData name="Scott Sink" userId="007532c1-63dd-4f29-9932-df3a9735f490" providerId="ADAL" clId="{9E3C8D41-9167-4835-BE54-6D463ECD2610}" dt="2023-04-17T11:57:32.053" v="6080" actId="404"/>
          <ac:spMkLst>
            <pc:docMk/>
            <pc:sldMk cId="2028695767" sldId="3664"/>
            <ac:spMk id="2" creationId="{A83814B1-BB64-7D08-F6AA-F774E104D131}"/>
          </ac:spMkLst>
        </pc:spChg>
        <pc:spChg chg="mod">
          <ac:chgData name="Scott Sink" userId="007532c1-63dd-4f29-9932-df3a9735f490" providerId="ADAL" clId="{9E3C8D41-9167-4835-BE54-6D463ECD2610}" dt="2023-04-17T11:58:20.909" v="6229" actId="20577"/>
          <ac:spMkLst>
            <pc:docMk/>
            <pc:sldMk cId="2028695767" sldId="3664"/>
            <ac:spMk id="3" creationId="{8485AC5E-DF63-55C1-7873-F09D5EB25D5F}"/>
          </ac:spMkLst>
        </pc:spChg>
      </pc:sldChg>
      <pc:sldChg chg="modSp new del mod">
        <pc:chgData name="Scott Sink" userId="007532c1-63dd-4f29-9932-df3a9735f490" providerId="ADAL" clId="{9E3C8D41-9167-4835-BE54-6D463ECD2610}" dt="2023-04-17T11:37:45.014" v="5008" actId="47"/>
        <pc:sldMkLst>
          <pc:docMk/>
          <pc:sldMk cId="3443499363" sldId="3665"/>
        </pc:sldMkLst>
        <pc:spChg chg="mod">
          <ac:chgData name="Scott Sink" userId="007532c1-63dd-4f29-9932-df3a9735f490" providerId="ADAL" clId="{9E3C8D41-9167-4835-BE54-6D463ECD2610}" dt="2023-04-17T11:37:24.274" v="5004" actId="1076"/>
          <ac:spMkLst>
            <pc:docMk/>
            <pc:sldMk cId="3443499363" sldId="3665"/>
            <ac:spMk id="3" creationId="{0E2B97E4-E743-14C9-0C34-DC409D9FEA52}"/>
          </ac:spMkLst>
        </pc:spChg>
      </pc:sldChg>
      <pc:sldChg chg="modSp add mod ord">
        <pc:chgData name="Scott Sink" userId="007532c1-63dd-4f29-9932-df3a9735f490" providerId="ADAL" clId="{9E3C8D41-9167-4835-BE54-6D463ECD2610}" dt="2023-04-18T04:50:32.629" v="6847" actId="5793"/>
        <pc:sldMkLst>
          <pc:docMk/>
          <pc:sldMk cId="1419495277" sldId="3666"/>
        </pc:sldMkLst>
        <pc:spChg chg="mod">
          <ac:chgData name="Scott Sink" userId="007532c1-63dd-4f29-9932-df3a9735f490" providerId="ADAL" clId="{9E3C8D41-9167-4835-BE54-6D463ECD2610}" dt="2023-04-18T04:50:32.629" v="6847" actId="5793"/>
          <ac:spMkLst>
            <pc:docMk/>
            <pc:sldMk cId="1419495277" sldId="3666"/>
            <ac:spMk id="2" creationId="{632B48E4-BBAE-520C-32C1-3FDA85F868A1}"/>
          </ac:spMkLst>
        </pc:spChg>
        <pc:spChg chg="mod">
          <ac:chgData name="Scott Sink" userId="007532c1-63dd-4f29-9932-df3a9735f490" providerId="ADAL" clId="{9E3C8D41-9167-4835-BE54-6D463ECD2610}" dt="2023-04-18T04:50:17.931" v="6817" actId="20577"/>
          <ac:spMkLst>
            <pc:docMk/>
            <pc:sldMk cId="1419495277" sldId="3666"/>
            <ac:spMk id="11" creationId="{4CE7A314-EA89-FE08-FFF0-E0F74CBDC1E7}"/>
          </ac:spMkLst>
        </pc:spChg>
      </pc:sldChg>
      <pc:sldChg chg="del">
        <pc:chgData name="Scott Sink" userId="007532c1-63dd-4f29-9932-df3a9735f490" providerId="ADAL" clId="{9E3C8D41-9167-4835-BE54-6D463ECD2610}" dt="2023-04-17T11:48:21.779" v="5331"/>
        <pc:sldMkLst>
          <pc:docMk/>
          <pc:sldMk cId="2243180750" sldId="3667"/>
        </pc:sldMkLst>
      </pc:sldChg>
      <pc:sldChg chg="addSp delSp modSp add mod ord">
        <pc:chgData name="Scott Sink" userId="007532c1-63dd-4f29-9932-df3a9735f490" providerId="ADAL" clId="{9E3C8D41-9167-4835-BE54-6D463ECD2610}" dt="2023-04-17T14:42:14.964" v="6518" actId="20577"/>
        <pc:sldMkLst>
          <pc:docMk/>
          <pc:sldMk cId="4128266154" sldId="3667"/>
        </pc:sldMkLst>
        <pc:spChg chg="mod">
          <ac:chgData name="Scott Sink" userId="007532c1-63dd-4f29-9932-df3a9735f490" providerId="ADAL" clId="{9E3C8D41-9167-4835-BE54-6D463ECD2610}" dt="2023-04-17T14:42:14.964" v="6518" actId="20577"/>
          <ac:spMkLst>
            <pc:docMk/>
            <pc:sldMk cId="4128266154" sldId="3667"/>
            <ac:spMk id="11" creationId="{4CE7A314-EA89-FE08-FFF0-E0F74CBDC1E7}"/>
          </ac:spMkLst>
        </pc:spChg>
        <pc:picChg chg="add del mod">
          <ac:chgData name="Scott Sink" userId="007532c1-63dd-4f29-9932-df3a9735f490" providerId="ADAL" clId="{9E3C8D41-9167-4835-BE54-6D463ECD2610}" dt="2023-04-17T14:41:15.898" v="6365" actId="478"/>
          <ac:picMkLst>
            <pc:docMk/>
            <pc:sldMk cId="4128266154" sldId="3667"/>
            <ac:picMk id="5" creationId="{E8492292-DCCE-3CF2-C946-56CF331827CD}"/>
          </ac:picMkLst>
        </pc:picChg>
      </pc:sldChg>
      <pc:sldChg chg="modSp add mod ord">
        <pc:chgData name="Scott Sink" userId="007532c1-63dd-4f29-9932-df3a9735f490" providerId="ADAL" clId="{9E3C8D41-9167-4835-BE54-6D463ECD2610}" dt="2023-04-18T04:52:05.248" v="6875" actId="20577"/>
        <pc:sldMkLst>
          <pc:docMk/>
          <pc:sldMk cId="2086568190" sldId="3668"/>
        </pc:sldMkLst>
        <pc:spChg chg="mod">
          <ac:chgData name="Scott Sink" userId="007532c1-63dd-4f29-9932-df3a9735f490" providerId="ADAL" clId="{9E3C8D41-9167-4835-BE54-6D463ECD2610}" dt="2023-04-18T04:52:05.248" v="6875" actId="20577"/>
          <ac:spMkLst>
            <pc:docMk/>
            <pc:sldMk cId="2086568190" sldId="3668"/>
            <ac:spMk id="11" creationId="{4CE7A314-EA89-FE08-FFF0-E0F74CBDC1E7}"/>
          </ac:spMkLst>
        </pc:spChg>
      </pc:sldChg>
      <pc:sldChg chg="addSp delSp modSp add mod ord">
        <pc:chgData name="Scott Sink" userId="007532c1-63dd-4f29-9932-df3a9735f490" providerId="ADAL" clId="{9E3C8D41-9167-4835-BE54-6D463ECD2610}" dt="2023-04-18T04:57:54.790" v="6999" actId="1076"/>
        <pc:sldMkLst>
          <pc:docMk/>
          <pc:sldMk cId="1298455054" sldId="3669"/>
        </pc:sldMkLst>
        <pc:spChg chg="del mod">
          <ac:chgData name="Scott Sink" userId="007532c1-63dd-4f29-9932-df3a9735f490" providerId="ADAL" clId="{9E3C8D41-9167-4835-BE54-6D463ECD2610}" dt="2023-04-18T04:55:40.214" v="6974" actId="478"/>
          <ac:spMkLst>
            <pc:docMk/>
            <pc:sldMk cId="1298455054" sldId="3669"/>
            <ac:spMk id="2" creationId="{9A3A1A8B-27BF-538A-AE46-03936D172E6D}"/>
          </ac:spMkLst>
        </pc:spChg>
        <pc:spChg chg="mod">
          <ac:chgData name="Scott Sink" userId="007532c1-63dd-4f29-9932-df3a9735f490" providerId="ADAL" clId="{9E3C8D41-9167-4835-BE54-6D463ECD2610}" dt="2023-04-18T04:53:24.666" v="6921" actId="20577"/>
          <ac:spMkLst>
            <pc:docMk/>
            <pc:sldMk cId="1298455054" sldId="3669"/>
            <ac:spMk id="4" creationId="{F890E94B-3FC1-3939-775E-B6AC4F3C7C07}"/>
          </ac:spMkLst>
        </pc:spChg>
        <pc:spChg chg="add del mod">
          <ac:chgData name="Scott Sink" userId="007532c1-63dd-4f29-9932-df3a9735f490" providerId="ADAL" clId="{9E3C8D41-9167-4835-BE54-6D463ECD2610}" dt="2023-04-18T04:55:42.577" v="6975" actId="478"/>
          <ac:spMkLst>
            <pc:docMk/>
            <pc:sldMk cId="1298455054" sldId="3669"/>
            <ac:spMk id="7" creationId="{5893DFF5-627B-7E44-5422-1BD15AD23A10}"/>
          </ac:spMkLst>
        </pc:spChg>
        <pc:spChg chg="mod">
          <ac:chgData name="Scott Sink" userId="007532c1-63dd-4f29-9932-df3a9735f490" providerId="ADAL" clId="{9E3C8D41-9167-4835-BE54-6D463ECD2610}" dt="2023-04-18T04:57:41.191" v="6995" actId="1076"/>
          <ac:spMkLst>
            <pc:docMk/>
            <pc:sldMk cId="1298455054" sldId="3669"/>
            <ac:spMk id="15" creationId="{E4A69D80-730C-74A6-D1A3-D43426CEBD2E}"/>
          </ac:spMkLst>
        </pc:spChg>
        <pc:spChg chg="mod">
          <ac:chgData name="Scott Sink" userId="007532c1-63dd-4f29-9932-df3a9735f490" providerId="ADAL" clId="{9E3C8D41-9167-4835-BE54-6D463ECD2610}" dt="2023-04-18T04:57:44.224" v="6996" actId="1076"/>
          <ac:spMkLst>
            <pc:docMk/>
            <pc:sldMk cId="1298455054" sldId="3669"/>
            <ac:spMk id="16" creationId="{7667B206-BB8B-7F34-EC9A-CAAAED8D4A97}"/>
          </ac:spMkLst>
        </pc:spChg>
        <pc:picChg chg="del">
          <ac:chgData name="Scott Sink" userId="007532c1-63dd-4f29-9932-df3a9735f490" providerId="ADAL" clId="{9E3C8D41-9167-4835-BE54-6D463ECD2610}" dt="2023-04-18T04:55:55.115" v="6980" actId="478"/>
          <ac:picMkLst>
            <pc:docMk/>
            <pc:sldMk cId="1298455054" sldId="3669"/>
            <ac:picMk id="6" creationId="{24B18EBD-CCB0-51CA-2AC1-E1A5080A5AA0}"/>
          </ac:picMkLst>
        </pc:picChg>
        <pc:picChg chg="add mod">
          <ac:chgData name="Scott Sink" userId="007532c1-63dd-4f29-9932-df3a9735f490" providerId="ADAL" clId="{9E3C8D41-9167-4835-BE54-6D463ECD2610}" dt="2023-04-18T04:57:54.790" v="6999" actId="1076"/>
          <ac:picMkLst>
            <pc:docMk/>
            <pc:sldMk cId="1298455054" sldId="3669"/>
            <ac:picMk id="9" creationId="{9D56553E-B883-1665-1992-F90645049732}"/>
          </ac:picMkLst>
        </pc:picChg>
        <pc:picChg chg="del">
          <ac:chgData name="Scott Sink" userId="007532c1-63dd-4f29-9932-df3a9735f490" providerId="ADAL" clId="{9E3C8D41-9167-4835-BE54-6D463ECD2610}" dt="2023-04-18T04:55:57.433" v="6981" actId="478"/>
          <ac:picMkLst>
            <pc:docMk/>
            <pc:sldMk cId="1298455054" sldId="3669"/>
            <ac:picMk id="12" creationId="{7C5DCDD9-7A0E-5D2C-70A8-97A8B66E702C}"/>
          </ac:picMkLst>
        </pc:picChg>
        <pc:picChg chg="mod">
          <ac:chgData name="Scott Sink" userId="007532c1-63dd-4f29-9932-df3a9735f490" providerId="ADAL" clId="{9E3C8D41-9167-4835-BE54-6D463ECD2610}" dt="2023-04-18T04:57:30.408" v="6991" actId="1076"/>
          <ac:picMkLst>
            <pc:docMk/>
            <pc:sldMk cId="1298455054" sldId="3669"/>
            <ac:picMk id="14" creationId="{8CADF318-01A5-2FFC-4F34-36B025AA5D1C}"/>
          </ac:picMkLst>
        </pc:picChg>
        <pc:picChg chg="del">
          <ac:chgData name="Scott Sink" userId="007532c1-63dd-4f29-9932-df3a9735f490" providerId="ADAL" clId="{9E3C8D41-9167-4835-BE54-6D463ECD2610}" dt="2023-04-18T04:55:58.226" v="6982" actId="478"/>
          <ac:picMkLst>
            <pc:docMk/>
            <pc:sldMk cId="1298455054" sldId="3669"/>
            <ac:picMk id="18" creationId="{76377650-C309-563A-827A-C766C95C8CA0}"/>
          </ac:picMkLst>
        </pc:picChg>
      </pc:sldChg>
      <pc:sldChg chg="add">
        <pc:chgData name="Scott Sink" userId="007532c1-63dd-4f29-9932-df3a9735f490" providerId="ADAL" clId="{9E3C8D41-9167-4835-BE54-6D463ECD2610}" dt="2023-04-18T05:17:49.363" v="7022"/>
        <pc:sldMkLst>
          <pc:docMk/>
          <pc:sldMk cId="3811734949" sldId="3670"/>
        </pc:sldMkLst>
      </pc:sldChg>
      <pc:sldChg chg="add">
        <pc:chgData name="Scott Sink" userId="007532c1-63dd-4f29-9932-df3a9735f490" providerId="ADAL" clId="{9E3C8D41-9167-4835-BE54-6D463ECD2610}" dt="2023-04-18T05:17:54.280" v="7024"/>
        <pc:sldMkLst>
          <pc:docMk/>
          <pc:sldMk cId="2021225452" sldId="3671"/>
        </pc:sldMkLst>
      </pc:sldChg>
      <pc:sldChg chg="add">
        <pc:chgData name="Scott Sink" userId="007532c1-63dd-4f29-9932-df3a9735f490" providerId="ADAL" clId="{9E3C8D41-9167-4835-BE54-6D463ECD2610}" dt="2023-04-18T05:17:55.410" v="7026"/>
        <pc:sldMkLst>
          <pc:docMk/>
          <pc:sldMk cId="3881647464" sldId="3672"/>
        </pc:sldMkLst>
      </pc:sldChg>
      <pc:sldChg chg="add">
        <pc:chgData name="Scott Sink" userId="007532c1-63dd-4f29-9932-df3a9735f490" providerId="ADAL" clId="{9E3C8D41-9167-4835-BE54-6D463ECD2610}" dt="2023-04-18T05:17:58.595" v="7028"/>
        <pc:sldMkLst>
          <pc:docMk/>
          <pc:sldMk cId="2479828351" sldId="3673"/>
        </pc:sldMkLst>
      </pc:sldChg>
      <pc:sldChg chg="add">
        <pc:chgData name="Scott Sink" userId="007532c1-63dd-4f29-9932-df3a9735f490" providerId="ADAL" clId="{9E3C8D41-9167-4835-BE54-6D463ECD2610}" dt="2023-04-18T05:18:01.857" v="7030"/>
        <pc:sldMkLst>
          <pc:docMk/>
          <pc:sldMk cId="2182207974" sldId="3674"/>
        </pc:sldMkLst>
      </pc:sldChg>
      <pc:sldChg chg="add">
        <pc:chgData name="Scott Sink" userId="007532c1-63dd-4f29-9932-df3a9735f490" providerId="ADAL" clId="{9E3C8D41-9167-4835-BE54-6D463ECD2610}" dt="2023-04-18T05:18:30.563" v="7032"/>
        <pc:sldMkLst>
          <pc:docMk/>
          <pc:sldMk cId="606440969" sldId="3675"/>
        </pc:sldMkLst>
      </pc:sldChg>
      <pc:sldChg chg="add">
        <pc:chgData name="Scott Sink" userId="007532c1-63dd-4f29-9932-df3a9735f490" providerId="ADAL" clId="{9E3C8D41-9167-4835-BE54-6D463ECD2610}" dt="2023-04-18T05:18:37.188" v="7034"/>
        <pc:sldMkLst>
          <pc:docMk/>
          <pc:sldMk cId="2306352246" sldId="3676"/>
        </pc:sldMkLst>
      </pc:sldChg>
      <pc:sldChg chg="add">
        <pc:chgData name="Scott Sink" userId="007532c1-63dd-4f29-9932-df3a9735f490" providerId="ADAL" clId="{9E3C8D41-9167-4835-BE54-6D463ECD2610}" dt="2023-04-18T05:18:40.067" v="7036"/>
        <pc:sldMkLst>
          <pc:docMk/>
          <pc:sldMk cId="278842996" sldId="3677"/>
        </pc:sldMkLst>
      </pc:sldChg>
      <pc:sldChg chg="add">
        <pc:chgData name="Scott Sink" userId="007532c1-63dd-4f29-9932-df3a9735f490" providerId="ADAL" clId="{9E3C8D41-9167-4835-BE54-6D463ECD2610}" dt="2023-04-18T05:18:42.390" v="7038"/>
        <pc:sldMkLst>
          <pc:docMk/>
          <pc:sldMk cId="1312695074" sldId="3678"/>
        </pc:sldMkLst>
      </pc:sldChg>
      <pc:sldChg chg="modSp add del mod ord">
        <pc:chgData name="Scott Sink" userId="007532c1-63dd-4f29-9932-df3a9735f490" providerId="ADAL" clId="{9E3C8D41-9167-4835-BE54-6D463ECD2610}" dt="2023-04-18T10:15:52.918" v="7489" actId="47"/>
        <pc:sldMkLst>
          <pc:docMk/>
          <pc:sldMk cId="1072134111" sldId="3679"/>
        </pc:sldMkLst>
        <pc:spChg chg="mod">
          <ac:chgData name="Scott Sink" userId="007532c1-63dd-4f29-9932-df3a9735f490" providerId="ADAL" clId="{9E3C8D41-9167-4835-BE54-6D463ECD2610}" dt="2023-04-18T05:23:26.836" v="7095" actId="14100"/>
          <ac:spMkLst>
            <pc:docMk/>
            <pc:sldMk cId="1072134111" sldId="3679"/>
            <ac:spMk id="6" creationId="{F5FA34A8-ECC0-FEC2-79F6-0A4B213195AE}"/>
          </ac:spMkLst>
        </pc:spChg>
      </pc:sldChg>
      <pc:sldChg chg="addSp modSp add mod ord">
        <pc:chgData name="Scott Sink" userId="007532c1-63dd-4f29-9932-df3a9735f490" providerId="ADAL" clId="{9E3C8D41-9167-4835-BE54-6D463ECD2610}" dt="2023-04-18T05:24:24.256" v="7124" actId="688"/>
        <pc:sldMkLst>
          <pc:docMk/>
          <pc:sldMk cId="2538638" sldId="3680"/>
        </pc:sldMkLst>
        <pc:spChg chg="add mod">
          <ac:chgData name="Scott Sink" userId="007532c1-63dd-4f29-9932-df3a9735f490" providerId="ADAL" clId="{9E3C8D41-9167-4835-BE54-6D463ECD2610}" dt="2023-04-18T05:24:24.256" v="7124" actId="688"/>
          <ac:spMkLst>
            <pc:docMk/>
            <pc:sldMk cId="2538638" sldId="3680"/>
            <ac:spMk id="12" creationId="{6534C1D0-A472-CD65-9592-13113843A9E6}"/>
          </ac:spMkLst>
        </pc:spChg>
      </pc:sldChg>
      <pc:sldChg chg="add">
        <pc:chgData name="Scott Sink" userId="007532c1-63dd-4f29-9932-df3a9735f490" providerId="ADAL" clId="{9E3C8D41-9167-4835-BE54-6D463ECD2610}" dt="2023-04-18T05:23:44.058" v="7097" actId="2890"/>
        <pc:sldMkLst>
          <pc:docMk/>
          <pc:sldMk cId="2271784520" sldId="3681"/>
        </pc:sldMkLst>
      </pc:sldChg>
      <pc:sldChg chg="addSp delSp modSp new mod">
        <pc:chgData name="Scott Sink" userId="007532c1-63dd-4f29-9932-df3a9735f490" providerId="ADAL" clId="{9E3C8D41-9167-4835-BE54-6D463ECD2610}" dt="2023-04-18T05:32:22.014" v="7239" actId="1076"/>
        <pc:sldMkLst>
          <pc:docMk/>
          <pc:sldMk cId="3948270344" sldId="3682"/>
        </pc:sldMkLst>
        <pc:spChg chg="mod">
          <ac:chgData name="Scott Sink" userId="007532c1-63dd-4f29-9932-df3a9735f490" providerId="ADAL" clId="{9E3C8D41-9167-4835-BE54-6D463ECD2610}" dt="2023-04-18T05:30:51.817" v="7221" actId="20577"/>
          <ac:spMkLst>
            <pc:docMk/>
            <pc:sldMk cId="3948270344" sldId="3682"/>
            <ac:spMk id="2" creationId="{FEDC750A-1EE1-3DEC-4F45-1476C6EB148E}"/>
          </ac:spMkLst>
        </pc:spChg>
        <pc:spChg chg="del">
          <ac:chgData name="Scott Sink" userId="007532c1-63dd-4f29-9932-df3a9735f490" providerId="ADAL" clId="{9E3C8D41-9167-4835-BE54-6D463ECD2610}" dt="2023-04-18T05:29:03.034" v="7173" actId="478"/>
          <ac:spMkLst>
            <pc:docMk/>
            <pc:sldMk cId="3948270344" sldId="3682"/>
            <ac:spMk id="3" creationId="{4689BA7B-B29D-1CBA-B2BF-1D8818052263}"/>
          </ac:spMkLst>
        </pc:spChg>
        <pc:spChg chg="add mod">
          <ac:chgData name="Scott Sink" userId="007532c1-63dd-4f29-9932-df3a9735f490" providerId="ADAL" clId="{9E3C8D41-9167-4835-BE54-6D463ECD2610}" dt="2023-04-18T05:32:22.014" v="7239" actId="1076"/>
          <ac:spMkLst>
            <pc:docMk/>
            <pc:sldMk cId="3948270344" sldId="3682"/>
            <ac:spMk id="5" creationId="{ED6BB559-CF1C-588F-27BD-0A512401B924}"/>
          </ac:spMkLst>
        </pc:spChg>
        <pc:picChg chg="add del mod">
          <ac:chgData name="Scott Sink" userId="007532c1-63dd-4f29-9932-df3a9735f490" providerId="ADAL" clId="{9E3C8D41-9167-4835-BE54-6D463ECD2610}" dt="2023-04-18T05:32:17.810" v="7237" actId="478"/>
          <ac:picMkLst>
            <pc:docMk/>
            <pc:sldMk cId="3948270344" sldId="3682"/>
            <ac:picMk id="7" creationId="{DDE1F6BF-B0A7-8214-02E3-1A907CCCED0E}"/>
          </ac:picMkLst>
        </pc:picChg>
        <pc:picChg chg="add mod modCrop">
          <ac:chgData name="Scott Sink" userId="007532c1-63dd-4f29-9932-df3a9735f490" providerId="ADAL" clId="{9E3C8D41-9167-4835-BE54-6D463ECD2610}" dt="2023-04-18T05:32:19.371" v="7238" actId="1076"/>
          <ac:picMkLst>
            <pc:docMk/>
            <pc:sldMk cId="3948270344" sldId="3682"/>
            <ac:picMk id="9" creationId="{5F969AE7-1ED5-AA69-A1F8-ABE648E9D079}"/>
          </ac:picMkLst>
        </pc:picChg>
      </pc:sldChg>
      <pc:sldChg chg="modSp add mod">
        <pc:chgData name="Scott Sink" userId="007532c1-63dd-4f29-9932-df3a9735f490" providerId="ADAL" clId="{9E3C8D41-9167-4835-BE54-6D463ECD2610}" dt="2023-04-18T05:38:41.346" v="7426" actId="20577"/>
        <pc:sldMkLst>
          <pc:docMk/>
          <pc:sldMk cId="3083674499" sldId="3683"/>
        </pc:sldMkLst>
        <pc:spChg chg="mod">
          <ac:chgData name="Scott Sink" userId="007532c1-63dd-4f29-9932-df3a9735f490" providerId="ADAL" clId="{9E3C8D41-9167-4835-BE54-6D463ECD2610}" dt="2023-04-18T05:38:41.346" v="7426" actId="20577"/>
          <ac:spMkLst>
            <pc:docMk/>
            <pc:sldMk cId="3083674499" sldId="3683"/>
            <ac:spMk id="9" creationId="{5ACBF105-37A5-4EFF-9212-3A4FB813785F}"/>
          </ac:spMkLst>
        </pc:spChg>
      </pc:sldChg>
      <pc:sldChg chg="addSp delSp modSp add mod ord">
        <pc:chgData name="Scott Sink" userId="007532c1-63dd-4f29-9932-df3a9735f490" providerId="ADAL" clId="{9E3C8D41-9167-4835-BE54-6D463ECD2610}" dt="2023-04-18T10:14:40.177" v="7470"/>
        <pc:sldMkLst>
          <pc:docMk/>
          <pc:sldMk cId="1332262258" sldId="3684"/>
        </pc:sldMkLst>
        <pc:spChg chg="del">
          <ac:chgData name="Scott Sink" userId="007532c1-63dd-4f29-9932-df3a9735f490" providerId="ADAL" clId="{9E3C8D41-9167-4835-BE54-6D463ECD2610}" dt="2023-04-18T10:14:22.475" v="7466" actId="478"/>
          <ac:spMkLst>
            <pc:docMk/>
            <pc:sldMk cId="1332262258" sldId="3684"/>
            <ac:spMk id="5" creationId="{BD119F5D-19E2-ECEF-100F-32C90BA4E4C8}"/>
          </ac:spMkLst>
        </pc:spChg>
        <pc:spChg chg="del">
          <ac:chgData name="Scott Sink" userId="007532c1-63dd-4f29-9932-df3a9735f490" providerId="ADAL" clId="{9E3C8D41-9167-4835-BE54-6D463ECD2610}" dt="2023-04-18T10:14:25.840" v="7468" actId="478"/>
          <ac:spMkLst>
            <pc:docMk/>
            <pc:sldMk cId="1332262258" sldId="3684"/>
            <ac:spMk id="6" creationId="{A568D454-ADD5-6F63-CA8A-7EE4FE147F51}"/>
          </ac:spMkLst>
        </pc:spChg>
        <pc:spChg chg="add mod">
          <ac:chgData name="Scott Sink" userId="007532c1-63dd-4f29-9932-df3a9735f490" providerId="ADAL" clId="{9E3C8D41-9167-4835-BE54-6D463ECD2610}" dt="2023-04-18T10:14:30.868" v="7469" actId="1076"/>
          <ac:spMkLst>
            <pc:docMk/>
            <pc:sldMk cId="1332262258" sldId="3684"/>
            <ac:spMk id="7" creationId="{35DC65A2-8005-930F-66BF-242394314E77}"/>
          </ac:spMkLst>
        </pc:spChg>
        <pc:spChg chg="add mod">
          <ac:chgData name="Scott Sink" userId="007532c1-63dd-4f29-9932-df3a9735f490" providerId="ADAL" clId="{9E3C8D41-9167-4835-BE54-6D463ECD2610}" dt="2023-04-18T10:14:40.177" v="7470"/>
          <ac:spMkLst>
            <pc:docMk/>
            <pc:sldMk cId="1332262258" sldId="3684"/>
            <ac:spMk id="8" creationId="{342D672B-71DE-B6D0-F083-5B3A60108A00}"/>
          </ac:spMkLst>
        </pc:spChg>
      </pc:sldChg>
      <pc:sldChg chg="modSp add mod ord">
        <pc:chgData name="Scott Sink" userId="007532c1-63dd-4f29-9932-df3a9735f490" providerId="ADAL" clId="{9E3C8D41-9167-4835-BE54-6D463ECD2610}" dt="2023-04-18T10:15:14.210" v="7476" actId="1076"/>
        <pc:sldMkLst>
          <pc:docMk/>
          <pc:sldMk cId="1499946056" sldId="3685"/>
        </pc:sldMkLst>
        <pc:spChg chg="mod">
          <ac:chgData name="Scott Sink" userId="007532c1-63dd-4f29-9932-df3a9735f490" providerId="ADAL" clId="{9E3C8D41-9167-4835-BE54-6D463ECD2610}" dt="2023-04-18T10:15:14.210" v="7476" actId="1076"/>
          <ac:spMkLst>
            <pc:docMk/>
            <pc:sldMk cId="1499946056" sldId="3685"/>
            <ac:spMk id="8" creationId="{342D672B-71DE-B6D0-F083-5B3A60108A00}"/>
          </ac:spMkLst>
        </pc:spChg>
      </pc:sldChg>
      <pc:sldChg chg="modSp add mod ord">
        <pc:chgData name="Scott Sink" userId="007532c1-63dd-4f29-9932-df3a9735f490" providerId="ADAL" clId="{9E3C8D41-9167-4835-BE54-6D463ECD2610}" dt="2023-04-18T10:15:33.681" v="7483" actId="1076"/>
        <pc:sldMkLst>
          <pc:docMk/>
          <pc:sldMk cId="2305056567" sldId="3686"/>
        </pc:sldMkLst>
        <pc:spChg chg="mod">
          <ac:chgData name="Scott Sink" userId="007532c1-63dd-4f29-9932-df3a9735f490" providerId="ADAL" clId="{9E3C8D41-9167-4835-BE54-6D463ECD2610}" dt="2023-04-18T10:15:33.681" v="7483" actId="1076"/>
          <ac:spMkLst>
            <pc:docMk/>
            <pc:sldMk cId="2305056567" sldId="3686"/>
            <ac:spMk id="8" creationId="{342D672B-71DE-B6D0-F083-5B3A60108A00}"/>
          </ac:spMkLst>
        </pc:spChg>
      </pc:sldChg>
      <pc:sldChg chg="modSp add mod ord">
        <pc:chgData name="Scott Sink" userId="007532c1-63dd-4f29-9932-df3a9735f490" providerId="ADAL" clId="{9E3C8D41-9167-4835-BE54-6D463ECD2610}" dt="2023-04-18T10:15:59.136" v="7491" actId="14100"/>
        <pc:sldMkLst>
          <pc:docMk/>
          <pc:sldMk cId="355314602" sldId="3687"/>
        </pc:sldMkLst>
        <pc:spChg chg="mod">
          <ac:chgData name="Scott Sink" userId="007532c1-63dd-4f29-9932-df3a9735f490" providerId="ADAL" clId="{9E3C8D41-9167-4835-BE54-6D463ECD2610}" dt="2023-04-18T10:15:59.136" v="7491" actId="14100"/>
          <ac:spMkLst>
            <pc:docMk/>
            <pc:sldMk cId="355314602" sldId="3687"/>
            <ac:spMk id="8" creationId="{342D672B-71DE-B6D0-F083-5B3A60108A00}"/>
          </ac:spMkLst>
        </pc:spChg>
      </pc:sldChg>
      <pc:sldMasterChg chg="add del addSldLayout delSldLayout">
        <pc:chgData name="Scott Sink" userId="007532c1-63dd-4f29-9932-df3a9735f490" providerId="ADAL" clId="{9E3C8D41-9167-4835-BE54-6D463ECD2610}" dt="2023-04-16T12:23:52.694" v="3721" actId="27028"/>
        <pc:sldMasterMkLst>
          <pc:docMk/>
          <pc:sldMasterMk cId="791928117" sldId="2147483660"/>
        </pc:sldMasterMkLst>
        <pc:sldLayoutChg chg="add del">
          <pc:chgData name="Scott Sink" userId="007532c1-63dd-4f29-9932-df3a9735f490" providerId="ADAL" clId="{9E3C8D41-9167-4835-BE54-6D463ECD2610}" dt="2023-04-16T12:23:52.694" v="3721" actId="27028"/>
          <pc:sldLayoutMkLst>
            <pc:docMk/>
            <pc:sldMasterMk cId="791928117" sldId="2147483660"/>
            <pc:sldLayoutMk cId="3346467675" sldId="2147483662"/>
          </pc:sldLayoutMkLst>
        </pc:sldLayoutChg>
      </pc:sldMasterChg>
      <pc:sldMasterChg chg="modSldLayout">
        <pc:chgData name="Scott Sink" userId="007532c1-63dd-4f29-9932-df3a9735f490" providerId="ADAL" clId="{9E3C8D41-9167-4835-BE54-6D463ECD2610}" dt="2023-04-18T05:18:40.062" v="7035" actId="27028"/>
        <pc:sldMasterMkLst>
          <pc:docMk/>
          <pc:sldMasterMk cId="2012861398" sldId="2147483667"/>
        </pc:sldMasterMkLst>
        <pc:sldLayoutChg chg="replId">
          <pc:chgData name="Scott Sink" userId="007532c1-63dd-4f29-9932-df3a9735f490" providerId="ADAL" clId="{9E3C8D41-9167-4835-BE54-6D463ECD2610}" dt="2023-04-18T05:18:40.062" v="7035" actId="27028"/>
          <pc:sldLayoutMkLst>
            <pc:docMk/>
            <pc:sldMasterMk cId="2012861398" sldId="2147483667"/>
            <pc:sldLayoutMk cId="3413945563" sldId="2147497900"/>
          </pc:sldLayoutMkLst>
        </pc:sldLayoutChg>
      </pc:sldMasterChg>
      <pc:sldMasterChg chg="add addSldLayout">
        <pc:chgData name="Scott Sink" userId="007532c1-63dd-4f29-9932-df3a9735f490" providerId="ADAL" clId="{9E3C8D41-9167-4835-BE54-6D463ECD2610}" dt="2023-04-16T12:27:26.370" v="3731" actId="27028"/>
        <pc:sldMasterMkLst>
          <pc:docMk/>
          <pc:sldMasterMk cId="1310371896" sldId="2147483726"/>
        </pc:sldMasterMkLst>
        <pc:sldLayoutChg chg="add">
          <pc:chgData name="Scott Sink" userId="007532c1-63dd-4f29-9932-df3a9735f490" providerId="ADAL" clId="{9E3C8D41-9167-4835-BE54-6D463ECD2610}" dt="2023-04-16T12:27:26.370" v="3731" actId="27028"/>
          <pc:sldLayoutMkLst>
            <pc:docMk/>
            <pc:sldMasterMk cId="1310371896" sldId="2147483726"/>
            <pc:sldLayoutMk cId="613140667" sldId="2147483728"/>
          </pc:sldLayoutMkLst>
        </pc:sldLayoutChg>
      </pc:sldMasterChg>
      <pc:sldMasterChg chg="add addSldLayout">
        <pc:chgData name="Scott Sink" userId="007532c1-63dd-4f29-9932-df3a9735f490" providerId="ADAL" clId="{9E3C8D41-9167-4835-BE54-6D463ECD2610}" dt="2023-04-18T05:18:37.185" v="7033" actId="27028"/>
        <pc:sldMasterMkLst>
          <pc:docMk/>
          <pc:sldMasterMk cId="0" sldId="2147484151"/>
        </pc:sldMasterMkLst>
        <pc:sldLayoutChg chg="add">
          <pc:chgData name="Scott Sink" userId="007532c1-63dd-4f29-9932-df3a9735f490" providerId="ADAL" clId="{9E3C8D41-9167-4835-BE54-6D463ECD2610}" dt="2023-04-18T05:18:37.185" v="7033" actId="27028"/>
          <pc:sldLayoutMkLst>
            <pc:docMk/>
            <pc:sldMasterMk cId="0" sldId="2147484151"/>
            <pc:sldLayoutMk cId="3956399100" sldId="2147497324"/>
          </pc:sldLayoutMkLst>
        </pc:sldLayoutChg>
      </pc:sldMasterChg>
      <pc:sldMasterChg chg="add addSldLayout">
        <pc:chgData name="Scott Sink" userId="007532c1-63dd-4f29-9932-df3a9735f490" providerId="ADAL" clId="{9E3C8D41-9167-4835-BE54-6D463ECD2610}" dt="2023-04-16T13:52:24.310" v="4426" actId="27028"/>
        <pc:sldMasterMkLst>
          <pc:docMk/>
          <pc:sldMasterMk cId="0" sldId="2147484577"/>
        </pc:sldMasterMkLst>
        <pc:sldLayoutChg chg="add">
          <pc:chgData name="Scott Sink" userId="007532c1-63dd-4f29-9932-df3a9735f490" providerId="ADAL" clId="{9E3C8D41-9167-4835-BE54-6D463ECD2610}" dt="2023-04-16T13:52:16.760" v="4420" actId="27028"/>
          <pc:sldLayoutMkLst>
            <pc:docMk/>
            <pc:sldMasterMk cId="0" sldId="2147484577"/>
            <pc:sldLayoutMk cId="0" sldId="2147484578"/>
          </pc:sldLayoutMkLst>
        </pc:sldLayoutChg>
        <pc:sldLayoutChg chg="add">
          <pc:chgData name="Scott Sink" userId="007532c1-63dd-4f29-9932-df3a9735f490" providerId="ADAL" clId="{9E3C8D41-9167-4835-BE54-6D463ECD2610}" dt="2023-04-16T13:52:24.310" v="4426" actId="27028"/>
          <pc:sldLayoutMkLst>
            <pc:docMk/>
            <pc:sldMasterMk cId="0" sldId="2147484577"/>
            <pc:sldLayoutMk cId="3919479767" sldId="2147497880"/>
          </pc:sldLayoutMkLst>
        </pc:sldLayoutChg>
      </pc:sldMasterChg>
      <pc:sldMasterChg chg="del delSldLayout">
        <pc:chgData name="Scott Sink" userId="007532c1-63dd-4f29-9932-df3a9735f490" providerId="ADAL" clId="{9E3C8D41-9167-4835-BE54-6D463ECD2610}" dt="2023-04-18T05:20:35.368" v="7061" actId="47"/>
        <pc:sldMasterMkLst>
          <pc:docMk/>
          <pc:sldMasterMk cId="0" sldId="2147488890"/>
        </pc:sldMasterMkLst>
        <pc:sldLayoutChg chg="del">
          <pc:chgData name="Scott Sink" userId="007532c1-63dd-4f29-9932-df3a9735f490" providerId="ADAL" clId="{9E3C8D41-9167-4835-BE54-6D463ECD2610}" dt="2023-04-18T05:20:35.368" v="7061" actId="47"/>
          <pc:sldLayoutMkLst>
            <pc:docMk/>
            <pc:sldMasterMk cId="0" sldId="2147488890"/>
            <pc:sldLayoutMk cId="2845541440" sldId="2147488874"/>
          </pc:sldLayoutMkLst>
        </pc:sldLayoutChg>
      </pc:sldMasterChg>
      <pc:sldMasterChg chg="addSldLayout delSldLayout">
        <pc:chgData name="Scott Sink" userId="007532c1-63dd-4f29-9932-df3a9735f490" providerId="ADAL" clId="{9E3C8D41-9167-4835-BE54-6D463ECD2610}" dt="2023-04-16T10:25:54.065" v="3400" actId="27028"/>
        <pc:sldMasterMkLst>
          <pc:docMk/>
          <pc:sldMasterMk cId="0" sldId="2147489416"/>
        </pc:sldMasterMkLst>
        <pc:sldLayoutChg chg="add">
          <pc:chgData name="Scott Sink" userId="007532c1-63dd-4f29-9932-df3a9735f490" providerId="ADAL" clId="{9E3C8D41-9167-4835-BE54-6D463ECD2610}" dt="2023-04-16T10:25:54.065" v="3400" actId="27028"/>
          <pc:sldLayoutMkLst>
            <pc:docMk/>
            <pc:sldMasterMk cId="0" sldId="2147489416"/>
            <pc:sldLayoutMk cId="301823395" sldId="2147497864"/>
          </pc:sldLayoutMkLst>
        </pc:sldLayoutChg>
        <pc:sldLayoutChg chg="add del">
          <pc:chgData name="Scott Sink" userId="007532c1-63dd-4f29-9932-df3a9735f490" providerId="ADAL" clId="{9E3C8D41-9167-4835-BE54-6D463ECD2610}" dt="2023-04-16T10:09:18.178" v="3223" actId="47"/>
          <pc:sldLayoutMkLst>
            <pc:docMk/>
            <pc:sldMasterMk cId="0" sldId="2147489416"/>
            <pc:sldLayoutMk cId="2116951058" sldId="2147497864"/>
          </pc:sldLayoutMkLst>
        </pc:sldLayoutChg>
        <pc:sldLayoutChg chg="add">
          <pc:chgData name="Scott Sink" userId="007532c1-63dd-4f29-9932-df3a9735f490" providerId="ADAL" clId="{9E3C8D41-9167-4835-BE54-6D463ECD2610}" dt="2023-04-16T10:25:52.024" v="3398" actId="27028"/>
          <pc:sldLayoutMkLst>
            <pc:docMk/>
            <pc:sldMasterMk cId="0" sldId="2147489416"/>
            <pc:sldLayoutMk cId="3202479907" sldId="2147497865"/>
          </pc:sldLayoutMkLst>
        </pc:sldLayoutChg>
      </pc:sldMasterChg>
      <pc:sldMasterChg chg="del delSldLayout">
        <pc:chgData name="Scott Sink" userId="007532c1-63dd-4f29-9932-df3a9735f490" providerId="ADAL" clId="{9E3C8D41-9167-4835-BE54-6D463ECD2610}" dt="2023-04-18T05:20:18.129" v="7056" actId="47"/>
        <pc:sldMasterMkLst>
          <pc:docMk/>
          <pc:sldMasterMk cId="0" sldId="2147489543"/>
        </pc:sldMasterMkLst>
        <pc:sldLayoutChg chg="del">
          <pc:chgData name="Scott Sink" userId="007532c1-63dd-4f29-9932-df3a9735f490" providerId="ADAL" clId="{9E3C8D41-9167-4835-BE54-6D463ECD2610}" dt="2023-04-18T05:20:18.129" v="7056" actId="47"/>
          <pc:sldLayoutMkLst>
            <pc:docMk/>
            <pc:sldMasterMk cId="0" sldId="2147489543"/>
            <pc:sldLayoutMk cId="2497441060" sldId="2147489680"/>
          </pc:sldLayoutMkLst>
        </pc:sldLayoutChg>
        <pc:sldLayoutChg chg="del">
          <pc:chgData name="Scott Sink" userId="007532c1-63dd-4f29-9932-df3a9735f490" providerId="ADAL" clId="{9E3C8D41-9167-4835-BE54-6D463ECD2610}" dt="2023-04-18T05:20:02.634" v="7049" actId="47"/>
          <pc:sldLayoutMkLst>
            <pc:docMk/>
            <pc:sldMasterMk cId="0" sldId="2147489543"/>
            <pc:sldLayoutMk cId="603556810" sldId="2147489681"/>
          </pc:sldLayoutMkLst>
        </pc:sldLayoutChg>
      </pc:sldMasterChg>
      <pc:sldMasterChg chg="add addSldLayout">
        <pc:chgData name="Scott Sink" userId="007532c1-63dd-4f29-9932-df3a9735f490" providerId="ADAL" clId="{9E3C8D41-9167-4835-BE54-6D463ECD2610}" dt="2023-04-18T05:18:30.560" v="7031" actId="27028"/>
        <pc:sldMasterMkLst>
          <pc:docMk/>
          <pc:sldMasterMk cId="0" sldId="2147497787"/>
        </pc:sldMasterMkLst>
        <pc:sldLayoutChg chg="add">
          <pc:chgData name="Scott Sink" userId="007532c1-63dd-4f29-9932-df3a9735f490" providerId="ADAL" clId="{9E3C8D41-9167-4835-BE54-6D463ECD2610}" dt="2023-04-18T05:18:30.560" v="7031" actId="27028"/>
          <pc:sldLayoutMkLst>
            <pc:docMk/>
            <pc:sldMasterMk cId="0" sldId="2147497787"/>
            <pc:sldLayoutMk cId="1798974259" sldId="2147497743"/>
          </pc:sldLayoutMkLst>
        </pc:sldLayoutChg>
      </pc:sldMasterChg>
      <pc:sldMasterChg chg="add addSldLayout">
        <pc:chgData name="Scott Sink" userId="007532c1-63dd-4f29-9932-df3a9735f490" providerId="ADAL" clId="{9E3C8D41-9167-4835-BE54-6D463ECD2610}" dt="2023-04-18T05:17:54.276" v="7023" actId="27028"/>
        <pc:sldMasterMkLst>
          <pc:docMk/>
          <pc:sldMasterMk cId="0" sldId="2147497789"/>
        </pc:sldMasterMkLst>
        <pc:sldLayoutChg chg="add">
          <pc:chgData name="Scott Sink" userId="007532c1-63dd-4f29-9932-df3a9735f490" providerId="ADAL" clId="{9E3C8D41-9167-4835-BE54-6D463ECD2610}" dt="2023-04-18T05:17:54.276" v="7023" actId="27028"/>
          <pc:sldLayoutMkLst>
            <pc:docMk/>
            <pc:sldMasterMk cId="0" sldId="2147497789"/>
            <pc:sldLayoutMk cId="0" sldId="2147497790"/>
          </pc:sldLayoutMkLst>
        </pc:sldLayoutChg>
      </pc:sldMasterChg>
      <pc:sldMasterChg chg="del delSldLayout">
        <pc:chgData name="Scott Sink" userId="007532c1-63dd-4f29-9932-df3a9735f490" providerId="ADAL" clId="{9E3C8D41-9167-4835-BE54-6D463ECD2610}" dt="2023-04-18T05:20:16.801" v="7055" actId="47"/>
        <pc:sldMasterMkLst>
          <pc:docMk/>
          <pc:sldMasterMk cId="0" sldId="2147497793"/>
        </pc:sldMasterMkLst>
        <pc:sldLayoutChg chg="del">
          <pc:chgData name="Scott Sink" userId="007532c1-63dd-4f29-9932-df3a9735f490" providerId="ADAL" clId="{9E3C8D41-9167-4835-BE54-6D463ECD2610}" dt="2023-04-18T05:20:16.801" v="7055" actId="47"/>
          <pc:sldLayoutMkLst>
            <pc:docMk/>
            <pc:sldMasterMk cId="0" sldId="2147497793"/>
            <pc:sldLayoutMk cId="0" sldId="2147483663"/>
          </pc:sldLayoutMkLst>
        </pc:sldLayoutChg>
      </pc:sldMasterChg>
      <pc:sldMasterChg chg="add addSldLayout">
        <pc:chgData name="Scott Sink" userId="007532c1-63dd-4f29-9932-df3a9735f490" providerId="ADAL" clId="{9E3C8D41-9167-4835-BE54-6D463ECD2610}" dt="2023-04-10T10:32:01.404" v="0" actId="27028"/>
        <pc:sldMasterMkLst>
          <pc:docMk/>
          <pc:sldMasterMk cId="0" sldId="2147497813"/>
        </pc:sldMasterMkLst>
        <pc:sldLayoutChg chg="add">
          <pc:chgData name="Scott Sink" userId="007532c1-63dd-4f29-9932-df3a9735f490" providerId="ADAL" clId="{9E3C8D41-9167-4835-BE54-6D463ECD2610}" dt="2023-04-10T10:32:01.404" v="0" actId="27028"/>
          <pc:sldLayoutMkLst>
            <pc:docMk/>
            <pc:sldMasterMk cId="0" sldId="2147497813"/>
            <pc:sldLayoutMk cId="0" sldId="2147497895"/>
          </pc:sldLayoutMkLst>
        </pc:sldLayoutChg>
      </pc:sldMasterChg>
      <pc:sldMasterChg chg="add addSldLayout delSldLayout">
        <pc:chgData name="Scott Sink" userId="007532c1-63dd-4f29-9932-df3a9735f490" providerId="ADAL" clId="{9E3C8D41-9167-4835-BE54-6D463ECD2610}" dt="2023-04-18T05:18:01.853" v="7029" actId="27028"/>
        <pc:sldMasterMkLst>
          <pc:docMk/>
          <pc:sldMasterMk cId="109284353" sldId="2147497892"/>
        </pc:sldMasterMkLst>
        <pc:sldLayoutChg chg="add">
          <pc:chgData name="Scott Sink" userId="007532c1-63dd-4f29-9932-df3a9735f490" providerId="ADAL" clId="{9E3C8D41-9167-4835-BE54-6D463ECD2610}" dt="2023-04-18T05:18:01.853" v="7029" actId="27028"/>
          <pc:sldLayoutMkLst>
            <pc:docMk/>
            <pc:sldMasterMk cId="109284353" sldId="2147497892"/>
            <pc:sldLayoutMk cId="1412939370" sldId="2147497883"/>
          </pc:sldLayoutMkLst>
        </pc:sldLayoutChg>
        <pc:sldLayoutChg chg="add del">
          <pc:chgData name="Scott Sink" userId="007532c1-63dd-4f29-9932-df3a9735f490" providerId="ADAL" clId="{9E3C8D41-9167-4835-BE54-6D463ECD2610}" dt="2023-04-17T11:56:19.259" v="5989" actId="47"/>
          <pc:sldLayoutMkLst>
            <pc:docMk/>
            <pc:sldMasterMk cId="109284353" sldId="2147497892"/>
            <pc:sldLayoutMk cId="2050625499" sldId="2147497884"/>
          </pc:sldLayoutMkLst>
        </pc:sldLayoutChg>
        <pc:sldLayoutChg chg="add">
          <pc:chgData name="Scott Sink" userId="007532c1-63dd-4f29-9932-df3a9735f490" providerId="ADAL" clId="{9E3C8D41-9167-4835-BE54-6D463ECD2610}" dt="2023-04-10T10:32:04.049" v="2" actId="27028"/>
          <pc:sldLayoutMkLst>
            <pc:docMk/>
            <pc:sldMasterMk cId="109284353" sldId="2147497892"/>
            <pc:sldLayoutMk cId="4104728505" sldId="2147497897"/>
          </pc:sldLayoutMkLst>
        </pc:sldLayoutChg>
        <pc:sldLayoutChg chg="add">
          <pc:chgData name="Scott Sink" userId="007532c1-63dd-4f29-9932-df3a9735f490" providerId="ADAL" clId="{9E3C8D41-9167-4835-BE54-6D463ECD2610}" dt="2023-04-16T12:50:03.177" v="4088" actId="27028"/>
          <pc:sldLayoutMkLst>
            <pc:docMk/>
            <pc:sldMasterMk cId="109284353" sldId="2147497892"/>
            <pc:sldLayoutMk cId="2587822317" sldId="2147497899"/>
          </pc:sldLayoutMkLst>
        </pc:sldLayoutChg>
      </pc:sldMasterChg>
      <pc:sldMasterChg chg="add addSldLayout">
        <pc:chgData name="Scott Sink" userId="007532c1-63dd-4f29-9932-df3a9735f490" providerId="ADAL" clId="{9E3C8D41-9167-4835-BE54-6D463ECD2610}" dt="2023-04-18T05:33:26.023" v="7240" actId="27028"/>
        <pc:sldMasterMkLst>
          <pc:docMk/>
          <pc:sldMasterMk cId="1255074819" sldId="2147497898"/>
        </pc:sldMasterMkLst>
        <pc:sldLayoutChg chg="add">
          <pc:chgData name="Scott Sink" userId="007532c1-63dd-4f29-9932-df3a9735f490" providerId="ADAL" clId="{9E3C8D41-9167-4835-BE54-6D463ECD2610}" dt="2023-04-18T05:18:40.062" v="7035" actId="27028"/>
          <pc:sldLayoutMkLst>
            <pc:docMk/>
            <pc:sldMasterMk cId="1255074819" sldId="2147497898"/>
            <pc:sldLayoutMk cId="625359071" sldId="2147483682"/>
          </pc:sldLayoutMkLst>
        </pc:sldLayoutChg>
        <pc:sldLayoutChg chg="add">
          <pc:chgData name="Scott Sink" userId="007532c1-63dd-4f29-9932-df3a9735f490" providerId="ADAL" clId="{9E3C8D41-9167-4835-BE54-6D463ECD2610}" dt="2023-04-18T05:18:42.387" v="7037" actId="27028"/>
          <pc:sldLayoutMkLst>
            <pc:docMk/>
            <pc:sldMasterMk cId="1255074819" sldId="2147497898"/>
            <pc:sldLayoutMk cId="1489461621" sldId="2147483684"/>
          </pc:sldLayoutMkLst>
        </pc:sldLayoutChg>
        <pc:sldLayoutChg chg="add">
          <pc:chgData name="Scott Sink" userId="007532c1-63dd-4f29-9932-df3a9735f490" providerId="ADAL" clId="{9E3C8D41-9167-4835-BE54-6D463ECD2610}" dt="2023-04-18T05:33:26.023" v="7240" actId="27028"/>
          <pc:sldLayoutMkLst>
            <pc:docMk/>
            <pc:sldMasterMk cId="1255074819" sldId="2147497898"/>
            <pc:sldLayoutMk cId="2977040303" sldId="2147497890"/>
          </pc:sldLayoutMkLst>
        </pc:sldLayoutChg>
      </pc:sldMasterChg>
      <pc:sldMasterChg chg="add addSldLayout">
        <pc:chgData name="Scott Sink" userId="007532c1-63dd-4f29-9932-df3a9735f490" providerId="ADAL" clId="{9E3C8D41-9167-4835-BE54-6D463ECD2610}" dt="2023-04-16T13:05:37.502" v="4262" actId="27028"/>
        <pc:sldMasterMkLst>
          <pc:docMk/>
          <pc:sldMasterMk cId="0" sldId="2147497899"/>
        </pc:sldMasterMkLst>
        <pc:sldLayoutChg chg="add">
          <pc:chgData name="Scott Sink" userId="007532c1-63dd-4f29-9932-df3a9735f490" providerId="ADAL" clId="{9E3C8D41-9167-4835-BE54-6D463ECD2610}" dt="2023-04-16T13:05:37.502" v="4262" actId="27028"/>
          <pc:sldLayoutMkLst>
            <pc:docMk/>
            <pc:sldMasterMk cId="0" sldId="2147497899"/>
            <pc:sldLayoutMk cId="4141184889" sldId="2147488886"/>
          </pc:sldLayoutMkLst>
        </pc:sldLayoutChg>
      </pc:sldMasterChg>
      <pc:sldMasterChg chg="add addSldLayout">
        <pc:chgData name="Scott Sink" userId="007532c1-63dd-4f29-9932-df3a9735f490" providerId="ADAL" clId="{9E3C8D41-9167-4835-BE54-6D463ECD2610}" dt="2023-04-16T12:24:10.819" v="3722" actId="27028"/>
        <pc:sldMasterMkLst>
          <pc:docMk/>
          <pc:sldMasterMk cId="109284353" sldId="2147497909"/>
        </pc:sldMasterMkLst>
        <pc:sldLayoutChg chg="add">
          <pc:chgData name="Scott Sink" userId="007532c1-63dd-4f29-9932-df3a9735f490" providerId="ADAL" clId="{9E3C8D41-9167-4835-BE54-6D463ECD2610}" dt="2023-04-16T12:24:10.819" v="3722" actId="27028"/>
          <pc:sldLayoutMkLst>
            <pc:docMk/>
            <pc:sldMasterMk cId="109284353" sldId="2147497909"/>
            <pc:sldLayoutMk cId="0" sldId="2147497898"/>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27ECF-BCF4-4E1E-942F-96CED9243F22}" type="doc">
      <dgm:prSet loTypeId="urn:microsoft.com/office/officeart/2005/8/layout/pyramid3" loCatId="pyramid" qsTypeId="urn:microsoft.com/office/officeart/2005/8/quickstyle/simple1" qsCatId="simple" csTypeId="urn:microsoft.com/office/officeart/2005/8/colors/accent1_2" csCatId="accent1" phldr="1"/>
      <dgm:spPr/>
    </dgm:pt>
    <dgm:pt modelId="{630BAE00-69F9-4EB1-9F81-19FDAFC06A89}">
      <dgm:prSet phldrT="[Text]"/>
      <dgm:spPr>
        <a:gradFill flip="none" rotWithShape="0">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2700000" scaled="1"/>
          <a:tileRect/>
        </a:gradFill>
      </dgm:spPr>
      <dgm:t>
        <a:bodyPr/>
        <a:lstStyle/>
        <a:p>
          <a:r>
            <a:rPr lang="en-US" dirty="0">
              <a:solidFill>
                <a:schemeClr val="bg1"/>
              </a:solidFill>
            </a:rPr>
            <a:t>Results and Benefits Realization</a:t>
          </a:r>
        </a:p>
      </dgm:t>
    </dgm:pt>
    <dgm:pt modelId="{7849CC4D-61EA-41EF-8E60-0C05C0FE6235}" type="parTrans" cxnId="{40799877-AAE2-429B-9DEE-A7597FA4F31D}">
      <dgm:prSet/>
      <dgm:spPr/>
      <dgm:t>
        <a:bodyPr/>
        <a:lstStyle/>
        <a:p>
          <a:endParaRPr lang="en-US"/>
        </a:p>
      </dgm:t>
    </dgm:pt>
    <dgm:pt modelId="{A97D0D8C-21A5-4A56-9F9F-C2F85A2CECED}" type="sibTrans" cxnId="{40799877-AAE2-429B-9DEE-A7597FA4F31D}">
      <dgm:prSet/>
      <dgm:spPr/>
      <dgm:t>
        <a:bodyPr/>
        <a:lstStyle/>
        <a:p>
          <a:endParaRPr lang="en-US"/>
        </a:p>
      </dgm:t>
    </dgm:pt>
    <dgm:pt modelId="{C4CDEE5C-2AA0-4CDF-8252-168A402A1AEA}">
      <dgm:prSet phldrT="[Text]"/>
      <dgm:spPr>
        <a:gradFill flip="none" rotWithShape="0">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dgm:spPr>
      <dgm:t>
        <a:bodyPr/>
        <a:lstStyle/>
        <a:p>
          <a:r>
            <a:rPr lang="en-US" dirty="0">
              <a:solidFill>
                <a:schemeClr val="bg1"/>
              </a:solidFill>
            </a:rPr>
            <a:t>Decisions-Actions</a:t>
          </a:r>
        </a:p>
      </dgm:t>
    </dgm:pt>
    <dgm:pt modelId="{0DF13A6D-CDE4-4E90-8A8B-81D5FC5FAAE4}" type="parTrans" cxnId="{842853D4-5F43-4558-96FA-6D3EB4E50D61}">
      <dgm:prSet/>
      <dgm:spPr/>
      <dgm:t>
        <a:bodyPr/>
        <a:lstStyle/>
        <a:p>
          <a:endParaRPr lang="en-US"/>
        </a:p>
      </dgm:t>
    </dgm:pt>
    <dgm:pt modelId="{80F70AD1-D0AF-4318-ABC3-CDE4F136321B}" type="sibTrans" cxnId="{842853D4-5F43-4558-96FA-6D3EB4E50D61}">
      <dgm:prSet/>
      <dgm:spPr/>
      <dgm:t>
        <a:bodyPr/>
        <a:lstStyle/>
        <a:p>
          <a:endParaRPr lang="en-US"/>
        </a:p>
      </dgm:t>
    </dgm:pt>
    <dgm:pt modelId="{3576BABC-2ABE-4D08-AEF7-09A28B08307C}">
      <dgm:prSet phldrT="[Text]" custT="1"/>
      <dgm:spPr>
        <a:gradFill flip="none" rotWithShape="0">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dgm:spPr>
      <dgm:t>
        <a:bodyPr anchor="t"/>
        <a:lstStyle/>
        <a:p>
          <a:r>
            <a:rPr lang="en-US" sz="1400" dirty="0"/>
            <a:t>Insights</a:t>
          </a:r>
        </a:p>
        <a:p>
          <a:r>
            <a:rPr lang="en-US" sz="1400" dirty="0"/>
            <a:t>Understanding</a:t>
          </a:r>
        </a:p>
      </dgm:t>
    </dgm:pt>
    <dgm:pt modelId="{DC666740-ACE7-4006-A51A-0B6E55DF9BCE}" type="parTrans" cxnId="{DA5E321D-20B4-4160-A371-2710F111FC66}">
      <dgm:prSet/>
      <dgm:spPr/>
      <dgm:t>
        <a:bodyPr/>
        <a:lstStyle/>
        <a:p>
          <a:endParaRPr lang="en-US"/>
        </a:p>
      </dgm:t>
    </dgm:pt>
    <dgm:pt modelId="{ADA9D09C-1E4E-445C-BC8E-90C7D05920B9}" type="sibTrans" cxnId="{DA5E321D-20B4-4160-A371-2710F111FC66}">
      <dgm:prSet/>
      <dgm:spPr/>
      <dgm:t>
        <a:bodyPr/>
        <a:lstStyle/>
        <a:p>
          <a:endParaRPr lang="en-US"/>
        </a:p>
      </dgm:t>
    </dgm:pt>
    <dgm:pt modelId="{BFE6809B-7D1F-4B32-8B02-FE2004E6106C}" type="pres">
      <dgm:prSet presAssocID="{A8627ECF-BCF4-4E1E-942F-96CED9243F22}" presName="Name0" presStyleCnt="0">
        <dgm:presLayoutVars>
          <dgm:dir/>
          <dgm:animLvl val="lvl"/>
          <dgm:resizeHandles val="exact"/>
        </dgm:presLayoutVars>
      </dgm:prSet>
      <dgm:spPr/>
    </dgm:pt>
    <dgm:pt modelId="{43B7706F-6539-4252-A9A2-852854832241}" type="pres">
      <dgm:prSet presAssocID="{630BAE00-69F9-4EB1-9F81-19FDAFC06A89}" presName="Name8" presStyleCnt="0"/>
      <dgm:spPr/>
    </dgm:pt>
    <dgm:pt modelId="{B95598C6-2DBB-4816-B490-C55F3654A64D}" type="pres">
      <dgm:prSet presAssocID="{630BAE00-69F9-4EB1-9F81-19FDAFC06A89}" presName="level" presStyleLbl="node1" presStyleIdx="0" presStyleCnt="3" custScaleX="78408" custLinFactNeighborX="-10808" custLinFactNeighborY="-1405">
        <dgm:presLayoutVars>
          <dgm:chMax val="1"/>
          <dgm:bulletEnabled val="1"/>
        </dgm:presLayoutVars>
      </dgm:prSet>
      <dgm:spPr/>
    </dgm:pt>
    <dgm:pt modelId="{BAEEB762-558B-4CFB-81D1-C62B8D8B8487}" type="pres">
      <dgm:prSet presAssocID="{630BAE00-69F9-4EB1-9F81-19FDAFC06A89}" presName="levelTx" presStyleLbl="revTx" presStyleIdx="0" presStyleCnt="0">
        <dgm:presLayoutVars>
          <dgm:chMax val="1"/>
          <dgm:bulletEnabled val="1"/>
        </dgm:presLayoutVars>
      </dgm:prSet>
      <dgm:spPr/>
    </dgm:pt>
    <dgm:pt modelId="{A72BC49A-CBC4-4451-9255-3B5D8DF55239}" type="pres">
      <dgm:prSet presAssocID="{C4CDEE5C-2AA0-4CDF-8252-168A402A1AEA}" presName="Name8" presStyleCnt="0"/>
      <dgm:spPr/>
    </dgm:pt>
    <dgm:pt modelId="{0B4C2D77-36DF-4E67-AF3C-3DA458DB7994}" type="pres">
      <dgm:prSet presAssocID="{C4CDEE5C-2AA0-4CDF-8252-168A402A1AEA}" presName="level" presStyleLbl="node1" presStyleIdx="1" presStyleCnt="3" custScaleX="115705" custLinFactNeighborX="-15188">
        <dgm:presLayoutVars>
          <dgm:chMax val="1"/>
          <dgm:bulletEnabled val="1"/>
        </dgm:presLayoutVars>
      </dgm:prSet>
      <dgm:spPr/>
    </dgm:pt>
    <dgm:pt modelId="{97C01A5A-43A8-4939-A565-FF457F0C9C8F}" type="pres">
      <dgm:prSet presAssocID="{C4CDEE5C-2AA0-4CDF-8252-168A402A1AEA}" presName="levelTx" presStyleLbl="revTx" presStyleIdx="0" presStyleCnt="0">
        <dgm:presLayoutVars>
          <dgm:chMax val="1"/>
          <dgm:bulletEnabled val="1"/>
        </dgm:presLayoutVars>
      </dgm:prSet>
      <dgm:spPr/>
    </dgm:pt>
    <dgm:pt modelId="{A20ECA1F-770D-4F57-8CF1-FC5100E1B84C}" type="pres">
      <dgm:prSet presAssocID="{3576BABC-2ABE-4D08-AEF7-09A28B08307C}" presName="Name8" presStyleCnt="0"/>
      <dgm:spPr/>
    </dgm:pt>
    <dgm:pt modelId="{E465B94F-B42D-4962-859A-EDD3C95F42F5}" type="pres">
      <dgm:prSet presAssocID="{3576BABC-2ABE-4D08-AEF7-09A28B08307C}" presName="level" presStyleLbl="node1" presStyleIdx="2" presStyleCnt="3" custScaleX="164621" custLinFactNeighborX="-29003">
        <dgm:presLayoutVars>
          <dgm:chMax val="1"/>
          <dgm:bulletEnabled val="1"/>
        </dgm:presLayoutVars>
      </dgm:prSet>
      <dgm:spPr/>
    </dgm:pt>
    <dgm:pt modelId="{C1D74E40-5810-4183-AD2D-5EBD1A1C86B7}" type="pres">
      <dgm:prSet presAssocID="{3576BABC-2ABE-4D08-AEF7-09A28B08307C}" presName="levelTx" presStyleLbl="revTx" presStyleIdx="0" presStyleCnt="0">
        <dgm:presLayoutVars>
          <dgm:chMax val="1"/>
          <dgm:bulletEnabled val="1"/>
        </dgm:presLayoutVars>
      </dgm:prSet>
      <dgm:spPr/>
    </dgm:pt>
  </dgm:ptLst>
  <dgm:cxnLst>
    <dgm:cxn modelId="{CB7A5910-7ADA-4A53-BDEE-1502EF13C302}" type="presOf" srcId="{630BAE00-69F9-4EB1-9F81-19FDAFC06A89}" destId="{BAEEB762-558B-4CFB-81D1-C62B8D8B8487}" srcOrd="1" destOrd="0" presId="urn:microsoft.com/office/officeart/2005/8/layout/pyramid3"/>
    <dgm:cxn modelId="{DA5E321D-20B4-4160-A371-2710F111FC66}" srcId="{A8627ECF-BCF4-4E1E-942F-96CED9243F22}" destId="{3576BABC-2ABE-4D08-AEF7-09A28B08307C}" srcOrd="2" destOrd="0" parTransId="{DC666740-ACE7-4006-A51A-0B6E55DF9BCE}" sibTransId="{ADA9D09C-1E4E-445C-BC8E-90C7D05920B9}"/>
    <dgm:cxn modelId="{8F672E2A-4A0C-48C2-8F56-705EEAA50FB8}" type="presOf" srcId="{3576BABC-2ABE-4D08-AEF7-09A28B08307C}" destId="{C1D74E40-5810-4183-AD2D-5EBD1A1C86B7}" srcOrd="1" destOrd="0" presId="urn:microsoft.com/office/officeart/2005/8/layout/pyramid3"/>
    <dgm:cxn modelId="{01BF7C46-A54A-45BA-BE20-9FEE583C6F7E}" type="presOf" srcId="{C4CDEE5C-2AA0-4CDF-8252-168A402A1AEA}" destId="{97C01A5A-43A8-4939-A565-FF457F0C9C8F}" srcOrd="1" destOrd="0" presId="urn:microsoft.com/office/officeart/2005/8/layout/pyramid3"/>
    <dgm:cxn modelId="{40799877-AAE2-429B-9DEE-A7597FA4F31D}" srcId="{A8627ECF-BCF4-4E1E-942F-96CED9243F22}" destId="{630BAE00-69F9-4EB1-9F81-19FDAFC06A89}" srcOrd="0" destOrd="0" parTransId="{7849CC4D-61EA-41EF-8E60-0C05C0FE6235}" sibTransId="{A97D0D8C-21A5-4A56-9F9F-C2F85A2CECED}"/>
    <dgm:cxn modelId="{427C5D59-5BB0-48F4-AE45-F86695246EF7}" type="presOf" srcId="{630BAE00-69F9-4EB1-9F81-19FDAFC06A89}" destId="{B95598C6-2DBB-4816-B490-C55F3654A64D}" srcOrd="0" destOrd="0" presId="urn:microsoft.com/office/officeart/2005/8/layout/pyramid3"/>
    <dgm:cxn modelId="{2925EDC3-EE29-421A-B1FA-3E0461EB3C46}" type="presOf" srcId="{C4CDEE5C-2AA0-4CDF-8252-168A402A1AEA}" destId="{0B4C2D77-36DF-4E67-AF3C-3DA458DB7994}" srcOrd="0" destOrd="0" presId="urn:microsoft.com/office/officeart/2005/8/layout/pyramid3"/>
    <dgm:cxn modelId="{842853D4-5F43-4558-96FA-6D3EB4E50D61}" srcId="{A8627ECF-BCF4-4E1E-942F-96CED9243F22}" destId="{C4CDEE5C-2AA0-4CDF-8252-168A402A1AEA}" srcOrd="1" destOrd="0" parTransId="{0DF13A6D-CDE4-4E90-8A8B-81D5FC5FAAE4}" sibTransId="{80F70AD1-D0AF-4318-ABC3-CDE4F136321B}"/>
    <dgm:cxn modelId="{730E4FF6-1BF3-42DB-8397-7645811079E8}" type="presOf" srcId="{3576BABC-2ABE-4D08-AEF7-09A28B08307C}" destId="{E465B94F-B42D-4962-859A-EDD3C95F42F5}" srcOrd="0" destOrd="0" presId="urn:microsoft.com/office/officeart/2005/8/layout/pyramid3"/>
    <dgm:cxn modelId="{73556CFE-0C61-4FB7-854E-5D655179540B}" type="presOf" srcId="{A8627ECF-BCF4-4E1E-942F-96CED9243F22}" destId="{BFE6809B-7D1F-4B32-8B02-FE2004E6106C}" srcOrd="0" destOrd="0" presId="urn:microsoft.com/office/officeart/2005/8/layout/pyramid3"/>
    <dgm:cxn modelId="{28BCB881-9C80-4AEA-8BB2-97D01F45EEA7}" type="presParOf" srcId="{BFE6809B-7D1F-4B32-8B02-FE2004E6106C}" destId="{43B7706F-6539-4252-A9A2-852854832241}" srcOrd="0" destOrd="0" presId="urn:microsoft.com/office/officeart/2005/8/layout/pyramid3"/>
    <dgm:cxn modelId="{3533A2DC-99B7-4EED-9865-010186A139F5}" type="presParOf" srcId="{43B7706F-6539-4252-A9A2-852854832241}" destId="{B95598C6-2DBB-4816-B490-C55F3654A64D}" srcOrd="0" destOrd="0" presId="urn:microsoft.com/office/officeart/2005/8/layout/pyramid3"/>
    <dgm:cxn modelId="{EBB83D75-B479-4A23-AE72-A3D86E9AF464}" type="presParOf" srcId="{43B7706F-6539-4252-A9A2-852854832241}" destId="{BAEEB762-558B-4CFB-81D1-C62B8D8B8487}" srcOrd="1" destOrd="0" presId="urn:microsoft.com/office/officeart/2005/8/layout/pyramid3"/>
    <dgm:cxn modelId="{6FEE7C74-2BB9-4ED9-9FF2-136D53C6779D}" type="presParOf" srcId="{BFE6809B-7D1F-4B32-8B02-FE2004E6106C}" destId="{A72BC49A-CBC4-4451-9255-3B5D8DF55239}" srcOrd="1" destOrd="0" presId="urn:microsoft.com/office/officeart/2005/8/layout/pyramid3"/>
    <dgm:cxn modelId="{4C792259-103F-41C6-9CE3-907176E30849}" type="presParOf" srcId="{A72BC49A-CBC4-4451-9255-3B5D8DF55239}" destId="{0B4C2D77-36DF-4E67-AF3C-3DA458DB7994}" srcOrd="0" destOrd="0" presId="urn:microsoft.com/office/officeart/2005/8/layout/pyramid3"/>
    <dgm:cxn modelId="{ABF2D5A9-5C58-4C4E-988E-53B6DF90F72E}" type="presParOf" srcId="{A72BC49A-CBC4-4451-9255-3B5D8DF55239}" destId="{97C01A5A-43A8-4939-A565-FF457F0C9C8F}" srcOrd="1" destOrd="0" presId="urn:microsoft.com/office/officeart/2005/8/layout/pyramid3"/>
    <dgm:cxn modelId="{57740203-C6EF-46C2-94D5-03C0A540B272}" type="presParOf" srcId="{BFE6809B-7D1F-4B32-8B02-FE2004E6106C}" destId="{A20ECA1F-770D-4F57-8CF1-FC5100E1B84C}" srcOrd="2" destOrd="0" presId="urn:microsoft.com/office/officeart/2005/8/layout/pyramid3"/>
    <dgm:cxn modelId="{34740A73-7DFD-4C52-974A-3021A03FAAC7}" type="presParOf" srcId="{A20ECA1F-770D-4F57-8CF1-FC5100E1B84C}" destId="{E465B94F-B42D-4962-859A-EDD3C95F42F5}" srcOrd="0" destOrd="0" presId="urn:microsoft.com/office/officeart/2005/8/layout/pyramid3"/>
    <dgm:cxn modelId="{9F1F4D07-08D0-4061-A863-6C24724D350B}" type="presParOf" srcId="{A20ECA1F-770D-4F57-8CF1-FC5100E1B84C}" destId="{C1D74E40-5810-4183-AD2D-5EBD1A1C86B7}" srcOrd="1" destOrd="0" presId="urn:microsoft.com/office/officeart/2005/8/layout/pyramid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CAD241-AC43-40FB-806F-20AC85328152}"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544BA2D7-BC48-47D5-BD88-8DCA02E13416}">
      <dgm:prSet phldrT="[Text]" custT="1"/>
      <dgm:spPr>
        <a:solidFill>
          <a:schemeClr val="accent5">
            <a:lumMod val="75000"/>
          </a:schemeClr>
        </a:solidFill>
      </dgm:spPr>
      <dgm:t>
        <a:bodyPr/>
        <a:lstStyle/>
        <a:p>
          <a:r>
            <a:rPr lang="en-US" sz="2000" dirty="0"/>
            <a:t>‘B’ System</a:t>
          </a:r>
        </a:p>
      </dgm:t>
    </dgm:pt>
    <dgm:pt modelId="{C6880EF1-FD27-439D-9DA2-C008FCA57006}" type="parTrans" cxnId="{853D7D18-597D-4465-9635-697329C4CA3D}">
      <dgm:prSet/>
      <dgm:spPr/>
      <dgm:t>
        <a:bodyPr/>
        <a:lstStyle/>
        <a:p>
          <a:endParaRPr lang="en-US"/>
        </a:p>
      </dgm:t>
    </dgm:pt>
    <dgm:pt modelId="{1080EBBA-F122-4A3C-B5DF-879C4675C7A7}" type="sibTrans" cxnId="{853D7D18-597D-4465-9635-697329C4CA3D}">
      <dgm:prSet/>
      <dgm:spPr/>
      <dgm:t>
        <a:bodyPr/>
        <a:lstStyle/>
        <a:p>
          <a:endParaRPr lang="en-US"/>
        </a:p>
      </dgm:t>
    </dgm:pt>
    <dgm:pt modelId="{6F06AA3C-73D5-4628-85EE-6EF79EF049BA}">
      <dgm:prSet phldrT="[Text]" custT="1"/>
      <dgm:spPr>
        <a:solidFill>
          <a:schemeClr val="accent5">
            <a:lumMod val="60000"/>
            <a:lumOff val="40000"/>
          </a:schemeClr>
        </a:solidFill>
      </dgm:spPr>
      <dgm:t>
        <a:bodyPr/>
        <a:lstStyle/>
        <a:p>
          <a:r>
            <a:rPr lang="en-US" sz="1200" dirty="0">
              <a:solidFill>
                <a:srgbClr val="008000"/>
              </a:solidFill>
            </a:rPr>
            <a:t>Measurement, Evaluation, Analytics Systems</a:t>
          </a:r>
        </a:p>
      </dgm:t>
    </dgm:pt>
    <dgm:pt modelId="{BC5ABD81-7A14-4F1A-98DB-05464C3C47A9}" type="parTrans" cxnId="{3485957E-5314-4280-9A3C-C3C97FBDA283}">
      <dgm:prSet/>
      <dgm:spPr/>
      <dgm:t>
        <a:bodyPr/>
        <a:lstStyle/>
        <a:p>
          <a:endParaRPr lang="en-US"/>
        </a:p>
      </dgm:t>
    </dgm:pt>
    <dgm:pt modelId="{54FAC532-7734-4F1F-8A46-1FE5603199D8}" type="sibTrans" cxnId="{3485957E-5314-4280-9A3C-C3C97FBDA283}">
      <dgm:prSet/>
      <dgm:spPr/>
      <dgm:t>
        <a:bodyPr/>
        <a:lstStyle/>
        <a:p>
          <a:endParaRPr lang="en-US"/>
        </a:p>
      </dgm:t>
    </dgm:pt>
    <dgm:pt modelId="{BC5FFCB4-CDDE-4490-884B-1DFC0B7F06DA}">
      <dgm:prSet phldrT="[Text]" custT="1"/>
      <dgm:spPr>
        <a:solidFill>
          <a:schemeClr val="accent5">
            <a:lumMod val="60000"/>
            <a:lumOff val="40000"/>
          </a:schemeClr>
        </a:solidFill>
      </dgm:spPr>
      <dgm:t>
        <a:bodyPr/>
        <a:lstStyle/>
        <a:p>
          <a:r>
            <a:rPr lang="en-US" sz="1200" dirty="0">
              <a:solidFill>
                <a:srgbClr val="008000"/>
              </a:solidFill>
            </a:rPr>
            <a:t>Communication and Coordination</a:t>
          </a:r>
        </a:p>
      </dgm:t>
    </dgm:pt>
    <dgm:pt modelId="{F4457827-A188-4554-BBFF-1D1894A730BE}" type="parTrans" cxnId="{38637414-45B6-486D-9C39-2DE046BA008F}">
      <dgm:prSet/>
      <dgm:spPr/>
      <dgm:t>
        <a:bodyPr/>
        <a:lstStyle/>
        <a:p>
          <a:endParaRPr lang="en-US"/>
        </a:p>
      </dgm:t>
    </dgm:pt>
    <dgm:pt modelId="{F75B6DA4-666E-4B1E-AF0A-D16A37B4D2E6}" type="sibTrans" cxnId="{38637414-45B6-486D-9C39-2DE046BA008F}">
      <dgm:prSet/>
      <dgm:spPr/>
      <dgm:t>
        <a:bodyPr/>
        <a:lstStyle/>
        <a:p>
          <a:endParaRPr lang="en-US"/>
        </a:p>
      </dgm:t>
    </dgm:pt>
    <dgm:pt modelId="{CBCD0519-C2C8-4F15-874E-7FC0D7F82203}">
      <dgm:prSet phldrT="[Text]"/>
      <dgm:spPr>
        <a:solidFill>
          <a:schemeClr val="accent5">
            <a:lumMod val="60000"/>
            <a:lumOff val="40000"/>
          </a:schemeClr>
        </a:solidFill>
      </dgm:spPr>
      <dgm:t>
        <a:bodyPr/>
        <a:lstStyle/>
        <a:p>
          <a:r>
            <a:rPr lang="en-US" dirty="0">
              <a:solidFill>
                <a:srgbClr val="008000"/>
              </a:solidFill>
            </a:rPr>
            <a:t>Motivation—Ideal Behavior Assurance</a:t>
          </a:r>
        </a:p>
      </dgm:t>
    </dgm:pt>
    <dgm:pt modelId="{7D81E17B-FDEE-4C64-B804-68ECAFBE9987}" type="parTrans" cxnId="{399666F7-57C5-47A6-AF94-5DDE95BC65AB}">
      <dgm:prSet/>
      <dgm:spPr/>
      <dgm:t>
        <a:bodyPr/>
        <a:lstStyle/>
        <a:p>
          <a:endParaRPr lang="en-US"/>
        </a:p>
      </dgm:t>
    </dgm:pt>
    <dgm:pt modelId="{6ED06E31-71D1-4161-B202-45464895893D}" type="sibTrans" cxnId="{399666F7-57C5-47A6-AF94-5DDE95BC65AB}">
      <dgm:prSet/>
      <dgm:spPr/>
      <dgm:t>
        <a:bodyPr/>
        <a:lstStyle/>
        <a:p>
          <a:endParaRPr lang="en-US"/>
        </a:p>
      </dgm:t>
    </dgm:pt>
    <dgm:pt modelId="{BF510C30-2F24-49D4-A64D-58ADF3C8CC39}">
      <dgm:prSet phldrT="[Text]"/>
      <dgm:spPr>
        <a:solidFill>
          <a:schemeClr val="accent5">
            <a:lumMod val="60000"/>
            <a:lumOff val="40000"/>
          </a:schemeClr>
        </a:solidFill>
      </dgm:spPr>
      <dgm:t>
        <a:bodyPr/>
        <a:lstStyle/>
        <a:p>
          <a:r>
            <a:rPr lang="en-US" dirty="0">
              <a:solidFill>
                <a:srgbClr val="008000"/>
              </a:solidFill>
            </a:rPr>
            <a:t>‘Technology’ Enablement—includes Process design</a:t>
          </a:r>
        </a:p>
      </dgm:t>
    </dgm:pt>
    <dgm:pt modelId="{59F52453-EA10-42EE-8175-3FDBF67A7A92}" type="parTrans" cxnId="{9C6EE42F-DAA8-467F-970B-E46033B42F0E}">
      <dgm:prSet/>
      <dgm:spPr/>
      <dgm:t>
        <a:bodyPr/>
        <a:lstStyle/>
        <a:p>
          <a:endParaRPr lang="en-US"/>
        </a:p>
      </dgm:t>
    </dgm:pt>
    <dgm:pt modelId="{1EB95F7F-2A90-4D25-89C7-CCC3BE5D348E}" type="sibTrans" cxnId="{9C6EE42F-DAA8-467F-970B-E46033B42F0E}">
      <dgm:prSet/>
      <dgm:spPr/>
      <dgm:t>
        <a:bodyPr/>
        <a:lstStyle/>
        <a:p>
          <a:endParaRPr lang="en-US"/>
        </a:p>
      </dgm:t>
    </dgm:pt>
    <dgm:pt modelId="{AF2CD2F6-1EA5-4A6F-88F2-F407F28B76B8}">
      <dgm:prSet phldrT="[Text]"/>
      <dgm:spPr>
        <a:solidFill>
          <a:schemeClr val="accent5">
            <a:lumMod val="60000"/>
            <a:lumOff val="40000"/>
          </a:schemeClr>
        </a:solidFill>
      </dgm:spPr>
      <dgm:t>
        <a:bodyPr/>
        <a:lstStyle/>
        <a:p>
          <a:r>
            <a:rPr lang="en-US" dirty="0">
              <a:solidFill>
                <a:srgbClr val="008000"/>
              </a:solidFill>
            </a:rPr>
            <a:t>Deployment Process</a:t>
          </a:r>
        </a:p>
      </dgm:t>
    </dgm:pt>
    <dgm:pt modelId="{471ECAE3-D2D0-4D76-83C1-6C2F1E6577B2}" type="parTrans" cxnId="{122FD8CB-2E4F-431C-913C-E7E6FD4244AA}">
      <dgm:prSet/>
      <dgm:spPr/>
      <dgm:t>
        <a:bodyPr/>
        <a:lstStyle/>
        <a:p>
          <a:endParaRPr lang="en-US"/>
        </a:p>
      </dgm:t>
    </dgm:pt>
    <dgm:pt modelId="{3426FDE5-0382-47B4-9B91-FE1DC4517C6E}" type="sibTrans" cxnId="{122FD8CB-2E4F-431C-913C-E7E6FD4244AA}">
      <dgm:prSet/>
      <dgm:spPr/>
      <dgm:t>
        <a:bodyPr/>
        <a:lstStyle/>
        <a:p>
          <a:endParaRPr lang="en-US"/>
        </a:p>
      </dgm:t>
    </dgm:pt>
    <dgm:pt modelId="{C911244C-1FE7-4CB8-BB2C-FFBE45568B1E}">
      <dgm:prSet phldrT="[Text]" custT="1"/>
      <dgm:spPr>
        <a:solidFill>
          <a:schemeClr val="accent5">
            <a:lumMod val="60000"/>
            <a:lumOff val="40000"/>
          </a:schemeClr>
        </a:solidFill>
      </dgm:spPr>
      <dgm:t>
        <a:bodyPr/>
        <a:lstStyle/>
        <a:p>
          <a:r>
            <a:rPr lang="en-US" sz="1600" dirty="0">
              <a:solidFill>
                <a:srgbClr val="008000"/>
              </a:solidFill>
            </a:rPr>
            <a:t>Planning System</a:t>
          </a:r>
        </a:p>
      </dgm:t>
    </dgm:pt>
    <dgm:pt modelId="{640F5512-1E0D-44A0-86B6-88238BDECB47}" type="parTrans" cxnId="{B0BB39D7-8DDC-4E04-A103-2D61307482D8}">
      <dgm:prSet/>
      <dgm:spPr/>
      <dgm:t>
        <a:bodyPr/>
        <a:lstStyle/>
        <a:p>
          <a:endParaRPr lang="en-US"/>
        </a:p>
      </dgm:t>
    </dgm:pt>
    <dgm:pt modelId="{9F410521-64E7-4FBC-8DAD-090A593FFD7B}" type="sibTrans" cxnId="{B0BB39D7-8DDC-4E04-A103-2D61307482D8}">
      <dgm:prSet/>
      <dgm:spPr/>
      <dgm:t>
        <a:bodyPr/>
        <a:lstStyle/>
        <a:p>
          <a:endParaRPr lang="en-US"/>
        </a:p>
      </dgm:t>
    </dgm:pt>
    <dgm:pt modelId="{8FA3F59D-3B2A-44DD-9D8D-CFCF109B9AA4}" type="pres">
      <dgm:prSet presAssocID="{EACAD241-AC43-40FB-806F-20AC85328152}" presName="Name0" presStyleCnt="0">
        <dgm:presLayoutVars>
          <dgm:chMax val="1"/>
          <dgm:chPref val="1"/>
          <dgm:dir/>
          <dgm:animOne val="branch"/>
          <dgm:animLvl val="lvl"/>
        </dgm:presLayoutVars>
      </dgm:prSet>
      <dgm:spPr/>
    </dgm:pt>
    <dgm:pt modelId="{9ED65A08-EA75-472A-B72A-724F8F06C40C}" type="pres">
      <dgm:prSet presAssocID="{544BA2D7-BC48-47D5-BD88-8DCA02E13416}" presName="Parent" presStyleLbl="node0" presStyleIdx="0" presStyleCnt="1">
        <dgm:presLayoutVars>
          <dgm:chMax val="6"/>
          <dgm:chPref val="6"/>
        </dgm:presLayoutVars>
      </dgm:prSet>
      <dgm:spPr/>
    </dgm:pt>
    <dgm:pt modelId="{8F93D279-9C7F-4CB5-838D-DFF8ECCD47F4}" type="pres">
      <dgm:prSet presAssocID="{6F06AA3C-73D5-4628-85EE-6EF79EF049BA}" presName="Accent1" presStyleCnt="0"/>
      <dgm:spPr/>
    </dgm:pt>
    <dgm:pt modelId="{C1AC8A29-A630-448D-8E90-1A3ECBCB2DBF}" type="pres">
      <dgm:prSet presAssocID="{6F06AA3C-73D5-4628-85EE-6EF79EF049BA}" presName="Accent" presStyleLbl="bgShp" presStyleIdx="0" presStyleCnt="6"/>
      <dgm:spPr/>
    </dgm:pt>
    <dgm:pt modelId="{57193B3D-0662-462D-ACF2-29949C32C1B5}" type="pres">
      <dgm:prSet presAssocID="{6F06AA3C-73D5-4628-85EE-6EF79EF049BA}" presName="Child1" presStyleLbl="node1" presStyleIdx="0" presStyleCnt="6">
        <dgm:presLayoutVars>
          <dgm:chMax val="0"/>
          <dgm:chPref val="0"/>
          <dgm:bulletEnabled val="1"/>
        </dgm:presLayoutVars>
      </dgm:prSet>
      <dgm:spPr/>
    </dgm:pt>
    <dgm:pt modelId="{600BCA04-4C3B-4A59-BAA2-E5E1E3DA740F}" type="pres">
      <dgm:prSet presAssocID="{BC5FFCB4-CDDE-4490-884B-1DFC0B7F06DA}" presName="Accent2" presStyleCnt="0"/>
      <dgm:spPr/>
    </dgm:pt>
    <dgm:pt modelId="{D3234B9B-359C-43EB-B438-5D18CA2422D4}" type="pres">
      <dgm:prSet presAssocID="{BC5FFCB4-CDDE-4490-884B-1DFC0B7F06DA}" presName="Accent" presStyleLbl="bgShp" presStyleIdx="1" presStyleCnt="6"/>
      <dgm:spPr/>
    </dgm:pt>
    <dgm:pt modelId="{103EEA26-172A-4F51-9113-39CC6029BC5A}" type="pres">
      <dgm:prSet presAssocID="{BC5FFCB4-CDDE-4490-884B-1DFC0B7F06DA}" presName="Child2" presStyleLbl="node1" presStyleIdx="1" presStyleCnt="6" custScaleX="113703">
        <dgm:presLayoutVars>
          <dgm:chMax val="0"/>
          <dgm:chPref val="0"/>
          <dgm:bulletEnabled val="1"/>
        </dgm:presLayoutVars>
      </dgm:prSet>
      <dgm:spPr/>
    </dgm:pt>
    <dgm:pt modelId="{697DD287-704B-4E75-B07F-D4F0E5AB0CBF}" type="pres">
      <dgm:prSet presAssocID="{CBCD0519-C2C8-4F15-874E-7FC0D7F82203}" presName="Accent3" presStyleCnt="0"/>
      <dgm:spPr/>
    </dgm:pt>
    <dgm:pt modelId="{5FDB9E4F-1BE0-487C-B299-2BA4E4A2E0FA}" type="pres">
      <dgm:prSet presAssocID="{CBCD0519-C2C8-4F15-874E-7FC0D7F82203}" presName="Accent" presStyleLbl="bgShp" presStyleIdx="2" presStyleCnt="6"/>
      <dgm:spPr/>
    </dgm:pt>
    <dgm:pt modelId="{7B592E7D-5C50-4409-9CD9-9F5A65E2AE06}" type="pres">
      <dgm:prSet presAssocID="{CBCD0519-C2C8-4F15-874E-7FC0D7F82203}" presName="Child3" presStyleLbl="node1" presStyleIdx="2" presStyleCnt="6">
        <dgm:presLayoutVars>
          <dgm:chMax val="0"/>
          <dgm:chPref val="0"/>
          <dgm:bulletEnabled val="1"/>
        </dgm:presLayoutVars>
      </dgm:prSet>
      <dgm:spPr/>
    </dgm:pt>
    <dgm:pt modelId="{CE781242-A8D4-41AE-8C58-752F279CDBDB}" type="pres">
      <dgm:prSet presAssocID="{BF510C30-2F24-49D4-A64D-58ADF3C8CC39}" presName="Accent4" presStyleCnt="0"/>
      <dgm:spPr/>
    </dgm:pt>
    <dgm:pt modelId="{4C7F3847-DE26-4414-B2D0-903F2165A3CF}" type="pres">
      <dgm:prSet presAssocID="{BF510C30-2F24-49D4-A64D-58ADF3C8CC39}" presName="Accent" presStyleLbl="bgShp" presStyleIdx="3" presStyleCnt="6"/>
      <dgm:spPr/>
    </dgm:pt>
    <dgm:pt modelId="{5C3ED493-A14C-4D65-A030-AB584DBD598B}" type="pres">
      <dgm:prSet presAssocID="{BF510C30-2F24-49D4-A64D-58ADF3C8CC39}" presName="Child4" presStyleLbl="node1" presStyleIdx="3" presStyleCnt="6">
        <dgm:presLayoutVars>
          <dgm:chMax val="0"/>
          <dgm:chPref val="0"/>
          <dgm:bulletEnabled val="1"/>
        </dgm:presLayoutVars>
      </dgm:prSet>
      <dgm:spPr/>
    </dgm:pt>
    <dgm:pt modelId="{78B616F5-5EA9-4DA9-BBAB-13910CA942EF}" type="pres">
      <dgm:prSet presAssocID="{AF2CD2F6-1EA5-4A6F-88F2-F407F28B76B8}" presName="Accent5" presStyleCnt="0"/>
      <dgm:spPr/>
    </dgm:pt>
    <dgm:pt modelId="{F59E3637-BD9E-4557-8AF3-EB5F2A808A7A}" type="pres">
      <dgm:prSet presAssocID="{AF2CD2F6-1EA5-4A6F-88F2-F407F28B76B8}" presName="Accent" presStyleLbl="bgShp" presStyleIdx="4" presStyleCnt="6"/>
      <dgm:spPr/>
    </dgm:pt>
    <dgm:pt modelId="{4B5E9092-378B-4996-AB6B-5075E01810AA}" type="pres">
      <dgm:prSet presAssocID="{AF2CD2F6-1EA5-4A6F-88F2-F407F28B76B8}" presName="Child5" presStyleLbl="node1" presStyleIdx="4" presStyleCnt="6">
        <dgm:presLayoutVars>
          <dgm:chMax val="0"/>
          <dgm:chPref val="0"/>
          <dgm:bulletEnabled val="1"/>
        </dgm:presLayoutVars>
      </dgm:prSet>
      <dgm:spPr/>
    </dgm:pt>
    <dgm:pt modelId="{F76C1441-AED5-438C-A5E5-392753CCD2AA}" type="pres">
      <dgm:prSet presAssocID="{C911244C-1FE7-4CB8-BB2C-FFBE45568B1E}" presName="Accent6" presStyleCnt="0"/>
      <dgm:spPr/>
    </dgm:pt>
    <dgm:pt modelId="{EB40221D-2C75-4971-B7AB-94071339FF5F}" type="pres">
      <dgm:prSet presAssocID="{C911244C-1FE7-4CB8-BB2C-FFBE45568B1E}" presName="Accent" presStyleLbl="bgShp" presStyleIdx="5" presStyleCnt="6"/>
      <dgm:spPr/>
    </dgm:pt>
    <dgm:pt modelId="{EDF8DD44-674E-4924-8424-95997E9E3296}" type="pres">
      <dgm:prSet presAssocID="{C911244C-1FE7-4CB8-BB2C-FFBE45568B1E}" presName="Child6" presStyleLbl="node1" presStyleIdx="5" presStyleCnt="6">
        <dgm:presLayoutVars>
          <dgm:chMax val="0"/>
          <dgm:chPref val="0"/>
          <dgm:bulletEnabled val="1"/>
        </dgm:presLayoutVars>
      </dgm:prSet>
      <dgm:spPr/>
    </dgm:pt>
  </dgm:ptLst>
  <dgm:cxnLst>
    <dgm:cxn modelId="{38637414-45B6-486D-9C39-2DE046BA008F}" srcId="{544BA2D7-BC48-47D5-BD88-8DCA02E13416}" destId="{BC5FFCB4-CDDE-4490-884B-1DFC0B7F06DA}" srcOrd="1" destOrd="0" parTransId="{F4457827-A188-4554-BBFF-1D1894A730BE}" sibTransId="{F75B6DA4-666E-4B1E-AF0A-D16A37B4D2E6}"/>
    <dgm:cxn modelId="{853D7D18-597D-4465-9635-697329C4CA3D}" srcId="{EACAD241-AC43-40FB-806F-20AC85328152}" destId="{544BA2D7-BC48-47D5-BD88-8DCA02E13416}" srcOrd="0" destOrd="0" parTransId="{C6880EF1-FD27-439D-9DA2-C008FCA57006}" sibTransId="{1080EBBA-F122-4A3C-B5DF-879C4675C7A7}"/>
    <dgm:cxn modelId="{DC14A718-F2FD-449E-949E-2396F19AA7D2}" type="presOf" srcId="{BF510C30-2F24-49D4-A64D-58ADF3C8CC39}" destId="{5C3ED493-A14C-4D65-A030-AB584DBD598B}" srcOrd="0" destOrd="0" presId="urn:microsoft.com/office/officeart/2011/layout/HexagonRadial"/>
    <dgm:cxn modelId="{9C6EE42F-DAA8-467F-970B-E46033B42F0E}" srcId="{544BA2D7-BC48-47D5-BD88-8DCA02E13416}" destId="{BF510C30-2F24-49D4-A64D-58ADF3C8CC39}" srcOrd="3" destOrd="0" parTransId="{59F52453-EA10-42EE-8175-3FDBF67A7A92}" sibTransId="{1EB95F7F-2A90-4D25-89C7-CCC3BE5D348E}"/>
    <dgm:cxn modelId="{84760561-7EA5-4121-8972-B53E0294C866}" type="presOf" srcId="{CBCD0519-C2C8-4F15-874E-7FC0D7F82203}" destId="{7B592E7D-5C50-4409-9CD9-9F5A65E2AE06}" srcOrd="0" destOrd="0" presId="urn:microsoft.com/office/officeart/2011/layout/HexagonRadial"/>
    <dgm:cxn modelId="{AEE38C50-59C2-46E3-B7B1-2CF45287A45B}" type="presOf" srcId="{EACAD241-AC43-40FB-806F-20AC85328152}" destId="{8FA3F59D-3B2A-44DD-9D8D-CFCF109B9AA4}" srcOrd="0" destOrd="0" presId="urn:microsoft.com/office/officeart/2011/layout/HexagonRadial"/>
    <dgm:cxn modelId="{3485957E-5314-4280-9A3C-C3C97FBDA283}" srcId="{544BA2D7-BC48-47D5-BD88-8DCA02E13416}" destId="{6F06AA3C-73D5-4628-85EE-6EF79EF049BA}" srcOrd="0" destOrd="0" parTransId="{BC5ABD81-7A14-4F1A-98DB-05464C3C47A9}" sibTransId="{54FAC532-7734-4F1F-8A46-1FE5603199D8}"/>
    <dgm:cxn modelId="{BFFD8E81-BD3F-417C-A338-89F057251B64}" type="presOf" srcId="{C911244C-1FE7-4CB8-BB2C-FFBE45568B1E}" destId="{EDF8DD44-674E-4924-8424-95997E9E3296}" srcOrd="0" destOrd="0" presId="urn:microsoft.com/office/officeart/2011/layout/HexagonRadial"/>
    <dgm:cxn modelId="{B4F67C85-DE9F-45CB-8EA4-07320EC92CF4}" type="presOf" srcId="{6F06AA3C-73D5-4628-85EE-6EF79EF049BA}" destId="{57193B3D-0662-462D-ACF2-29949C32C1B5}" srcOrd="0" destOrd="0" presId="urn:microsoft.com/office/officeart/2011/layout/HexagonRadial"/>
    <dgm:cxn modelId="{3522578C-A16F-4129-9CE5-15B19DC9EBBD}" type="presOf" srcId="{AF2CD2F6-1EA5-4A6F-88F2-F407F28B76B8}" destId="{4B5E9092-378B-4996-AB6B-5075E01810AA}" srcOrd="0" destOrd="0" presId="urn:microsoft.com/office/officeart/2011/layout/HexagonRadial"/>
    <dgm:cxn modelId="{E5D21AC5-1652-4C45-8E03-51F5356A2744}" type="presOf" srcId="{544BA2D7-BC48-47D5-BD88-8DCA02E13416}" destId="{9ED65A08-EA75-472A-B72A-724F8F06C40C}" srcOrd="0" destOrd="0" presId="urn:microsoft.com/office/officeart/2011/layout/HexagonRadial"/>
    <dgm:cxn modelId="{122FD8CB-2E4F-431C-913C-E7E6FD4244AA}" srcId="{544BA2D7-BC48-47D5-BD88-8DCA02E13416}" destId="{AF2CD2F6-1EA5-4A6F-88F2-F407F28B76B8}" srcOrd="4" destOrd="0" parTransId="{471ECAE3-D2D0-4D76-83C1-6C2F1E6577B2}" sibTransId="{3426FDE5-0382-47B4-9B91-FE1DC4517C6E}"/>
    <dgm:cxn modelId="{B0BB39D7-8DDC-4E04-A103-2D61307482D8}" srcId="{544BA2D7-BC48-47D5-BD88-8DCA02E13416}" destId="{C911244C-1FE7-4CB8-BB2C-FFBE45568B1E}" srcOrd="5" destOrd="0" parTransId="{640F5512-1E0D-44A0-86B6-88238BDECB47}" sibTransId="{9F410521-64E7-4FBC-8DAD-090A593FFD7B}"/>
    <dgm:cxn modelId="{BB5224DB-A46D-4DDA-987A-1518DCFFFDCA}" type="presOf" srcId="{BC5FFCB4-CDDE-4490-884B-1DFC0B7F06DA}" destId="{103EEA26-172A-4F51-9113-39CC6029BC5A}" srcOrd="0" destOrd="0" presId="urn:microsoft.com/office/officeart/2011/layout/HexagonRadial"/>
    <dgm:cxn modelId="{399666F7-57C5-47A6-AF94-5DDE95BC65AB}" srcId="{544BA2D7-BC48-47D5-BD88-8DCA02E13416}" destId="{CBCD0519-C2C8-4F15-874E-7FC0D7F82203}" srcOrd="2" destOrd="0" parTransId="{7D81E17B-FDEE-4C64-B804-68ECAFBE9987}" sibTransId="{6ED06E31-71D1-4161-B202-45464895893D}"/>
    <dgm:cxn modelId="{CB141339-3616-4FB1-969C-838F11F96F6D}" type="presParOf" srcId="{8FA3F59D-3B2A-44DD-9D8D-CFCF109B9AA4}" destId="{9ED65A08-EA75-472A-B72A-724F8F06C40C}" srcOrd="0" destOrd="0" presId="urn:microsoft.com/office/officeart/2011/layout/HexagonRadial"/>
    <dgm:cxn modelId="{94871DFB-8942-4E75-99DD-D9EE23586932}" type="presParOf" srcId="{8FA3F59D-3B2A-44DD-9D8D-CFCF109B9AA4}" destId="{8F93D279-9C7F-4CB5-838D-DFF8ECCD47F4}" srcOrd="1" destOrd="0" presId="urn:microsoft.com/office/officeart/2011/layout/HexagonRadial"/>
    <dgm:cxn modelId="{3386DCA2-2205-4061-82DB-2B1E7DF782DF}" type="presParOf" srcId="{8F93D279-9C7F-4CB5-838D-DFF8ECCD47F4}" destId="{C1AC8A29-A630-448D-8E90-1A3ECBCB2DBF}" srcOrd="0" destOrd="0" presId="urn:microsoft.com/office/officeart/2011/layout/HexagonRadial"/>
    <dgm:cxn modelId="{A07C0277-430C-4301-8F58-E828A3D5C6DF}" type="presParOf" srcId="{8FA3F59D-3B2A-44DD-9D8D-CFCF109B9AA4}" destId="{57193B3D-0662-462D-ACF2-29949C32C1B5}" srcOrd="2" destOrd="0" presId="urn:microsoft.com/office/officeart/2011/layout/HexagonRadial"/>
    <dgm:cxn modelId="{9BADEFA8-F48E-47C7-B8E6-E9D6D876E247}" type="presParOf" srcId="{8FA3F59D-3B2A-44DD-9D8D-CFCF109B9AA4}" destId="{600BCA04-4C3B-4A59-BAA2-E5E1E3DA740F}" srcOrd="3" destOrd="0" presId="urn:microsoft.com/office/officeart/2011/layout/HexagonRadial"/>
    <dgm:cxn modelId="{BC508CE9-A281-47A5-BFBA-69898CBFFBAF}" type="presParOf" srcId="{600BCA04-4C3B-4A59-BAA2-E5E1E3DA740F}" destId="{D3234B9B-359C-43EB-B438-5D18CA2422D4}" srcOrd="0" destOrd="0" presId="urn:microsoft.com/office/officeart/2011/layout/HexagonRadial"/>
    <dgm:cxn modelId="{901D1038-B950-4867-A92A-1E4778E21841}" type="presParOf" srcId="{8FA3F59D-3B2A-44DD-9D8D-CFCF109B9AA4}" destId="{103EEA26-172A-4F51-9113-39CC6029BC5A}" srcOrd="4" destOrd="0" presId="urn:microsoft.com/office/officeart/2011/layout/HexagonRadial"/>
    <dgm:cxn modelId="{39F12373-DB5E-4279-9558-D9F22119AADB}" type="presParOf" srcId="{8FA3F59D-3B2A-44DD-9D8D-CFCF109B9AA4}" destId="{697DD287-704B-4E75-B07F-D4F0E5AB0CBF}" srcOrd="5" destOrd="0" presId="urn:microsoft.com/office/officeart/2011/layout/HexagonRadial"/>
    <dgm:cxn modelId="{312EEF0F-8BE0-458A-8F7D-748237B348B7}" type="presParOf" srcId="{697DD287-704B-4E75-B07F-D4F0E5AB0CBF}" destId="{5FDB9E4F-1BE0-487C-B299-2BA4E4A2E0FA}" srcOrd="0" destOrd="0" presId="urn:microsoft.com/office/officeart/2011/layout/HexagonRadial"/>
    <dgm:cxn modelId="{7CD62B52-A5D2-4FFD-9652-40346070D6B2}" type="presParOf" srcId="{8FA3F59D-3B2A-44DD-9D8D-CFCF109B9AA4}" destId="{7B592E7D-5C50-4409-9CD9-9F5A65E2AE06}" srcOrd="6" destOrd="0" presId="urn:microsoft.com/office/officeart/2011/layout/HexagonRadial"/>
    <dgm:cxn modelId="{2C995A76-475A-44F0-85F2-3481BCBF3D3B}" type="presParOf" srcId="{8FA3F59D-3B2A-44DD-9D8D-CFCF109B9AA4}" destId="{CE781242-A8D4-41AE-8C58-752F279CDBDB}" srcOrd="7" destOrd="0" presId="urn:microsoft.com/office/officeart/2011/layout/HexagonRadial"/>
    <dgm:cxn modelId="{80464895-77C2-4AC8-8A7A-638DF656924D}" type="presParOf" srcId="{CE781242-A8D4-41AE-8C58-752F279CDBDB}" destId="{4C7F3847-DE26-4414-B2D0-903F2165A3CF}" srcOrd="0" destOrd="0" presId="urn:microsoft.com/office/officeart/2011/layout/HexagonRadial"/>
    <dgm:cxn modelId="{E90833E9-79EF-4B50-B4CF-675324372BF2}" type="presParOf" srcId="{8FA3F59D-3B2A-44DD-9D8D-CFCF109B9AA4}" destId="{5C3ED493-A14C-4D65-A030-AB584DBD598B}" srcOrd="8" destOrd="0" presId="urn:microsoft.com/office/officeart/2011/layout/HexagonRadial"/>
    <dgm:cxn modelId="{3E26826B-4383-495A-8686-F53CED51956D}" type="presParOf" srcId="{8FA3F59D-3B2A-44DD-9D8D-CFCF109B9AA4}" destId="{78B616F5-5EA9-4DA9-BBAB-13910CA942EF}" srcOrd="9" destOrd="0" presId="urn:microsoft.com/office/officeart/2011/layout/HexagonRadial"/>
    <dgm:cxn modelId="{F8A0C194-4C7B-4192-BCAA-804FAD85E691}" type="presParOf" srcId="{78B616F5-5EA9-4DA9-BBAB-13910CA942EF}" destId="{F59E3637-BD9E-4557-8AF3-EB5F2A808A7A}" srcOrd="0" destOrd="0" presId="urn:microsoft.com/office/officeart/2011/layout/HexagonRadial"/>
    <dgm:cxn modelId="{4FC48408-A7A6-461A-A3C3-B08A289DE06C}" type="presParOf" srcId="{8FA3F59D-3B2A-44DD-9D8D-CFCF109B9AA4}" destId="{4B5E9092-378B-4996-AB6B-5075E01810AA}" srcOrd="10" destOrd="0" presId="urn:microsoft.com/office/officeart/2011/layout/HexagonRadial"/>
    <dgm:cxn modelId="{E5E8FBD7-38AD-4791-87E9-93684C3C3B05}" type="presParOf" srcId="{8FA3F59D-3B2A-44DD-9D8D-CFCF109B9AA4}" destId="{F76C1441-AED5-438C-A5E5-392753CCD2AA}" srcOrd="11" destOrd="0" presId="urn:microsoft.com/office/officeart/2011/layout/HexagonRadial"/>
    <dgm:cxn modelId="{1C24FD64-43EC-40FF-88F0-31CF1FB572A4}" type="presParOf" srcId="{F76C1441-AED5-438C-A5E5-392753CCD2AA}" destId="{EB40221D-2C75-4971-B7AB-94071339FF5F}" srcOrd="0" destOrd="0" presId="urn:microsoft.com/office/officeart/2011/layout/HexagonRadial"/>
    <dgm:cxn modelId="{1BF2D060-6895-48EB-BA9B-47C38D6627EB}" type="presParOf" srcId="{8FA3F59D-3B2A-44DD-9D8D-CFCF109B9AA4}" destId="{EDF8DD44-674E-4924-8424-95997E9E3296}"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52C42F6-9808-4A80-80E5-8B2B36BFF600}" type="doc">
      <dgm:prSet loTypeId="urn:microsoft.com/office/officeart/2005/8/layout/chart3" loCatId="cycle" qsTypeId="urn:microsoft.com/office/officeart/2005/8/quickstyle/simple1" qsCatId="simple" csTypeId="urn:microsoft.com/office/officeart/2005/8/colors/accent1_2" csCatId="accent1" phldr="1"/>
      <dgm:spPr/>
    </dgm:pt>
    <dgm:pt modelId="{54F06BF6-31E1-4D64-8FFA-E35AED45F11A}">
      <dgm:prSet phldrT="[Text]"/>
      <dgm:spPr/>
      <dgm:t>
        <a:bodyPr/>
        <a:lstStyle/>
        <a:p>
          <a:r>
            <a:rPr lang="en-US" b="0" dirty="0"/>
            <a:t>Improved Team Experience</a:t>
          </a:r>
        </a:p>
      </dgm:t>
    </dgm:pt>
    <dgm:pt modelId="{0AE9209C-3975-4C3D-BD42-B8AD5937CF27}" type="parTrans" cxnId="{A0378ECD-5025-4E4F-8110-906ED71CC038}">
      <dgm:prSet/>
      <dgm:spPr/>
      <dgm:t>
        <a:bodyPr/>
        <a:lstStyle/>
        <a:p>
          <a:endParaRPr lang="en-US" b="0"/>
        </a:p>
      </dgm:t>
    </dgm:pt>
    <dgm:pt modelId="{D0AE449D-90D0-49FB-8AD2-D33E84B4DD7D}" type="sibTrans" cxnId="{A0378ECD-5025-4E4F-8110-906ED71CC038}">
      <dgm:prSet/>
      <dgm:spPr/>
      <dgm:t>
        <a:bodyPr/>
        <a:lstStyle/>
        <a:p>
          <a:endParaRPr lang="en-US" b="0"/>
        </a:p>
      </dgm:t>
    </dgm:pt>
    <dgm:pt modelId="{8F626CF4-E71E-406F-8ECC-AB5B79E58123}">
      <dgm:prSet phldrT="[Text]"/>
      <dgm:spPr/>
      <dgm:t>
        <a:bodyPr/>
        <a:lstStyle/>
        <a:p>
          <a:r>
            <a:rPr lang="en-US" b="0" dirty="0"/>
            <a:t>Lower Costs</a:t>
          </a:r>
        </a:p>
      </dgm:t>
    </dgm:pt>
    <dgm:pt modelId="{8ADF82D3-AC24-41D8-899B-D788A5C87715}" type="parTrans" cxnId="{20BD9222-8EFF-4C2E-825C-36FD3328468A}">
      <dgm:prSet/>
      <dgm:spPr/>
      <dgm:t>
        <a:bodyPr/>
        <a:lstStyle/>
        <a:p>
          <a:endParaRPr lang="en-US" b="0"/>
        </a:p>
      </dgm:t>
    </dgm:pt>
    <dgm:pt modelId="{EA4829E1-422D-4684-BA59-08C4A9C63FC8}" type="sibTrans" cxnId="{20BD9222-8EFF-4C2E-825C-36FD3328468A}">
      <dgm:prSet/>
      <dgm:spPr/>
      <dgm:t>
        <a:bodyPr/>
        <a:lstStyle/>
        <a:p>
          <a:endParaRPr lang="en-US" b="0"/>
        </a:p>
      </dgm:t>
    </dgm:pt>
    <dgm:pt modelId="{121911BE-0341-492F-8A94-0C91229E55A1}">
      <dgm:prSet phldrT="[Text]"/>
      <dgm:spPr/>
      <dgm:t>
        <a:bodyPr/>
        <a:lstStyle/>
        <a:p>
          <a:r>
            <a:rPr lang="en-US" b="0" dirty="0"/>
            <a:t>Improved Patient Experience</a:t>
          </a:r>
        </a:p>
      </dgm:t>
    </dgm:pt>
    <dgm:pt modelId="{D8576880-3D36-43A4-B870-96A8424E9B36}" type="parTrans" cxnId="{B62D3DAE-8B6F-4ABA-9F8A-EFC95B0D5F44}">
      <dgm:prSet/>
      <dgm:spPr/>
      <dgm:t>
        <a:bodyPr/>
        <a:lstStyle/>
        <a:p>
          <a:endParaRPr lang="en-US" b="0"/>
        </a:p>
      </dgm:t>
    </dgm:pt>
    <dgm:pt modelId="{D71F30BE-4400-402A-9B62-553D11BD1F49}" type="sibTrans" cxnId="{B62D3DAE-8B6F-4ABA-9F8A-EFC95B0D5F44}">
      <dgm:prSet/>
      <dgm:spPr/>
      <dgm:t>
        <a:bodyPr/>
        <a:lstStyle/>
        <a:p>
          <a:endParaRPr lang="en-US" b="0"/>
        </a:p>
      </dgm:t>
    </dgm:pt>
    <dgm:pt modelId="{D1D16C32-1B65-47E0-A63C-E79E4128F27E}">
      <dgm:prSet phldrT="[Text]"/>
      <dgm:spPr/>
      <dgm:t>
        <a:bodyPr/>
        <a:lstStyle/>
        <a:p>
          <a:r>
            <a:rPr lang="en-US" b="0" dirty="0"/>
            <a:t>Better Outcomes</a:t>
          </a:r>
        </a:p>
      </dgm:t>
    </dgm:pt>
    <dgm:pt modelId="{D13FBDCD-A1F1-4B7E-97BA-CC979398ADCC}" type="parTrans" cxnId="{461CE950-8897-4E30-B3A9-2112C6BC2DD4}">
      <dgm:prSet/>
      <dgm:spPr/>
      <dgm:t>
        <a:bodyPr/>
        <a:lstStyle/>
        <a:p>
          <a:endParaRPr lang="en-US" b="0"/>
        </a:p>
      </dgm:t>
    </dgm:pt>
    <dgm:pt modelId="{4A908075-6FB4-454E-BBDE-1C2BED05E0AF}" type="sibTrans" cxnId="{461CE950-8897-4E30-B3A9-2112C6BC2DD4}">
      <dgm:prSet/>
      <dgm:spPr/>
      <dgm:t>
        <a:bodyPr/>
        <a:lstStyle/>
        <a:p>
          <a:endParaRPr lang="en-US" b="0"/>
        </a:p>
      </dgm:t>
    </dgm:pt>
    <dgm:pt modelId="{1DD46EF5-2B60-411E-8B7F-A59F9958FC3C}" type="pres">
      <dgm:prSet presAssocID="{E52C42F6-9808-4A80-80E5-8B2B36BFF600}" presName="compositeShape" presStyleCnt="0">
        <dgm:presLayoutVars>
          <dgm:chMax val="7"/>
          <dgm:dir/>
          <dgm:resizeHandles val="exact"/>
        </dgm:presLayoutVars>
      </dgm:prSet>
      <dgm:spPr/>
    </dgm:pt>
    <dgm:pt modelId="{6236F153-7EFC-4171-AFDF-D0A5CB145F8D}" type="pres">
      <dgm:prSet presAssocID="{E52C42F6-9808-4A80-80E5-8B2B36BFF600}" presName="wedge1" presStyleLbl="node1" presStyleIdx="0" presStyleCnt="4"/>
      <dgm:spPr/>
    </dgm:pt>
    <dgm:pt modelId="{2637C0E4-3CD9-40A6-80EC-DF2D2B1ED992}" type="pres">
      <dgm:prSet presAssocID="{E52C42F6-9808-4A80-80E5-8B2B36BFF600}" presName="wedge1Tx" presStyleLbl="node1" presStyleIdx="0" presStyleCnt="4">
        <dgm:presLayoutVars>
          <dgm:chMax val="0"/>
          <dgm:chPref val="0"/>
          <dgm:bulletEnabled val="1"/>
        </dgm:presLayoutVars>
      </dgm:prSet>
      <dgm:spPr/>
    </dgm:pt>
    <dgm:pt modelId="{7BB80162-8D99-482A-A4FA-6A464F2187C5}" type="pres">
      <dgm:prSet presAssocID="{E52C42F6-9808-4A80-80E5-8B2B36BFF600}" presName="wedge2" presStyleLbl="node1" presStyleIdx="1" presStyleCnt="4"/>
      <dgm:spPr/>
    </dgm:pt>
    <dgm:pt modelId="{5B74DAE0-CDD6-4919-80D2-6BCC4E617BFC}" type="pres">
      <dgm:prSet presAssocID="{E52C42F6-9808-4A80-80E5-8B2B36BFF600}" presName="wedge2Tx" presStyleLbl="node1" presStyleIdx="1" presStyleCnt="4">
        <dgm:presLayoutVars>
          <dgm:chMax val="0"/>
          <dgm:chPref val="0"/>
          <dgm:bulletEnabled val="1"/>
        </dgm:presLayoutVars>
      </dgm:prSet>
      <dgm:spPr/>
    </dgm:pt>
    <dgm:pt modelId="{390AACDC-EDD7-4B95-A6E0-7D0B4B88EE03}" type="pres">
      <dgm:prSet presAssocID="{E52C42F6-9808-4A80-80E5-8B2B36BFF600}" presName="wedge3" presStyleLbl="node1" presStyleIdx="2" presStyleCnt="4" custLinFactNeighborX="-711" custLinFactNeighborY="712"/>
      <dgm:spPr/>
    </dgm:pt>
    <dgm:pt modelId="{0F4A1680-B707-4E82-AB7D-50A9AB70F1CC}" type="pres">
      <dgm:prSet presAssocID="{E52C42F6-9808-4A80-80E5-8B2B36BFF600}" presName="wedge3Tx" presStyleLbl="node1" presStyleIdx="2" presStyleCnt="4">
        <dgm:presLayoutVars>
          <dgm:chMax val="0"/>
          <dgm:chPref val="0"/>
          <dgm:bulletEnabled val="1"/>
        </dgm:presLayoutVars>
      </dgm:prSet>
      <dgm:spPr/>
    </dgm:pt>
    <dgm:pt modelId="{CB5A2586-03CA-4170-A88B-CD59B61D2FC0}" type="pres">
      <dgm:prSet presAssocID="{E52C42F6-9808-4A80-80E5-8B2B36BFF600}" presName="wedge4" presStyleLbl="node1" presStyleIdx="3" presStyleCnt="4" custLinFactNeighborX="-285" custLinFactNeighborY="-285"/>
      <dgm:spPr/>
    </dgm:pt>
    <dgm:pt modelId="{962163DF-4B25-4130-9538-AC56C92A32CB}" type="pres">
      <dgm:prSet presAssocID="{E52C42F6-9808-4A80-80E5-8B2B36BFF600}" presName="wedge4Tx" presStyleLbl="node1" presStyleIdx="3" presStyleCnt="4">
        <dgm:presLayoutVars>
          <dgm:chMax val="0"/>
          <dgm:chPref val="0"/>
          <dgm:bulletEnabled val="1"/>
        </dgm:presLayoutVars>
      </dgm:prSet>
      <dgm:spPr/>
    </dgm:pt>
  </dgm:ptLst>
  <dgm:cxnLst>
    <dgm:cxn modelId="{FB61280C-BB52-4770-B8EE-DD75B9206470}" type="presOf" srcId="{D1D16C32-1B65-47E0-A63C-E79E4128F27E}" destId="{962163DF-4B25-4130-9538-AC56C92A32CB}" srcOrd="1" destOrd="0" presId="urn:microsoft.com/office/officeart/2005/8/layout/chart3"/>
    <dgm:cxn modelId="{11C1B21E-6794-493F-B29B-9C238D0190BA}" type="presOf" srcId="{D1D16C32-1B65-47E0-A63C-E79E4128F27E}" destId="{CB5A2586-03CA-4170-A88B-CD59B61D2FC0}" srcOrd="0" destOrd="0" presId="urn:microsoft.com/office/officeart/2005/8/layout/chart3"/>
    <dgm:cxn modelId="{20BD9222-8EFF-4C2E-825C-36FD3328468A}" srcId="{E52C42F6-9808-4A80-80E5-8B2B36BFF600}" destId="{8F626CF4-E71E-406F-8ECC-AB5B79E58123}" srcOrd="2" destOrd="0" parTransId="{8ADF82D3-AC24-41D8-899B-D788A5C87715}" sibTransId="{EA4829E1-422D-4684-BA59-08C4A9C63FC8}"/>
    <dgm:cxn modelId="{CC74E928-A1AD-4B46-BB4D-42D33E1D0D5D}" type="presOf" srcId="{54F06BF6-31E1-4D64-8FFA-E35AED45F11A}" destId="{2637C0E4-3CD9-40A6-80EC-DF2D2B1ED992}" srcOrd="1" destOrd="0" presId="urn:microsoft.com/office/officeart/2005/8/layout/chart3"/>
    <dgm:cxn modelId="{3DCC1F37-EBE1-408B-A9E4-018B55BA5D65}" type="presOf" srcId="{E52C42F6-9808-4A80-80E5-8B2B36BFF600}" destId="{1DD46EF5-2B60-411E-8B7F-A59F9958FC3C}" srcOrd="0" destOrd="0" presId="urn:microsoft.com/office/officeart/2005/8/layout/chart3"/>
    <dgm:cxn modelId="{461CE950-8897-4E30-B3A9-2112C6BC2DD4}" srcId="{E52C42F6-9808-4A80-80E5-8B2B36BFF600}" destId="{D1D16C32-1B65-47E0-A63C-E79E4128F27E}" srcOrd="3" destOrd="0" parTransId="{D13FBDCD-A1F1-4B7E-97BA-CC979398ADCC}" sibTransId="{4A908075-6FB4-454E-BBDE-1C2BED05E0AF}"/>
    <dgm:cxn modelId="{1CA1CE58-44D7-454F-A3FC-418E70E688AB}" type="presOf" srcId="{121911BE-0341-492F-8A94-0C91229E55A1}" destId="{7BB80162-8D99-482A-A4FA-6A464F2187C5}" srcOrd="0" destOrd="0" presId="urn:microsoft.com/office/officeart/2005/8/layout/chart3"/>
    <dgm:cxn modelId="{245BC088-D09C-4C65-8076-544BE9090E7F}" type="presOf" srcId="{54F06BF6-31E1-4D64-8FFA-E35AED45F11A}" destId="{6236F153-7EFC-4171-AFDF-D0A5CB145F8D}" srcOrd="0" destOrd="0" presId="urn:microsoft.com/office/officeart/2005/8/layout/chart3"/>
    <dgm:cxn modelId="{273B0C93-6A9C-44D6-9D03-21152E13FFA3}" type="presOf" srcId="{121911BE-0341-492F-8A94-0C91229E55A1}" destId="{5B74DAE0-CDD6-4919-80D2-6BCC4E617BFC}" srcOrd="1" destOrd="0" presId="urn:microsoft.com/office/officeart/2005/8/layout/chart3"/>
    <dgm:cxn modelId="{ECEDF7A6-39FC-4AEC-9CD9-AFB15F6ED6B1}" type="presOf" srcId="{8F626CF4-E71E-406F-8ECC-AB5B79E58123}" destId="{0F4A1680-B707-4E82-AB7D-50A9AB70F1CC}" srcOrd="1" destOrd="0" presId="urn:microsoft.com/office/officeart/2005/8/layout/chart3"/>
    <dgm:cxn modelId="{B62D3DAE-8B6F-4ABA-9F8A-EFC95B0D5F44}" srcId="{E52C42F6-9808-4A80-80E5-8B2B36BFF600}" destId="{121911BE-0341-492F-8A94-0C91229E55A1}" srcOrd="1" destOrd="0" parTransId="{D8576880-3D36-43A4-B870-96A8424E9B36}" sibTransId="{D71F30BE-4400-402A-9B62-553D11BD1F49}"/>
    <dgm:cxn modelId="{A0378ECD-5025-4E4F-8110-906ED71CC038}" srcId="{E52C42F6-9808-4A80-80E5-8B2B36BFF600}" destId="{54F06BF6-31E1-4D64-8FFA-E35AED45F11A}" srcOrd="0" destOrd="0" parTransId="{0AE9209C-3975-4C3D-BD42-B8AD5937CF27}" sibTransId="{D0AE449D-90D0-49FB-8AD2-D33E84B4DD7D}"/>
    <dgm:cxn modelId="{1AADC5E1-7163-4E99-A8A1-5CDED67E02F1}" type="presOf" srcId="{8F626CF4-E71E-406F-8ECC-AB5B79E58123}" destId="{390AACDC-EDD7-4B95-A6E0-7D0B4B88EE03}" srcOrd="0" destOrd="0" presId="urn:microsoft.com/office/officeart/2005/8/layout/chart3"/>
    <dgm:cxn modelId="{BE30E131-D7A3-4BEA-B672-CE02B7014359}" type="presParOf" srcId="{1DD46EF5-2B60-411E-8B7F-A59F9958FC3C}" destId="{6236F153-7EFC-4171-AFDF-D0A5CB145F8D}" srcOrd="0" destOrd="0" presId="urn:microsoft.com/office/officeart/2005/8/layout/chart3"/>
    <dgm:cxn modelId="{746ECEFC-DB75-4794-9327-9824A21BBDC8}" type="presParOf" srcId="{1DD46EF5-2B60-411E-8B7F-A59F9958FC3C}" destId="{2637C0E4-3CD9-40A6-80EC-DF2D2B1ED992}" srcOrd="1" destOrd="0" presId="urn:microsoft.com/office/officeart/2005/8/layout/chart3"/>
    <dgm:cxn modelId="{FA57C7C0-E1D9-4A44-A70D-F156149D57F7}" type="presParOf" srcId="{1DD46EF5-2B60-411E-8B7F-A59F9958FC3C}" destId="{7BB80162-8D99-482A-A4FA-6A464F2187C5}" srcOrd="2" destOrd="0" presId="urn:microsoft.com/office/officeart/2005/8/layout/chart3"/>
    <dgm:cxn modelId="{E2A33F7A-CB40-4027-9E45-FCB6927F5BF5}" type="presParOf" srcId="{1DD46EF5-2B60-411E-8B7F-A59F9958FC3C}" destId="{5B74DAE0-CDD6-4919-80D2-6BCC4E617BFC}" srcOrd="3" destOrd="0" presId="urn:microsoft.com/office/officeart/2005/8/layout/chart3"/>
    <dgm:cxn modelId="{C8757F3D-04B0-4533-BD2F-4031951D635C}" type="presParOf" srcId="{1DD46EF5-2B60-411E-8B7F-A59F9958FC3C}" destId="{390AACDC-EDD7-4B95-A6E0-7D0B4B88EE03}" srcOrd="4" destOrd="0" presId="urn:microsoft.com/office/officeart/2005/8/layout/chart3"/>
    <dgm:cxn modelId="{15741958-C55A-46A9-A188-2707852F64DA}" type="presParOf" srcId="{1DD46EF5-2B60-411E-8B7F-A59F9958FC3C}" destId="{0F4A1680-B707-4E82-AB7D-50A9AB70F1CC}" srcOrd="5" destOrd="0" presId="urn:microsoft.com/office/officeart/2005/8/layout/chart3"/>
    <dgm:cxn modelId="{048949F5-BAA2-4869-A223-3634971E64BB}" type="presParOf" srcId="{1DD46EF5-2B60-411E-8B7F-A59F9958FC3C}" destId="{CB5A2586-03CA-4170-A88B-CD59B61D2FC0}" srcOrd="6" destOrd="0" presId="urn:microsoft.com/office/officeart/2005/8/layout/chart3"/>
    <dgm:cxn modelId="{AC673031-6C2D-4174-B74C-8EE7D2B418E4}" type="presParOf" srcId="{1DD46EF5-2B60-411E-8B7F-A59F9958FC3C}" destId="{962163DF-4B25-4130-9538-AC56C92A32CB}" srcOrd="7"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8627ECF-BCF4-4E1E-942F-96CED9243F22}" type="doc">
      <dgm:prSet loTypeId="urn:microsoft.com/office/officeart/2005/8/layout/pyramid3" loCatId="pyramid" qsTypeId="urn:microsoft.com/office/officeart/2005/8/quickstyle/simple1" qsCatId="simple" csTypeId="urn:microsoft.com/office/officeart/2005/8/colors/accent1_2" csCatId="accent1" phldr="1"/>
      <dgm:spPr/>
    </dgm:pt>
    <dgm:pt modelId="{630BAE00-69F9-4EB1-9F81-19FDAFC06A89}">
      <dgm:prSet phldrT="[Text]"/>
      <dgm:spPr>
        <a:solidFill>
          <a:schemeClr val="accent1">
            <a:lumMod val="50000"/>
          </a:schemeClr>
        </a:solidFill>
      </dgm:spPr>
      <dgm:t>
        <a:bodyPr/>
        <a:lstStyle/>
        <a:p>
          <a:r>
            <a:rPr lang="en-US" dirty="0">
              <a:solidFill>
                <a:schemeClr val="bg1"/>
              </a:solidFill>
            </a:rPr>
            <a:t>Results and Benefits Realization</a:t>
          </a:r>
        </a:p>
      </dgm:t>
    </dgm:pt>
    <dgm:pt modelId="{7849CC4D-61EA-41EF-8E60-0C05C0FE6235}" type="parTrans" cxnId="{40799877-AAE2-429B-9DEE-A7597FA4F31D}">
      <dgm:prSet/>
      <dgm:spPr/>
      <dgm:t>
        <a:bodyPr/>
        <a:lstStyle/>
        <a:p>
          <a:endParaRPr lang="en-US"/>
        </a:p>
      </dgm:t>
    </dgm:pt>
    <dgm:pt modelId="{A97D0D8C-21A5-4A56-9F9F-C2F85A2CECED}" type="sibTrans" cxnId="{40799877-AAE2-429B-9DEE-A7597FA4F31D}">
      <dgm:prSet/>
      <dgm:spPr/>
      <dgm:t>
        <a:bodyPr/>
        <a:lstStyle/>
        <a:p>
          <a:endParaRPr lang="en-US"/>
        </a:p>
      </dgm:t>
    </dgm:pt>
    <dgm:pt modelId="{C4CDEE5C-2AA0-4CDF-8252-168A402A1AEA}">
      <dgm:prSet phldrT="[Text]"/>
      <dgm:spPr>
        <a:solidFill>
          <a:schemeClr val="accent1">
            <a:lumMod val="75000"/>
          </a:schemeClr>
        </a:solidFill>
      </dgm:spPr>
      <dgm:t>
        <a:bodyPr/>
        <a:lstStyle/>
        <a:p>
          <a:r>
            <a:rPr lang="en-US" dirty="0">
              <a:solidFill>
                <a:schemeClr val="bg1"/>
              </a:solidFill>
            </a:rPr>
            <a:t>Decisions-Actions</a:t>
          </a:r>
        </a:p>
      </dgm:t>
    </dgm:pt>
    <dgm:pt modelId="{0DF13A6D-CDE4-4E90-8A8B-81D5FC5FAAE4}" type="parTrans" cxnId="{842853D4-5F43-4558-96FA-6D3EB4E50D61}">
      <dgm:prSet/>
      <dgm:spPr/>
      <dgm:t>
        <a:bodyPr/>
        <a:lstStyle/>
        <a:p>
          <a:endParaRPr lang="en-US"/>
        </a:p>
      </dgm:t>
    </dgm:pt>
    <dgm:pt modelId="{80F70AD1-D0AF-4318-ABC3-CDE4F136321B}" type="sibTrans" cxnId="{842853D4-5F43-4558-96FA-6D3EB4E50D61}">
      <dgm:prSet/>
      <dgm:spPr/>
      <dgm:t>
        <a:bodyPr/>
        <a:lstStyle/>
        <a:p>
          <a:endParaRPr lang="en-US"/>
        </a:p>
      </dgm:t>
    </dgm:pt>
    <dgm:pt modelId="{3576BABC-2ABE-4D08-AEF7-09A28B08307C}">
      <dgm:prSet phldrT="[Text]" custT="1"/>
      <dgm:spPr>
        <a:solidFill>
          <a:schemeClr val="accent1">
            <a:lumMod val="60000"/>
            <a:lumOff val="40000"/>
          </a:schemeClr>
        </a:solidFill>
      </dgm:spPr>
      <dgm:t>
        <a:bodyPr anchor="t"/>
        <a:lstStyle/>
        <a:p>
          <a:r>
            <a:rPr lang="en-US" sz="1400" dirty="0"/>
            <a:t>Insights</a:t>
          </a:r>
        </a:p>
        <a:p>
          <a:r>
            <a:rPr lang="en-US" sz="1400" dirty="0"/>
            <a:t>Under-</a:t>
          </a:r>
        </a:p>
        <a:p>
          <a:r>
            <a:rPr lang="en-US" sz="1400" dirty="0"/>
            <a:t>standing</a:t>
          </a:r>
        </a:p>
      </dgm:t>
    </dgm:pt>
    <dgm:pt modelId="{DC666740-ACE7-4006-A51A-0B6E55DF9BCE}" type="parTrans" cxnId="{DA5E321D-20B4-4160-A371-2710F111FC66}">
      <dgm:prSet/>
      <dgm:spPr/>
      <dgm:t>
        <a:bodyPr/>
        <a:lstStyle/>
        <a:p>
          <a:endParaRPr lang="en-US"/>
        </a:p>
      </dgm:t>
    </dgm:pt>
    <dgm:pt modelId="{ADA9D09C-1E4E-445C-BC8E-90C7D05920B9}" type="sibTrans" cxnId="{DA5E321D-20B4-4160-A371-2710F111FC66}">
      <dgm:prSet/>
      <dgm:spPr/>
      <dgm:t>
        <a:bodyPr/>
        <a:lstStyle/>
        <a:p>
          <a:endParaRPr lang="en-US"/>
        </a:p>
      </dgm:t>
    </dgm:pt>
    <dgm:pt modelId="{BFE6809B-7D1F-4B32-8B02-FE2004E6106C}" type="pres">
      <dgm:prSet presAssocID="{A8627ECF-BCF4-4E1E-942F-96CED9243F22}" presName="Name0" presStyleCnt="0">
        <dgm:presLayoutVars>
          <dgm:dir/>
          <dgm:animLvl val="lvl"/>
          <dgm:resizeHandles val="exact"/>
        </dgm:presLayoutVars>
      </dgm:prSet>
      <dgm:spPr/>
    </dgm:pt>
    <dgm:pt modelId="{43B7706F-6539-4252-A9A2-852854832241}" type="pres">
      <dgm:prSet presAssocID="{630BAE00-69F9-4EB1-9F81-19FDAFC06A89}" presName="Name8" presStyleCnt="0"/>
      <dgm:spPr/>
    </dgm:pt>
    <dgm:pt modelId="{B95598C6-2DBB-4816-B490-C55F3654A64D}" type="pres">
      <dgm:prSet presAssocID="{630BAE00-69F9-4EB1-9F81-19FDAFC06A89}" presName="level" presStyleLbl="node1" presStyleIdx="0" presStyleCnt="3" custLinFactNeighborX="37670" custLinFactNeighborY="-39715">
        <dgm:presLayoutVars>
          <dgm:chMax val="1"/>
          <dgm:bulletEnabled val="1"/>
        </dgm:presLayoutVars>
      </dgm:prSet>
      <dgm:spPr/>
    </dgm:pt>
    <dgm:pt modelId="{BAEEB762-558B-4CFB-81D1-C62B8D8B8487}" type="pres">
      <dgm:prSet presAssocID="{630BAE00-69F9-4EB1-9F81-19FDAFC06A89}" presName="levelTx" presStyleLbl="revTx" presStyleIdx="0" presStyleCnt="0">
        <dgm:presLayoutVars>
          <dgm:chMax val="1"/>
          <dgm:bulletEnabled val="1"/>
        </dgm:presLayoutVars>
      </dgm:prSet>
      <dgm:spPr/>
    </dgm:pt>
    <dgm:pt modelId="{A72BC49A-CBC4-4451-9255-3B5D8DF55239}" type="pres">
      <dgm:prSet presAssocID="{C4CDEE5C-2AA0-4CDF-8252-168A402A1AEA}" presName="Name8" presStyleCnt="0"/>
      <dgm:spPr/>
    </dgm:pt>
    <dgm:pt modelId="{0B4C2D77-36DF-4E67-AF3C-3DA458DB7994}" type="pres">
      <dgm:prSet presAssocID="{C4CDEE5C-2AA0-4CDF-8252-168A402A1AEA}" presName="level" presStyleLbl="node1" presStyleIdx="1" presStyleCnt="3">
        <dgm:presLayoutVars>
          <dgm:chMax val="1"/>
          <dgm:bulletEnabled val="1"/>
        </dgm:presLayoutVars>
      </dgm:prSet>
      <dgm:spPr/>
    </dgm:pt>
    <dgm:pt modelId="{97C01A5A-43A8-4939-A565-FF457F0C9C8F}" type="pres">
      <dgm:prSet presAssocID="{C4CDEE5C-2AA0-4CDF-8252-168A402A1AEA}" presName="levelTx" presStyleLbl="revTx" presStyleIdx="0" presStyleCnt="0">
        <dgm:presLayoutVars>
          <dgm:chMax val="1"/>
          <dgm:bulletEnabled val="1"/>
        </dgm:presLayoutVars>
      </dgm:prSet>
      <dgm:spPr/>
    </dgm:pt>
    <dgm:pt modelId="{A20ECA1F-770D-4F57-8CF1-FC5100E1B84C}" type="pres">
      <dgm:prSet presAssocID="{3576BABC-2ABE-4D08-AEF7-09A28B08307C}" presName="Name8" presStyleCnt="0"/>
      <dgm:spPr/>
    </dgm:pt>
    <dgm:pt modelId="{E465B94F-B42D-4962-859A-EDD3C95F42F5}" type="pres">
      <dgm:prSet presAssocID="{3576BABC-2ABE-4D08-AEF7-09A28B08307C}" presName="level" presStyleLbl="node1" presStyleIdx="2" presStyleCnt="3">
        <dgm:presLayoutVars>
          <dgm:chMax val="1"/>
          <dgm:bulletEnabled val="1"/>
        </dgm:presLayoutVars>
      </dgm:prSet>
      <dgm:spPr/>
    </dgm:pt>
    <dgm:pt modelId="{C1D74E40-5810-4183-AD2D-5EBD1A1C86B7}" type="pres">
      <dgm:prSet presAssocID="{3576BABC-2ABE-4D08-AEF7-09A28B08307C}" presName="levelTx" presStyleLbl="revTx" presStyleIdx="0" presStyleCnt="0">
        <dgm:presLayoutVars>
          <dgm:chMax val="1"/>
          <dgm:bulletEnabled val="1"/>
        </dgm:presLayoutVars>
      </dgm:prSet>
      <dgm:spPr/>
    </dgm:pt>
  </dgm:ptLst>
  <dgm:cxnLst>
    <dgm:cxn modelId="{CB7A5910-7ADA-4A53-BDEE-1502EF13C302}" type="presOf" srcId="{630BAE00-69F9-4EB1-9F81-19FDAFC06A89}" destId="{BAEEB762-558B-4CFB-81D1-C62B8D8B8487}" srcOrd="1" destOrd="0" presId="urn:microsoft.com/office/officeart/2005/8/layout/pyramid3"/>
    <dgm:cxn modelId="{DA5E321D-20B4-4160-A371-2710F111FC66}" srcId="{A8627ECF-BCF4-4E1E-942F-96CED9243F22}" destId="{3576BABC-2ABE-4D08-AEF7-09A28B08307C}" srcOrd="2" destOrd="0" parTransId="{DC666740-ACE7-4006-A51A-0B6E55DF9BCE}" sibTransId="{ADA9D09C-1E4E-445C-BC8E-90C7D05920B9}"/>
    <dgm:cxn modelId="{8F672E2A-4A0C-48C2-8F56-705EEAA50FB8}" type="presOf" srcId="{3576BABC-2ABE-4D08-AEF7-09A28B08307C}" destId="{C1D74E40-5810-4183-AD2D-5EBD1A1C86B7}" srcOrd="1" destOrd="0" presId="urn:microsoft.com/office/officeart/2005/8/layout/pyramid3"/>
    <dgm:cxn modelId="{01BF7C46-A54A-45BA-BE20-9FEE583C6F7E}" type="presOf" srcId="{C4CDEE5C-2AA0-4CDF-8252-168A402A1AEA}" destId="{97C01A5A-43A8-4939-A565-FF457F0C9C8F}" srcOrd="1" destOrd="0" presId="urn:microsoft.com/office/officeart/2005/8/layout/pyramid3"/>
    <dgm:cxn modelId="{40799877-AAE2-429B-9DEE-A7597FA4F31D}" srcId="{A8627ECF-BCF4-4E1E-942F-96CED9243F22}" destId="{630BAE00-69F9-4EB1-9F81-19FDAFC06A89}" srcOrd="0" destOrd="0" parTransId="{7849CC4D-61EA-41EF-8E60-0C05C0FE6235}" sibTransId="{A97D0D8C-21A5-4A56-9F9F-C2F85A2CECED}"/>
    <dgm:cxn modelId="{427C5D59-5BB0-48F4-AE45-F86695246EF7}" type="presOf" srcId="{630BAE00-69F9-4EB1-9F81-19FDAFC06A89}" destId="{B95598C6-2DBB-4816-B490-C55F3654A64D}" srcOrd="0" destOrd="0" presId="urn:microsoft.com/office/officeart/2005/8/layout/pyramid3"/>
    <dgm:cxn modelId="{2925EDC3-EE29-421A-B1FA-3E0461EB3C46}" type="presOf" srcId="{C4CDEE5C-2AA0-4CDF-8252-168A402A1AEA}" destId="{0B4C2D77-36DF-4E67-AF3C-3DA458DB7994}" srcOrd="0" destOrd="0" presId="urn:microsoft.com/office/officeart/2005/8/layout/pyramid3"/>
    <dgm:cxn modelId="{842853D4-5F43-4558-96FA-6D3EB4E50D61}" srcId="{A8627ECF-BCF4-4E1E-942F-96CED9243F22}" destId="{C4CDEE5C-2AA0-4CDF-8252-168A402A1AEA}" srcOrd="1" destOrd="0" parTransId="{0DF13A6D-CDE4-4E90-8A8B-81D5FC5FAAE4}" sibTransId="{80F70AD1-D0AF-4318-ABC3-CDE4F136321B}"/>
    <dgm:cxn modelId="{730E4FF6-1BF3-42DB-8397-7645811079E8}" type="presOf" srcId="{3576BABC-2ABE-4D08-AEF7-09A28B08307C}" destId="{E465B94F-B42D-4962-859A-EDD3C95F42F5}" srcOrd="0" destOrd="0" presId="urn:microsoft.com/office/officeart/2005/8/layout/pyramid3"/>
    <dgm:cxn modelId="{73556CFE-0C61-4FB7-854E-5D655179540B}" type="presOf" srcId="{A8627ECF-BCF4-4E1E-942F-96CED9243F22}" destId="{BFE6809B-7D1F-4B32-8B02-FE2004E6106C}" srcOrd="0" destOrd="0" presId="urn:microsoft.com/office/officeart/2005/8/layout/pyramid3"/>
    <dgm:cxn modelId="{28BCB881-9C80-4AEA-8BB2-97D01F45EEA7}" type="presParOf" srcId="{BFE6809B-7D1F-4B32-8B02-FE2004E6106C}" destId="{43B7706F-6539-4252-A9A2-852854832241}" srcOrd="0" destOrd="0" presId="urn:microsoft.com/office/officeart/2005/8/layout/pyramid3"/>
    <dgm:cxn modelId="{3533A2DC-99B7-4EED-9865-010186A139F5}" type="presParOf" srcId="{43B7706F-6539-4252-A9A2-852854832241}" destId="{B95598C6-2DBB-4816-B490-C55F3654A64D}" srcOrd="0" destOrd="0" presId="urn:microsoft.com/office/officeart/2005/8/layout/pyramid3"/>
    <dgm:cxn modelId="{EBB83D75-B479-4A23-AE72-A3D86E9AF464}" type="presParOf" srcId="{43B7706F-6539-4252-A9A2-852854832241}" destId="{BAEEB762-558B-4CFB-81D1-C62B8D8B8487}" srcOrd="1" destOrd="0" presId="urn:microsoft.com/office/officeart/2005/8/layout/pyramid3"/>
    <dgm:cxn modelId="{6FEE7C74-2BB9-4ED9-9FF2-136D53C6779D}" type="presParOf" srcId="{BFE6809B-7D1F-4B32-8B02-FE2004E6106C}" destId="{A72BC49A-CBC4-4451-9255-3B5D8DF55239}" srcOrd="1" destOrd="0" presId="urn:microsoft.com/office/officeart/2005/8/layout/pyramid3"/>
    <dgm:cxn modelId="{4C792259-103F-41C6-9CE3-907176E30849}" type="presParOf" srcId="{A72BC49A-CBC4-4451-9255-3B5D8DF55239}" destId="{0B4C2D77-36DF-4E67-AF3C-3DA458DB7994}" srcOrd="0" destOrd="0" presId="urn:microsoft.com/office/officeart/2005/8/layout/pyramid3"/>
    <dgm:cxn modelId="{ABF2D5A9-5C58-4C4E-988E-53B6DF90F72E}" type="presParOf" srcId="{A72BC49A-CBC4-4451-9255-3B5D8DF55239}" destId="{97C01A5A-43A8-4939-A565-FF457F0C9C8F}" srcOrd="1" destOrd="0" presId="urn:microsoft.com/office/officeart/2005/8/layout/pyramid3"/>
    <dgm:cxn modelId="{57740203-C6EF-46C2-94D5-03C0A540B272}" type="presParOf" srcId="{BFE6809B-7D1F-4B32-8B02-FE2004E6106C}" destId="{A20ECA1F-770D-4F57-8CF1-FC5100E1B84C}" srcOrd="2" destOrd="0" presId="urn:microsoft.com/office/officeart/2005/8/layout/pyramid3"/>
    <dgm:cxn modelId="{34740A73-7DFD-4C52-974A-3021A03FAAC7}" type="presParOf" srcId="{A20ECA1F-770D-4F57-8CF1-FC5100E1B84C}" destId="{E465B94F-B42D-4962-859A-EDD3C95F42F5}" srcOrd="0" destOrd="0" presId="urn:microsoft.com/office/officeart/2005/8/layout/pyramid3"/>
    <dgm:cxn modelId="{9F1F4D07-08D0-4061-A863-6C24724D350B}" type="presParOf" srcId="{A20ECA1F-770D-4F57-8CF1-FC5100E1B84C}" destId="{C1D74E40-5810-4183-AD2D-5EBD1A1C86B7}"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8627ECF-BCF4-4E1E-942F-96CED9243F22}" type="doc">
      <dgm:prSet loTypeId="urn:microsoft.com/office/officeart/2005/8/layout/pyramid3" loCatId="pyramid" qsTypeId="urn:microsoft.com/office/officeart/2005/8/quickstyle/simple1" qsCatId="simple" csTypeId="urn:microsoft.com/office/officeart/2005/8/colors/accent1_2" csCatId="accent1" phldr="1"/>
      <dgm:spPr/>
    </dgm:pt>
    <dgm:pt modelId="{630BAE00-69F9-4EB1-9F81-19FDAFC06A89}">
      <dgm:prSet phldrT="[Text]"/>
      <dgm:spPr>
        <a:gradFill flip="none" rotWithShape="0">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2700000" scaled="1"/>
          <a:tileRect/>
        </a:gradFill>
      </dgm:spPr>
      <dgm:t>
        <a:bodyPr/>
        <a:lstStyle/>
        <a:p>
          <a:r>
            <a:rPr lang="en-US" dirty="0">
              <a:solidFill>
                <a:schemeClr val="bg1"/>
              </a:solidFill>
            </a:rPr>
            <a:t>Results and Benefits Realization</a:t>
          </a:r>
        </a:p>
      </dgm:t>
    </dgm:pt>
    <dgm:pt modelId="{7849CC4D-61EA-41EF-8E60-0C05C0FE6235}" type="parTrans" cxnId="{40799877-AAE2-429B-9DEE-A7597FA4F31D}">
      <dgm:prSet/>
      <dgm:spPr/>
      <dgm:t>
        <a:bodyPr/>
        <a:lstStyle/>
        <a:p>
          <a:endParaRPr lang="en-US"/>
        </a:p>
      </dgm:t>
    </dgm:pt>
    <dgm:pt modelId="{A97D0D8C-21A5-4A56-9F9F-C2F85A2CECED}" type="sibTrans" cxnId="{40799877-AAE2-429B-9DEE-A7597FA4F31D}">
      <dgm:prSet/>
      <dgm:spPr/>
      <dgm:t>
        <a:bodyPr/>
        <a:lstStyle/>
        <a:p>
          <a:endParaRPr lang="en-US"/>
        </a:p>
      </dgm:t>
    </dgm:pt>
    <dgm:pt modelId="{C4CDEE5C-2AA0-4CDF-8252-168A402A1AEA}">
      <dgm:prSet phldrT="[Text]"/>
      <dgm:spPr>
        <a:gradFill flip="none" rotWithShape="0">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dgm:spPr>
      <dgm:t>
        <a:bodyPr/>
        <a:lstStyle/>
        <a:p>
          <a:r>
            <a:rPr lang="en-US" dirty="0">
              <a:solidFill>
                <a:schemeClr val="bg1"/>
              </a:solidFill>
            </a:rPr>
            <a:t>Decisions-Actions</a:t>
          </a:r>
        </a:p>
      </dgm:t>
    </dgm:pt>
    <dgm:pt modelId="{0DF13A6D-CDE4-4E90-8A8B-81D5FC5FAAE4}" type="parTrans" cxnId="{842853D4-5F43-4558-96FA-6D3EB4E50D61}">
      <dgm:prSet/>
      <dgm:spPr/>
      <dgm:t>
        <a:bodyPr/>
        <a:lstStyle/>
        <a:p>
          <a:endParaRPr lang="en-US"/>
        </a:p>
      </dgm:t>
    </dgm:pt>
    <dgm:pt modelId="{80F70AD1-D0AF-4318-ABC3-CDE4F136321B}" type="sibTrans" cxnId="{842853D4-5F43-4558-96FA-6D3EB4E50D61}">
      <dgm:prSet/>
      <dgm:spPr/>
      <dgm:t>
        <a:bodyPr/>
        <a:lstStyle/>
        <a:p>
          <a:endParaRPr lang="en-US"/>
        </a:p>
      </dgm:t>
    </dgm:pt>
    <dgm:pt modelId="{3576BABC-2ABE-4D08-AEF7-09A28B08307C}">
      <dgm:prSet phldrT="[Text]" custT="1"/>
      <dgm:spPr>
        <a:gradFill flip="none" rotWithShape="0">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dgm:spPr>
      <dgm:t>
        <a:bodyPr anchor="t"/>
        <a:lstStyle/>
        <a:p>
          <a:r>
            <a:rPr lang="en-US" sz="1400" dirty="0"/>
            <a:t>Insights</a:t>
          </a:r>
        </a:p>
        <a:p>
          <a:r>
            <a:rPr lang="en-US" sz="1400" dirty="0"/>
            <a:t>Understanding</a:t>
          </a:r>
        </a:p>
      </dgm:t>
    </dgm:pt>
    <dgm:pt modelId="{DC666740-ACE7-4006-A51A-0B6E55DF9BCE}" type="parTrans" cxnId="{DA5E321D-20B4-4160-A371-2710F111FC66}">
      <dgm:prSet/>
      <dgm:spPr/>
      <dgm:t>
        <a:bodyPr/>
        <a:lstStyle/>
        <a:p>
          <a:endParaRPr lang="en-US"/>
        </a:p>
      </dgm:t>
    </dgm:pt>
    <dgm:pt modelId="{ADA9D09C-1E4E-445C-BC8E-90C7D05920B9}" type="sibTrans" cxnId="{DA5E321D-20B4-4160-A371-2710F111FC66}">
      <dgm:prSet/>
      <dgm:spPr/>
      <dgm:t>
        <a:bodyPr/>
        <a:lstStyle/>
        <a:p>
          <a:endParaRPr lang="en-US"/>
        </a:p>
      </dgm:t>
    </dgm:pt>
    <dgm:pt modelId="{BFE6809B-7D1F-4B32-8B02-FE2004E6106C}" type="pres">
      <dgm:prSet presAssocID="{A8627ECF-BCF4-4E1E-942F-96CED9243F22}" presName="Name0" presStyleCnt="0">
        <dgm:presLayoutVars>
          <dgm:dir/>
          <dgm:animLvl val="lvl"/>
          <dgm:resizeHandles val="exact"/>
        </dgm:presLayoutVars>
      </dgm:prSet>
      <dgm:spPr/>
    </dgm:pt>
    <dgm:pt modelId="{43B7706F-6539-4252-A9A2-852854832241}" type="pres">
      <dgm:prSet presAssocID="{630BAE00-69F9-4EB1-9F81-19FDAFC06A89}" presName="Name8" presStyleCnt="0"/>
      <dgm:spPr/>
    </dgm:pt>
    <dgm:pt modelId="{B95598C6-2DBB-4816-B490-C55F3654A64D}" type="pres">
      <dgm:prSet presAssocID="{630BAE00-69F9-4EB1-9F81-19FDAFC06A89}" presName="level" presStyleLbl="node1" presStyleIdx="0" presStyleCnt="3" custScaleX="78408" custLinFactNeighborX="-10808" custLinFactNeighborY="-1405">
        <dgm:presLayoutVars>
          <dgm:chMax val="1"/>
          <dgm:bulletEnabled val="1"/>
        </dgm:presLayoutVars>
      </dgm:prSet>
      <dgm:spPr/>
    </dgm:pt>
    <dgm:pt modelId="{BAEEB762-558B-4CFB-81D1-C62B8D8B8487}" type="pres">
      <dgm:prSet presAssocID="{630BAE00-69F9-4EB1-9F81-19FDAFC06A89}" presName="levelTx" presStyleLbl="revTx" presStyleIdx="0" presStyleCnt="0">
        <dgm:presLayoutVars>
          <dgm:chMax val="1"/>
          <dgm:bulletEnabled val="1"/>
        </dgm:presLayoutVars>
      </dgm:prSet>
      <dgm:spPr/>
    </dgm:pt>
    <dgm:pt modelId="{A72BC49A-CBC4-4451-9255-3B5D8DF55239}" type="pres">
      <dgm:prSet presAssocID="{C4CDEE5C-2AA0-4CDF-8252-168A402A1AEA}" presName="Name8" presStyleCnt="0"/>
      <dgm:spPr/>
    </dgm:pt>
    <dgm:pt modelId="{0B4C2D77-36DF-4E67-AF3C-3DA458DB7994}" type="pres">
      <dgm:prSet presAssocID="{C4CDEE5C-2AA0-4CDF-8252-168A402A1AEA}" presName="level" presStyleLbl="node1" presStyleIdx="1" presStyleCnt="3" custScaleX="115705" custLinFactNeighborX="-15188">
        <dgm:presLayoutVars>
          <dgm:chMax val="1"/>
          <dgm:bulletEnabled val="1"/>
        </dgm:presLayoutVars>
      </dgm:prSet>
      <dgm:spPr/>
    </dgm:pt>
    <dgm:pt modelId="{97C01A5A-43A8-4939-A565-FF457F0C9C8F}" type="pres">
      <dgm:prSet presAssocID="{C4CDEE5C-2AA0-4CDF-8252-168A402A1AEA}" presName="levelTx" presStyleLbl="revTx" presStyleIdx="0" presStyleCnt="0">
        <dgm:presLayoutVars>
          <dgm:chMax val="1"/>
          <dgm:bulletEnabled val="1"/>
        </dgm:presLayoutVars>
      </dgm:prSet>
      <dgm:spPr/>
    </dgm:pt>
    <dgm:pt modelId="{A20ECA1F-770D-4F57-8CF1-FC5100E1B84C}" type="pres">
      <dgm:prSet presAssocID="{3576BABC-2ABE-4D08-AEF7-09A28B08307C}" presName="Name8" presStyleCnt="0"/>
      <dgm:spPr/>
    </dgm:pt>
    <dgm:pt modelId="{E465B94F-B42D-4962-859A-EDD3C95F42F5}" type="pres">
      <dgm:prSet presAssocID="{3576BABC-2ABE-4D08-AEF7-09A28B08307C}" presName="level" presStyleLbl="node1" presStyleIdx="2" presStyleCnt="3" custScaleX="164621" custLinFactNeighborX="-29003">
        <dgm:presLayoutVars>
          <dgm:chMax val="1"/>
          <dgm:bulletEnabled val="1"/>
        </dgm:presLayoutVars>
      </dgm:prSet>
      <dgm:spPr/>
    </dgm:pt>
    <dgm:pt modelId="{C1D74E40-5810-4183-AD2D-5EBD1A1C86B7}" type="pres">
      <dgm:prSet presAssocID="{3576BABC-2ABE-4D08-AEF7-09A28B08307C}" presName="levelTx" presStyleLbl="revTx" presStyleIdx="0" presStyleCnt="0">
        <dgm:presLayoutVars>
          <dgm:chMax val="1"/>
          <dgm:bulletEnabled val="1"/>
        </dgm:presLayoutVars>
      </dgm:prSet>
      <dgm:spPr/>
    </dgm:pt>
  </dgm:ptLst>
  <dgm:cxnLst>
    <dgm:cxn modelId="{CB7A5910-7ADA-4A53-BDEE-1502EF13C302}" type="presOf" srcId="{630BAE00-69F9-4EB1-9F81-19FDAFC06A89}" destId="{BAEEB762-558B-4CFB-81D1-C62B8D8B8487}" srcOrd="1" destOrd="0" presId="urn:microsoft.com/office/officeart/2005/8/layout/pyramid3"/>
    <dgm:cxn modelId="{DA5E321D-20B4-4160-A371-2710F111FC66}" srcId="{A8627ECF-BCF4-4E1E-942F-96CED9243F22}" destId="{3576BABC-2ABE-4D08-AEF7-09A28B08307C}" srcOrd="2" destOrd="0" parTransId="{DC666740-ACE7-4006-A51A-0B6E55DF9BCE}" sibTransId="{ADA9D09C-1E4E-445C-BC8E-90C7D05920B9}"/>
    <dgm:cxn modelId="{8F672E2A-4A0C-48C2-8F56-705EEAA50FB8}" type="presOf" srcId="{3576BABC-2ABE-4D08-AEF7-09A28B08307C}" destId="{C1D74E40-5810-4183-AD2D-5EBD1A1C86B7}" srcOrd="1" destOrd="0" presId="urn:microsoft.com/office/officeart/2005/8/layout/pyramid3"/>
    <dgm:cxn modelId="{01BF7C46-A54A-45BA-BE20-9FEE583C6F7E}" type="presOf" srcId="{C4CDEE5C-2AA0-4CDF-8252-168A402A1AEA}" destId="{97C01A5A-43A8-4939-A565-FF457F0C9C8F}" srcOrd="1" destOrd="0" presId="urn:microsoft.com/office/officeart/2005/8/layout/pyramid3"/>
    <dgm:cxn modelId="{40799877-AAE2-429B-9DEE-A7597FA4F31D}" srcId="{A8627ECF-BCF4-4E1E-942F-96CED9243F22}" destId="{630BAE00-69F9-4EB1-9F81-19FDAFC06A89}" srcOrd="0" destOrd="0" parTransId="{7849CC4D-61EA-41EF-8E60-0C05C0FE6235}" sibTransId="{A97D0D8C-21A5-4A56-9F9F-C2F85A2CECED}"/>
    <dgm:cxn modelId="{427C5D59-5BB0-48F4-AE45-F86695246EF7}" type="presOf" srcId="{630BAE00-69F9-4EB1-9F81-19FDAFC06A89}" destId="{B95598C6-2DBB-4816-B490-C55F3654A64D}" srcOrd="0" destOrd="0" presId="urn:microsoft.com/office/officeart/2005/8/layout/pyramid3"/>
    <dgm:cxn modelId="{2925EDC3-EE29-421A-B1FA-3E0461EB3C46}" type="presOf" srcId="{C4CDEE5C-2AA0-4CDF-8252-168A402A1AEA}" destId="{0B4C2D77-36DF-4E67-AF3C-3DA458DB7994}" srcOrd="0" destOrd="0" presId="urn:microsoft.com/office/officeart/2005/8/layout/pyramid3"/>
    <dgm:cxn modelId="{842853D4-5F43-4558-96FA-6D3EB4E50D61}" srcId="{A8627ECF-BCF4-4E1E-942F-96CED9243F22}" destId="{C4CDEE5C-2AA0-4CDF-8252-168A402A1AEA}" srcOrd="1" destOrd="0" parTransId="{0DF13A6D-CDE4-4E90-8A8B-81D5FC5FAAE4}" sibTransId="{80F70AD1-D0AF-4318-ABC3-CDE4F136321B}"/>
    <dgm:cxn modelId="{730E4FF6-1BF3-42DB-8397-7645811079E8}" type="presOf" srcId="{3576BABC-2ABE-4D08-AEF7-09A28B08307C}" destId="{E465B94F-B42D-4962-859A-EDD3C95F42F5}" srcOrd="0" destOrd="0" presId="urn:microsoft.com/office/officeart/2005/8/layout/pyramid3"/>
    <dgm:cxn modelId="{73556CFE-0C61-4FB7-854E-5D655179540B}" type="presOf" srcId="{A8627ECF-BCF4-4E1E-942F-96CED9243F22}" destId="{BFE6809B-7D1F-4B32-8B02-FE2004E6106C}" srcOrd="0" destOrd="0" presId="urn:microsoft.com/office/officeart/2005/8/layout/pyramid3"/>
    <dgm:cxn modelId="{28BCB881-9C80-4AEA-8BB2-97D01F45EEA7}" type="presParOf" srcId="{BFE6809B-7D1F-4B32-8B02-FE2004E6106C}" destId="{43B7706F-6539-4252-A9A2-852854832241}" srcOrd="0" destOrd="0" presId="urn:microsoft.com/office/officeart/2005/8/layout/pyramid3"/>
    <dgm:cxn modelId="{3533A2DC-99B7-4EED-9865-010186A139F5}" type="presParOf" srcId="{43B7706F-6539-4252-A9A2-852854832241}" destId="{B95598C6-2DBB-4816-B490-C55F3654A64D}" srcOrd="0" destOrd="0" presId="urn:microsoft.com/office/officeart/2005/8/layout/pyramid3"/>
    <dgm:cxn modelId="{EBB83D75-B479-4A23-AE72-A3D86E9AF464}" type="presParOf" srcId="{43B7706F-6539-4252-A9A2-852854832241}" destId="{BAEEB762-558B-4CFB-81D1-C62B8D8B8487}" srcOrd="1" destOrd="0" presId="urn:microsoft.com/office/officeart/2005/8/layout/pyramid3"/>
    <dgm:cxn modelId="{6FEE7C74-2BB9-4ED9-9FF2-136D53C6779D}" type="presParOf" srcId="{BFE6809B-7D1F-4B32-8B02-FE2004E6106C}" destId="{A72BC49A-CBC4-4451-9255-3B5D8DF55239}" srcOrd="1" destOrd="0" presId="urn:microsoft.com/office/officeart/2005/8/layout/pyramid3"/>
    <dgm:cxn modelId="{4C792259-103F-41C6-9CE3-907176E30849}" type="presParOf" srcId="{A72BC49A-CBC4-4451-9255-3B5D8DF55239}" destId="{0B4C2D77-36DF-4E67-AF3C-3DA458DB7994}" srcOrd="0" destOrd="0" presId="urn:microsoft.com/office/officeart/2005/8/layout/pyramid3"/>
    <dgm:cxn modelId="{ABF2D5A9-5C58-4C4E-988E-53B6DF90F72E}" type="presParOf" srcId="{A72BC49A-CBC4-4451-9255-3B5D8DF55239}" destId="{97C01A5A-43A8-4939-A565-FF457F0C9C8F}" srcOrd="1" destOrd="0" presId="urn:microsoft.com/office/officeart/2005/8/layout/pyramid3"/>
    <dgm:cxn modelId="{57740203-C6EF-46C2-94D5-03C0A540B272}" type="presParOf" srcId="{BFE6809B-7D1F-4B32-8B02-FE2004E6106C}" destId="{A20ECA1F-770D-4F57-8CF1-FC5100E1B84C}" srcOrd="2" destOrd="0" presId="urn:microsoft.com/office/officeart/2005/8/layout/pyramid3"/>
    <dgm:cxn modelId="{34740A73-7DFD-4C52-974A-3021A03FAAC7}" type="presParOf" srcId="{A20ECA1F-770D-4F57-8CF1-FC5100E1B84C}" destId="{E465B94F-B42D-4962-859A-EDD3C95F42F5}" srcOrd="0" destOrd="0" presId="urn:microsoft.com/office/officeart/2005/8/layout/pyramid3"/>
    <dgm:cxn modelId="{9F1F4D07-08D0-4061-A863-6C24724D350B}" type="presParOf" srcId="{A20ECA1F-770D-4F57-8CF1-FC5100E1B84C}" destId="{C1D74E40-5810-4183-AD2D-5EBD1A1C86B7}" srcOrd="1" destOrd="0" presId="urn:microsoft.com/office/officeart/2005/8/layout/pyramid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5598C6-2DBB-4816-B490-C55F3654A64D}">
      <dsp:nvSpPr>
        <dsp:cNvPr id="0" name=""/>
        <dsp:cNvSpPr/>
      </dsp:nvSpPr>
      <dsp:spPr>
        <a:xfrm rot="10800000">
          <a:off x="0" y="0"/>
          <a:ext cx="1982545" cy="677333"/>
        </a:xfrm>
        <a:prstGeom prst="trapezoid">
          <a:avLst>
            <a:gd name="adj" fmla="val 62217"/>
          </a:avLst>
        </a:prstGeom>
        <a:gradFill flip="none" rotWithShape="0">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27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rPr>
            <a:t>Results and Benefits Realization</a:t>
          </a:r>
        </a:p>
      </dsp:txBody>
      <dsp:txXfrm rot="-10800000">
        <a:off x="346945" y="0"/>
        <a:ext cx="1288654" cy="677333"/>
      </dsp:txXfrm>
    </dsp:sp>
    <dsp:sp modelId="{0B4C2D77-36DF-4E67-AF3C-3DA458DB7994}">
      <dsp:nvSpPr>
        <dsp:cNvPr id="0" name=""/>
        <dsp:cNvSpPr/>
      </dsp:nvSpPr>
      <dsp:spPr>
        <a:xfrm rot="10800000">
          <a:off x="33030" y="677333"/>
          <a:ext cx="1950399" cy="677333"/>
        </a:xfrm>
        <a:prstGeom prst="trapezoid">
          <a:avLst>
            <a:gd name="adj" fmla="val 62217"/>
          </a:avLst>
        </a:prstGeom>
        <a:gradFill flip="none" rotWithShape="0">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rPr>
            <a:t>Decisions-Actions</a:t>
          </a:r>
        </a:p>
      </dsp:txBody>
      <dsp:txXfrm rot="-10800000">
        <a:off x="374350" y="677333"/>
        <a:ext cx="1267759" cy="677333"/>
      </dsp:txXfrm>
    </dsp:sp>
    <dsp:sp modelId="{E465B94F-B42D-4962-859A-EDD3C95F42F5}">
      <dsp:nvSpPr>
        <dsp:cNvPr id="0" name=""/>
        <dsp:cNvSpPr/>
      </dsp:nvSpPr>
      <dsp:spPr>
        <a:xfrm rot="10800000">
          <a:off x="326062" y="1354667"/>
          <a:ext cx="1387480" cy="677333"/>
        </a:xfrm>
        <a:prstGeom prst="trapezoid">
          <a:avLst>
            <a:gd name="adj" fmla="val 62217"/>
          </a:avLst>
        </a:prstGeom>
        <a:gradFill flip="none" rotWithShape="0">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ctr" defTabSz="622300">
            <a:lnSpc>
              <a:spcPct val="90000"/>
            </a:lnSpc>
            <a:spcBef>
              <a:spcPct val="0"/>
            </a:spcBef>
            <a:spcAft>
              <a:spcPct val="35000"/>
            </a:spcAft>
            <a:buNone/>
          </a:pPr>
          <a:r>
            <a:rPr lang="en-US" sz="1400" kern="1200" dirty="0"/>
            <a:t>Insights</a:t>
          </a:r>
        </a:p>
        <a:p>
          <a:pPr marL="0" lvl="0" indent="0" algn="ctr" defTabSz="622300">
            <a:lnSpc>
              <a:spcPct val="90000"/>
            </a:lnSpc>
            <a:spcBef>
              <a:spcPct val="0"/>
            </a:spcBef>
            <a:spcAft>
              <a:spcPct val="35000"/>
            </a:spcAft>
            <a:buNone/>
          </a:pPr>
          <a:r>
            <a:rPr lang="en-US" sz="1400" kern="1200" dirty="0"/>
            <a:t>Understanding</a:t>
          </a:r>
        </a:p>
      </dsp:txBody>
      <dsp:txXfrm rot="-10800000">
        <a:off x="326062" y="1354667"/>
        <a:ext cx="1387480" cy="6773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D65A08-EA75-472A-B72A-724F8F06C40C}">
      <dsp:nvSpPr>
        <dsp:cNvPr id="0" name=""/>
        <dsp:cNvSpPr/>
      </dsp:nvSpPr>
      <dsp:spPr>
        <a:xfrm>
          <a:off x="3134574" y="1460075"/>
          <a:ext cx="1855819" cy="1605359"/>
        </a:xfrm>
        <a:prstGeom prst="hexagon">
          <a:avLst>
            <a:gd name="adj" fmla="val 28570"/>
            <a:gd name="vf" fmla="val 115470"/>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B’ System</a:t>
          </a:r>
        </a:p>
      </dsp:txBody>
      <dsp:txXfrm>
        <a:off x="3442109" y="1726106"/>
        <a:ext cx="1240749" cy="1073297"/>
      </dsp:txXfrm>
    </dsp:sp>
    <dsp:sp modelId="{D3234B9B-359C-43EB-B438-5D18CA2422D4}">
      <dsp:nvSpPr>
        <dsp:cNvPr id="0" name=""/>
        <dsp:cNvSpPr/>
      </dsp:nvSpPr>
      <dsp:spPr>
        <a:xfrm>
          <a:off x="4296674" y="692019"/>
          <a:ext cx="700195" cy="60331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193B3D-0662-462D-ACF2-29949C32C1B5}">
      <dsp:nvSpPr>
        <dsp:cNvPr id="0" name=""/>
        <dsp:cNvSpPr/>
      </dsp:nvSpPr>
      <dsp:spPr>
        <a:xfrm>
          <a:off x="3305522" y="0"/>
          <a:ext cx="1520831" cy="1315697"/>
        </a:xfrm>
        <a:prstGeom prst="hexagon">
          <a:avLst>
            <a:gd name="adj" fmla="val 28570"/>
            <a:gd name="vf" fmla="val 115470"/>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008000"/>
              </a:solidFill>
            </a:rPr>
            <a:t>Measurement, Evaluation, Analytics Systems</a:t>
          </a:r>
        </a:p>
      </dsp:txBody>
      <dsp:txXfrm>
        <a:off x="3557556" y="218039"/>
        <a:ext cx="1016763" cy="879619"/>
      </dsp:txXfrm>
    </dsp:sp>
    <dsp:sp modelId="{5FDB9E4F-1BE0-487C-B299-2BA4E4A2E0FA}">
      <dsp:nvSpPr>
        <dsp:cNvPr id="0" name=""/>
        <dsp:cNvSpPr/>
      </dsp:nvSpPr>
      <dsp:spPr>
        <a:xfrm>
          <a:off x="5113856" y="1819889"/>
          <a:ext cx="700195" cy="60331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3EEA26-172A-4F51-9113-39CC6029BC5A}">
      <dsp:nvSpPr>
        <dsp:cNvPr id="0" name=""/>
        <dsp:cNvSpPr/>
      </dsp:nvSpPr>
      <dsp:spPr>
        <a:xfrm>
          <a:off x="4596101" y="809242"/>
          <a:ext cx="1729230" cy="1315697"/>
        </a:xfrm>
        <a:prstGeom prst="hexagon">
          <a:avLst>
            <a:gd name="adj" fmla="val 28570"/>
            <a:gd name="vf" fmla="val 115470"/>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008000"/>
              </a:solidFill>
            </a:rPr>
            <a:t>Communication and Coordination</a:t>
          </a:r>
        </a:p>
      </dsp:txBody>
      <dsp:txXfrm>
        <a:off x="4865502" y="1014217"/>
        <a:ext cx="1190428" cy="905747"/>
      </dsp:txXfrm>
    </dsp:sp>
    <dsp:sp modelId="{4C7F3847-DE26-4414-B2D0-903F2165A3CF}">
      <dsp:nvSpPr>
        <dsp:cNvPr id="0" name=""/>
        <dsp:cNvSpPr/>
      </dsp:nvSpPr>
      <dsp:spPr>
        <a:xfrm>
          <a:off x="4546188" y="3093043"/>
          <a:ext cx="700195" cy="60331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B592E7D-5C50-4409-9CD9-9F5A65E2AE06}">
      <dsp:nvSpPr>
        <dsp:cNvPr id="0" name=""/>
        <dsp:cNvSpPr/>
      </dsp:nvSpPr>
      <dsp:spPr>
        <a:xfrm>
          <a:off x="4700300" y="2400118"/>
          <a:ext cx="1520831" cy="1315697"/>
        </a:xfrm>
        <a:prstGeom prst="hexagon">
          <a:avLst>
            <a:gd name="adj" fmla="val 28570"/>
            <a:gd name="vf" fmla="val 115470"/>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008000"/>
              </a:solidFill>
            </a:rPr>
            <a:t>Motivation—Ideal Behavior Assurance</a:t>
          </a:r>
        </a:p>
      </dsp:txBody>
      <dsp:txXfrm>
        <a:off x="4952334" y="2618157"/>
        <a:ext cx="1016763" cy="879619"/>
      </dsp:txXfrm>
    </dsp:sp>
    <dsp:sp modelId="{F59E3637-BD9E-4557-8AF3-EB5F2A808A7A}">
      <dsp:nvSpPr>
        <dsp:cNvPr id="0" name=""/>
        <dsp:cNvSpPr/>
      </dsp:nvSpPr>
      <dsp:spPr>
        <a:xfrm>
          <a:off x="3138027" y="3225201"/>
          <a:ext cx="700195" cy="60331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3ED493-A14C-4D65-A030-AB584DBD598B}">
      <dsp:nvSpPr>
        <dsp:cNvPr id="0" name=""/>
        <dsp:cNvSpPr/>
      </dsp:nvSpPr>
      <dsp:spPr>
        <a:xfrm>
          <a:off x="3305522" y="3210265"/>
          <a:ext cx="1520831" cy="1315697"/>
        </a:xfrm>
        <a:prstGeom prst="hexagon">
          <a:avLst>
            <a:gd name="adj" fmla="val 28570"/>
            <a:gd name="vf" fmla="val 115470"/>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008000"/>
              </a:solidFill>
            </a:rPr>
            <a:t>‘Technology’ Enablement—includes Process design</a:t>
          </a:r>
        </a:p>
      </dsp:txBody>
      <dsp:txXfrm>
        <a:off x="3557556" y="3428304"/>
        <a:ext cx="1016763" cy="879619"/>
      </dsp:txXfrm>
    </dsp:sp>
    <dsp:sp modelId="{EB40221D-2C75-4971-B7AB-94071339FF5F}">
      <dsp:nvSpPr>
        <dsp:cNvPr id="0" name=""/>
        <dsp:cNvSpPr/>
      </dsp:nvSpPr>
      <dsp:spPr>
        <a:xfrm>
          <a:off x="2307463" y="2097783"/>
          <a:ext cx="700195" cy="603310"/>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B5E9092-378B-4996-AB6B-5075E01810AA}">
      <dsp:nvSpPr>
        <dsp:cNvPr id="0" name=""/>
        <dsp:cNvSpPr/>
      </dsp:nvSpPr>
      <dsp:spPr>
        <a:xfrm>
          <a:off x="1904268" y="2401023"/>
          <a:ext cx="1520831" cy="1315697"/>
        </a:xfrm>
        <a:prstGeom prst="hexagon">
          <a:avLst>
            <a:gd name="adj" fmla="val 28570"/>
            <a:gd name="vf" fmla="val 115470"/>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008000"/>
              </a:solidFill>
            </a:rPr>
            <a:t>Deployment Process</a:t>
          </a:r>
        </a:p>
      </dsp:txBody>
      <dsp:txXfrm>
        <a:off x="2156302" y="2619062"/>
        <a:ext cx="1016763" cy="879619"/>
      </dsp:txXfrm>
    </dsp:sp>
    <dsp:sp modelId="{EDF8DD44-674E-4924-8424-95997E9E3296}">
      <dsp:nvSpPr>
        <dsp:cNvPr id="0" name=""/>
        <dsp:cNvSpPr/>
      </dsp:nvSpPr>
      <dsp:spPr>
        <a:xfrm>
          <a:off x="1904268" y="807431"/>
          <a:ext cx="1520831" cy="1315697"/>
        </a:xfrm>
        <a:prstGeom prst="hexagon">
          <a:avLst>
            <a:gd name="adj" fmla="val 28570"/>
            <a:gd name="vf" fmla="val 115470"/>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rgbClr val="008000"/>
              </a:solidFill>
            </a:rPr>
            <a:t>Planning System</a:t>
          </a:r>
        </a:p>
      </dsp:txBody>
      <dsp:txXfrm>
        <a:off x="2156302" y="1025470"/>
        <a:ext cx="1016763" cy="8796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36F153-7EFC-4171-AFDF-D0A5CB145F8D}">
      <dsp:nvSpPr>
        <dsp:cNvPr id="0" name=""/>
        <dsp:cNvSpPr/>
      </dsp:nvSpPr>
      <dsp:spPr>
        <a:xfrm>
          <a:off x="1519938" y="262413"/>
          <a:ext cx="3538165" cy="3538165"/>
        </a:xfrm>
        <a:prstGeom prst="pie">
          <a:avLst>
            <a:gd name="adj1" fmla="val 162000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Improved Team Experience</a:t>
          </a:r>
        </a:p>
      </dsp:txBody>
      <dsp:txXfrm>
        <a:off x="3329457" y="916974"/>
        <a:ext cx="1305751" cy="1053025"/>
      </dsp:txXfrm>
    </dsp:sp>
    <dsp:sp modelId="{7BB80162-8D99-482A-A4FA-6A464F2187C5}">
      <dsp:nvSpPr>
        <dsp:cNvPr id="0" name=""/>
        <dsp:cNvSpPr/>
      </dsp:nvSpPr>
      <dsp:spPr>
        <a:xfrm>
          <a:off x="1370830" y="411522"/>
          <a:ext cx="3538165" cy="3538165"/>
        </a:xfrm>
        <a:prstGeom prst="pie">
          <a:avLst>
            <a:gd name="adj1" fmla="val 0"/>
            <a:gd name="adj2" fmla="val 54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Improved Patient Experience</a:t>
          </a:r>
        </a:p>
      </dsp:txBody>
      <dsp:txXfrm>
        <a:off x="3203094" y="2243786"/>
        <a:ext cx="1305751" cy="1053025"/>
      </dsp:txXfrm>
    </dsp:sp>
    <dsp:sp modelId="{390AACDC-EDD7-4B95-A6E0-7D0B4B88EE03}">
      <dsp:nvSpPr>
        <dsp:cNvPr id="0" name=""/>
        <dsp:cNvSpPr/>
      </dsp:nvSpPr>
      <dsp:spPr>
        <a:xfrm>
          <a:off x="1345674" y="436714"/>
          <a:ext cx="3538165" cy="3538165"/>
        </a:xfrm>
        <a:prstGeom prst="pie">
          <a:avLst>
            <a:gd name="adj1" fmla="val 5400000"/>
            <a:gd name="adj2" fmla="val 108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Lower Costs</a:t>
          </a:r>
        </a:p>
      </dsp:txBody>
      <dsp:txXfrm>
        <a:off x="1745823" y="2268978"/>
        <a:ext cx="1305751" cy="1053025"/>
      </dsp:txXfrm>
    </dsp:sp>
    <dsp:sp modelId="{CB5A2586-03CA-4170-A88B-CD59B61D2FC0}">
      <dsp:nvSpPr>
        <dsp:cNvPr id="0" name=""/>
        <dsp:cNvSpPr/>
      </dsp:nvSpPr>
      <dsp:spPr>
        <a:xfrm>
          <a:off x="1360746" y="401438"/>
          <a:ext cx="3538165" cy="3538165"/>
        </a:xfrm>
        <a:prstGeom prst="pie">
          <a:avLst>
            <a:gd name="adj1" fmla="val 108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0" kern="1200" dirty="0"/>
            <a:t>Better Outcomes</a:t>
          </a:r>
        </a:p>
      </dsp:txBody>
      <dsp:txXfrm>
        <a:off x="1760896" y="1054314"/>
        <a:ext cx="1305751" cy="10530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5598C6-2DBB-4816-B490-C55F3654A64D}">
      <dsp:nvSpPr>
        <dsp:cNvPr id="0" name=""/>
        <dsp:cNvSpPr/>
      </dsp:nvSpPr>
      <dsp:spPr>
        <a:xfrm rot="10800000">
          <a:off x="0" y="0"/>
          <a:ext cx="2706168" cy="677333"/>
        </a:xfrm>
        <a:prstGeom prst="trapezoid">
          <a:avLst>
            <a:gd name="adj" fmla="val 66589"/>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rPr>
            <a:t>Results and Benefits Realization</a:t>
          </a:r>
        </a:p>
      </dsp:txBody>
      <dsp:txXfrm rot="-10800000">
        <a:off x="473579" y="0"/>
        <a:ext cx="1759009" cy="677333"/>
      </dsp:txXfrm>
    </dsp:sp>
    <dsp:sp modelId="{0B4C2D77-36DF-4E67-AF3C-3DA458DB7994}">
      <dsp:nvSpPr>
        <dsp:cNvPr id="0" name=""/>
        <dsp:cNvSpPr/>
      </dsp:nvSpPr>
      <dsp:spPr>
        <a:xfrm rot="10800000">
          <a:off x="451027" y="677333"/>
          <a:ext cx="1804112" cy="677333"/>
        </a:xfrm>
        <a:prstGeom prst="trapezoid">
          <a:avLst>
            <a:gd name="adj" fmla="val 66589"/>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bg1"/>
              </a:solidFill>
            </a:rPr>
            <a:t>Decisions-Actions</a:t>
          </a:r>
        </a:p>
      </dsp:txBody>
      <dsp:txXfrm rot="-10800000">
        <a:off x="766747" y="677333"/>
        <a:ext cx="1172672" cy="677333"/>
      </dsp:txXfrm>
    </dsp:sp>
    <dsp:sp modelId="{E465B94F-B42D-4962-859A-EDD3C95F42F5}">
      <dsp:nvSpPr>
        <dsp:cNvPr id="0" name=""/>
        <dsp:cNvSpPr/>
      </dsp:nvSpPr>
      <dsp:spPr>
        <a:xfrm rot="10800000">
          <a:off x="902056" y="1354667"/>
          <a:ext cx="902056" cy="677333"/>
        </a:xfrm>
        <a:prstGeom prst="trapezoid">
          <a:avLst>
            <a:gd name="adj" fmla="val 66589"/>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ctr" defTabSz="622300">
            <a:lnSpc>
              <a:spcPct val="90000"/>
            </a:lnSpc>
            <a:spcBef>
              <a:spcPct val="0"/>
            </a:spcBef>
            <a:spcAft>
              <a:spcPct val="35000"/>
            </a:spcAft>
            <a:buNone/>
          </a:pPr>
          <a:r>
            <a:rPr lang="en-US" sz="1400" kern="1200" dirty="0"/>
            <a:t>Insights</a:t>
          </a:r>
        </a:p>
        <a:p>
          <a:pPr marL="0" lvl="0" indent="0" algn="ctr" defTabSz="622300">
            <a:lnSpc>
              <a:spcPct val="90000"/>
            </a:lnSpc>
            <a:spcBef>
              <a:spcPct val="0"/>
            </a:spcBef>
            <a:spcAft>
              <a:spcPct val="35000"/>
            </a:spcAft>
            <a:buNone/>
          </a:pPr>
          <a:r>
            <a:rPr lang="en-US" sz="1400" kern="1200" dirty="0"/>
            <a:t>Under-</a:t>
          </a:r>
        </a:p>
        <a:p>
          <a:pPr marL="0" lvl="0" indent="0" algn="ctr" defTabSz="622300">
            <a:lnSpc>
              <a:spcPct val="90000"/>
            </a:lnSpc>
            <a:spcBef>
              <a:spcPct val="0"/>
            </a:spcBef>
            <a:spcAft>
              <a:spcPct val="35000"/>
            </a:spcAft>
            <a:buNone/>
          </a:pPr>
          <a:r>
            <a:rPr lang="en-US" sz="1400" kern="1200" dirty="0"/>
            <a:t>standing</a:t>
          </a:r>
        </a:p>
      </dsp:txBody>
      <dsp:txXfrm rot="-10800000">
        <a:off x="902056" y="1354667"/>
        <a:ext cx="902056" cy="6773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5598C6-2DBB-4816-B490-C55F3654A64D}">
      <dsp:nvSpPr>
        <dsp:cNvPr id="0" name=""/>
        <dsp:cNvSpPr/>
      </dsp:nvSpPr>
      <dsp:spPr>
        <a:xfrm rot="10800000">
          <a:off x="0" y="0"/>
          <a:ext cx="1982545" cy="677333"/>
        </a:xfrm>
        <a:prstGeom prst="trapezoid">
          <a:avLst>
            <a:gd name="adj" fmla="val 62217"/>
          </a:avLst>
        </a:prstGeom>
        <a:gradFill flip="none" rotWithShape="0">
          <a:gsLst>
            <a:gs pos="0">
              <a:schemeClr val="accent1">
                <a:lumMod val="50000"/>
                <a:shade val="30000"/>
                <a:satMod val="115000"/>
              </a:schemeClr>
            </a:gs>
            <a:gs pos="50000">
              <a:schemeClr val="accent1">
                <a:lumMod val="50000"/>
                <a:shade val="67500"/>
                <a:satMod val="115000"/>
              </a:schemeClr>
            </a:gs>
            <a:gs pos="100000">
              <a:schemeClr val="accent1">
                <a:lumMod val="50000"/>
                <a:shade val="100000"/>
                <a:satMod val="115000"/>
              </a:schemeClr>
            </a:gs>
          </a:gsLst>
          <a:lin ang="27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rPr>
            <a:t>Results and Benefits Realization</a:t>
          </a:r>
        </a:p>
      </dsp:txBody>
      <dsp:txXfrm rot="-10800000">
        <a:off x="346945" y="0"/>
        <a:ext cx="1288654" cy="677333"/>
      </dsp:txXfrm>
    </dsp:sp>
    <dsp:sp modelId="{0B4C2D77-36DF-4E67-AF3C-3DA458DB7994}">
      <dsp:nvSpPr>
        <dsp:cNvPr id="0" name=""/>
        <dsp:cNvSpPr/>
      </dsp:nvSpPr>
      <dsp:spPr>
        <a:xfrm rot="10800000">
          <a:off x="33030" y="677333"/>
          <a:ext cx="1950399" cy="677333"/>
        </a:xfrm>
        <a:prstGeom prst="trapezoid">
          <a:avLst>
            <a:gd name="adj" fmla="val 62217"/>
          </a:avLst>
        </a:prstGeom>
        <a:gradFill flip="none" rotWithShape="0">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bg1"/>
              </a:solidFill>
            </a:rPr>
            <a:t>Decisions-Actions</a:t>
          </a:r>
        </a:p>
      </dsp:txBody>
      <dsp:txXfrm rot="-10800000">
        <a:off x="374350" y="677333"/>
        <a:ext cx="1267759" cy="677333"/>
      </dsp:txXfrm>
    </dsp:sp>
    <dsp:sp modelId="{E465B94F-B42D-4962-859A-EDD3C95F42F5}">
      <dsp:nvSpPr>
        <dsp:cNvPr id="0" name=""/>
        <dsp:cNvSpPr/>
      </dsp:nvSpPr>
      <dsp:spPr>
        <a:xfrm rot="10800000">
          <a:off x="326062" y="1354667"/>
          <a:ext cx="1387480" cy="677333"/>
        </a:xfrm>
        <a:prstGeom prst="trapezoid">
          <a:avLst>
            <a:gd name="adj" fmla="val 62217"/>
          </a:avLst>
        </a:prstGeom>
        <a:gradFill flip="none" rotWithShape="0">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t" anchorCtr="0">
          <a:noAutofit/>
        </a:bodyPr>
        <a:lstStyle/>
        <a:p>
          <a:pPr marL="0" lvl="0" indent="0" algn="ctr" defTabSz="622300">
            <a:lnSpc>
              <a:spcPct val="90000"/>
            </a:lnSpc>
            <a:spcBef>
              <a:spcPct val="0"/>
            </a:spcBef>
            <a:spcAft>
              <a:spcPct val="35000"/>
            </a:spcAft>
            <a:buNone/>
          </a:pPr>
          <a:r>
            <a:rPr lang="en-US" sz="1400" kern="1200" dirty="0"/>
            <a:t>Insights</a:t>
          </a:r>
        </a:p>
        <a:p>
          <a:pPr marL="0" lvl="0" indent="0" algn="ctr" defTabSz="622300">
            <a:lnSpc>
              <a:spcPct val="90000"/>
            </a:lnSpc>
            <a:spcBef>
              <a:spcPct val="0"/>
            </a:spcBef>
            <a:spcAft>
              <a:spcPct val="35000"/>
            </a:spcAft>
            <a:buNone/>
          </a:pPr>
          <a:r>
            <a:rPr lang="en-US" sz="1400" kern="1200" dirty="0"/>
            <a:t>Understanding</a:t>
          </a:r>
        </a:p>
      </dsp:txBody>
      <dsp:txXfrm rot="-10800000">
        <a:off x="326062" y="1354667"/>
        <a:ext cx="1387480" cy="677333"/>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4.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7762" name="Rectangle 2">
            <a:extLst>
              <a:ext uri="{FF2B5EF4-FFF2-40B4-BE49-F238E27FC236}">
                <a16:creationId xmlns:a16="http://schemas.microsoft.com/office/drawing/2014/main" id="{29EF72D9-DF98-4506-AEE6-F4A30A5A2DF0}"/>
              </a:ext>
            </a:extLst>
          </p:cNvPr>
          <p:cNvSpPr>
            <a:spLocks noGrp="1" noChangeArrowheads="1"/>
          </p:cNvSpPr>
          <p:nvPr>
            <p:ph type="hdr" sz="quarter"/>
          </p:nvPr>
        </p:nvSpPr>
        <p:spPr bwMode="auto">
          <a:xfrm>
            <a:off x="0" y="0"/>
            <a:ext cx="3078163" cy="469900"/>
          </a:xfrm>
          <a:prstGeom prst="rect">
            <a:avLst/>
          </a:prstGeom>
          <a:noFill/>
          <a:ln w="9525">
            <a:noFill/>
            <a:miter lim="800000"/>
            <a:headEnd/>
            <a:tailEnd/>
          </a:ln>
          <a:effectLst/>
        </p:spPr>
        <p:txBody>
          <a:bodyPr vert="horz" wrap="square" lIns="94223" tIns="47112" rIns="94223" bIns="47112" numCol="1" anchor="t" anchorCtr="0" compatLnSpc="1">
            <a:prstTxWarp prst="textNoShape">
              <a:avLst/>
            </a:prstTxWarp>
          </a:bodyPr>
          <a:lstStyle>
            <a:lvl1pPr defTabSz="942845" eaLnBrk="0" hangingPunct="0">
              <a:defRPr sz="1200">
                <a:latin typeface="Arial" charset="0"/>
                <a:ea typeface="ＭＳ Ｐゴシック" pitchFamily="1" charset="-128"/>
                <a:cs typeface="+mn-cs"/>
              </a:defRPr>
            </a:lvl1pPr>
          </a:lstStyle>
          <a:p>
            <a:pPr>
              <a:defRPr/>
            </a:pPr>
            <a:endParaRPr lang="en-US"/>
          </a:p>
        </p:txBody>
      </p:sp>
      <p:sp>
        <p:nvSpPr>
          <p:cNvPr id="117763" name="Rectangle 3">
            <a:extLst>
              <a:ext uri="{FF2B5EF4-FFF2-40B4-BE49-F238E27FC236}">
                <a16:creationId xmlns:a16="http://schemas.microsoft.com/office/drawing/2014/main" id="{DEDF2839-66E4-4191-B0B9-CEC84E284864}"/>
              </a:ext>
            </a:extLst>
          </p:cNvPr>
          <p:cNvSpPr>
            <a:spLocks noGrp="1" noChangeArrowheads="1"/>
          </p:cNvSpPr>
          <p:nvPr>
            <p:ph type="dt" sz="quarter" idx="1"/>
          </p:nvPr>
        </p:nvSpPr>
        <p:spPr bwMode="auto">
          <a:xfrm>
            <a:off x="4022725" y="0"/>
            <a:ext cx="3078163" cy="469900"/>
          </a:xfrm>
          <a:prstGeom prst="rect">
            <a:avLst/>
          </a:prstGeom>
          <a:noFill/>
          <a:ln w="9525">
            <a:noFill/>
            <a:miter lim="800000"/>
            <a:headEnd/>
            <a:tailEnd/>
          </a:ln>
          <a:effectLst/>
        </p:spPr>
        <p:txBody>
          <a:bodyPr vert="horz" wrap="square" lIns="94223" tIns="47112" rIns="94223" bIns="47112" numCol="1" anchor="t" anchorCtr="0" compatLnSpc="1">
            <a:prstTxWarp prst="textNoShape">
              <a:avLst/>
            </a:prstTxWarp>
          </a:bodyPr>
          <a:lstStyle>
            <a:lvl1pPr algn="r" defTabSz="942845" eaLnBrk="0" hangingPunct="0">
              <a:defRPr sz="1200">
                <a:latin typeface="Arial" charset="0"/>
                <a:ea typeface="ＭＳ Ｐゴシック" pitchFamily="1" charset="-128"/>
                <a:cs typeface="+mn-cs"/>
              </a:defRPr>
            </a:lvl1pPr>
          </a:lstStyle>
          <a:p>
            <a:pPr>
              <a:defRPr/>
            </a:pPr>
            <a:endParaRPr lang="en-US"/>
          </a:p>
        </p:txBody>
      </p:sp>
      <p:sp>
        <p:nvSpPr>
          <p:cNvPr id="117764" name="Rectangle 4">
            <a:extLst>
              <a:ext uri="{FF2B5EF4-FFF2-40B4-BE49-F238E27FC236}">
                <a16:creationId xmlns:a16="http://schemas.microsoft.com/office/drawing/2014/main" id="{F6AEDB16-403E-4029-B07E-E9058C3EF8EB}"/>
              </a:ext>
            </a:extLst>
          </p:cNvPr>
          <p:cNvSpPr>
            <a:spLocks noGrp="1" noChangeArrowheads="1"/>
          </p:cNvSpPr>
          <p:nvPr>
            <p:ph type="ftr" sz="quarter" idx="2"/>
          </p:nvPr>
        </p:nvSpPr>
        <p:spPr bwMode="auto">
          <a:xfrm>
            <a:off x="0" y="8916988"/>
            <a:ext cx="3078163" cy="469900"/>
          </a:xfrm>
          <a:prstGeom prst="rect">
            <a:avLst/>
          </a:prstGeom>
          <a:noFill/>
          <a:ln w="9525">
            <a:noFill/>
            <a:miter lim="800000"/>
            <a:headEnd/>
            <a:tailEnd/>
          </a:ln>
          <a:effectLst/>
        </p:spPr>
        <p:txBody>
          <a:bodyPr vert="horz" wrap="square" lIns="94223" tIns="47112" rIns="94223" bIns="47112" numCol="1" anchor="b" anchorCtr="0" compatLnSpc="1">
            <a:prstTxWarp prst="textNoShape">
              <a:avLst/>
            </a:prstTxWarp>
          </a:bodyPr>
          <a:lstStyle>
            <a:lvl1pPr defTabSz="942845" eaLnBrk="0" hangingPunct="0">
              <a:defRPr sz="1200">
                <a:latin typeface="Arial" charset="0"/>
                <a:ea typeface="ＭＳ Ｐゴシック" pitchFamily="1" charset="-128"/>
                <a:cs typeface="+mn-cs"/>
              </a:defRPr>
            </a:lvl1pPr>
          </a:lstStyle>
          <a:p>
            <a:pPr>
              <a:defRPr/>
            </a:pPr>
            <a:endParaRPr lang="en-US"/>
          </a:p>
        </p:txBody>
      </p:sp>
      <p:sp>
        <p:nvSpPr>
          <p:cNvPr id="117765" name="Rectangle 5">
            <a:extLst>
              <a:ext uri="{FF2B5EF4-FFF2-40B4-BE49-F238E27FC236}">
                <a16:creationId xmlns:a16="http://schemas.microsoft.com/office/drawing/2014/main" id="{95AB19BE-9604-4ED4-91D5-F05154EC0368}"/>
              </a:ext>
            </a:extLst>
          </p:cNvPr>
          <p:cNvSpPr>
            <a:spLocks noGrp="1" noChangeArrowheads="1"/>
          </p:cNvSpPr>
          <p:nvPr>
            <p:ph type="sldNum" sz="quarter" idx="3"/>
          </p:nvPr>
        </p:nvSpPr>
        <p:spPr bwMode="auto">
          <a:xfrm>
            <a:off x="4022725" y="8916988"/>
            <a:ext cx="3078163" cy="469900"/>
          </a:xfrm>
          <a:prstGeom prst="rect">
            <a:avLst/>
          </a:prstGeom>
          <a:noFill/>
          <a:ln w="9525">
            <a:noFill/>
            <a:miter lim="800000"/>
            <a:headEnd/>
            <a:tailEnd/>
          </a:ln>
          <a:effectLst/>
        </p:spPr>
        <p:txBody>
          <a:bodyPr vert="horz" wrap="square" lIns="94223" tIns="47112" rIns="94223" bIns="47112" numCol="1" anchor="b" anchorCtr="0" compatLnSpc="1">
            <a:prstTxWarp prst="textNoShape">
              <a:avLst/>
            </a:prstTxWarp>
          </a:bodyPr>
          <a:lstStyle>
            <a:lvl1pPr algn="r" defTabSz="941388" eaLnBrk="0" hangingPunct="0">
              <a:defRPr sz="1200"/>
            </a:lvl1pPr>
          </a:lstStyle>
          <a:p>
            <a:pPr>
              <a:defRPr/>
            </a:pPr>
            <a:fld id="{C1672B34-45FC-4D7E-891B-073F4118003C}"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D7FB2D20-5195-453E-9BA4-277849D43BCE}"/>
              </a:ext>
            </a:extLst>
          </p:cNvPr>
          <p:cNvSpPr>
            <a:spLocks noGrp="1" noChangeArrowheads="1"/>
          </p:cNvSpPr>
          <p:nvPr>
            <p:ph type="hdr" sz="quarter"/>
          </p:nvPr>
        </p:nvSpPr>
        <p:spPr bwMode="auto">
          <a:xfrm>
            <a:off x="0" y="0"/>
            <a:ext cx="3078163" cy="469900"/>
          </a:xfrm>
          <a:prstGeom prst="rect">
            <a:avLst/>
          </a:prstGeom>
          <a:noFill/>
          <a:ln w="9525">
            <a:noFill/>
            <a:miter lim="800000"/>
            <a:headEnd/>
            <a:tailEnd/>
          </a:ln>
        </p:spPr>
        <p:txBody>
          <a:bodyPr vert="horz" wrap="square" lIns="94223" tIns="47112" rIns="94223" bIns="47112" numCol="1" anchor="t" anchorCtr="0" compatLnSpc="1">
            <a:prstTxWarp prst="textNoShape">
              <a:avLst/>
            </a:prstTxWarp>
          </a:bodyPr>
          <a:lstStyle>
            <a:lvl1pPr defTabSz="942845" eaLnBrk="0" hangingPunct="0">
              <a:defRPr sz="1200">
                <a:latin typeface="Arial" charset="0"/>
                <a:ea typeface="ＭＳ Ｐゴシック" pitchFamily="1" charset="-128"/>
                <a:cs typeface="+mn-cs"/>
              </a:defRPr>
            </a:lvl1pPr>
          </a:lstStyle>
          <a:p>
            <a:pPr>
              <a:defRPr/>
            </a:pPr>
            <a:endParaRPr lang="en-US"/>
          </a:p>
        </p:txBody>
      </p:sp>
      <p:sp>
        <p:nvSpPr>
          <p:cNvPr id="3075" name="Rectangle 3">
            <a:extLst>
              <a:ext uri="{FF2B5EF4-FFF2-40B4-BE49-F238E27FC236}">
                <a16:creationId xmlns:a16="http://schemas.microsoft.com/office/drawing/2014/main" id="{D1D29739-8FB1-467F-B014-B4665269C12F}"/>
              </a:ext>
            </a:extLst>
          </p:cNvPr>
          <p:cNvSpPr>
            <a:spLocks noGrp="1" noChangeArrowheads="1"/>
          </p:cNvSpPr>
          <p:nvPr>
            <p:ph type="dt" idx="1"/>
          </p:nvPr>
        </p:nvSpPr>
        <p:spPr bwMode="auto">
          <a:xfrm>
            <a:off x="4024313" y="0"/>
            <a:ext cx="3078162" cy="469900"/>
          </a:xfrm>
          <a:prstGeom prst="rect">
            <a:avLst/>
          </a:prstGeom>
          <a:noFill/>
          <a:ln w="9525">
            <a:noFill/>
            <a:miter lim="800000"/>
            <a:headEnd/>
            <a:tailEnd/>
          </a:ln>
        </p:spPr>
        <p:txBody>
          <a:bodyPr vert="horz" wrap="square" lIns="94223" tIns="47112" rIns="94223" bIns="47112" numCol="1" anchor="t" anchorCtr="0" compatLnSpc="1">
            <a:prstTxWarp prst="textNoShape">
              <a:avLst/>
            </a:prstTxWarp>
          </a:bodyPr>
          <a:lstStyle>
            <a:lvl1pPr algn="r" defTabSz="942845" eaLnBrk="0" hangingPunct="0">
              <a:defRPr sz="1200">
                <a:latin typeface="Arial" charset="0"/>
                <a:ea typeface="ＭＳ Ｐゴシック" pitchFamily="1" charset="-128"/>
                <a:cs typeface="+mn-cs"/>
              </a:defRPr>
            </a:lvl1pPr>
          </a:lstStyle>
          <a:p>
            <a:pPr>
              <a:defRPr/>
            </a:pPr>
            <a:endParaRPr lang="en-US"/>
          </a:p>
        </p:txBody>
      </p:sp>
      <p:sp>
        <p:nvSpPr>
          <p:cNvPr id="32772" name="Rectangle 4">
            <a:extLst>
              <a:ext uri="{FF2B5EF4-FFF2-40B4-BE49-F238E27FC236}">
                <a16:creationId xmlns:a16="http://schemas.microsoft.com/office/drawing/2014/main" id="{B2493843-2C12-4768-99B3-8BFA5EF1A6C3}"/>
              </a:ext>
            </a:extLst>
          </p:cNvPr>
          <p:cNvSpPr>
            <a:spLocks noGrp="1" noRot="1" noChangeAspect="1" noChangeArrowheads="1" noTextEdit="1"/>
          </p:cNvSpPr>
          <p:nvPr>
            <p:ph type="sldImg" idx="2"/>
          </p:nvPr>
        </p:nvSpPr>
        <p:spPr bwMode="auto">
          <a:xfrm>
            <a:off x="1204913" y="703263"/>
            <a:ext cx="4692650" cy="35210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a:extLst>
              <a:ext uri="{FF2B5EF4-FFF2-40B4-BE49-F238E27FC236}">
                <a16:creationId xmlns:a16="http://schemas.microsoft.com/office/drawing/2014/main" id="{BC5A40E7-1E2B-42A4-B0BC-E2390DB2E887}"/>
              </a:ext>
            </a:extLst>
          </p:cNvPr>
          <p:cNvSpPr>
            <a:spLocks noGrp="1" noChangeArrowheads="1"/>
          </p:cNvSpPr>
          <p:nvPr>
            <p:ph type="body" sz="quarter" idx="3"/>
          </p:nvPr>
        </p:nvSpPr>
        <p:spPr bwMode="auto">
          <a:xfrm>
            <a:off x="947738" y="4459288"/>
            <a:ext cx="5207000" cy="4225925"/>
          </a:xfrm>
          <a:prstGeom prst="rect">
            <a:avLst/>
          </a:prstGeom>
          <a:noFill/>
          <a:ln w="9525">
            <a:noFill/>
            <a:miter lim="800000"/>
            <a:headEnd/>
            <a:tailEnd/>
          </a:ln>
        </p:spPr>
        <p:txBody>
          <a:bodyPr vert="horz" wrap="square" lIns="94223" tIns="47112" rIns="94223" bIns="4711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78" name="Rectangle 6">
            <a:extLst>
              <a:ext uri="{FF2B5EF4-FFF2-40B4-BE49-F238E27FC236}">
                <a16:creationId xmlns:a16="http://schemas.microsoft.com/office/drawing/2014/main" id="{3FB6B8B5-6A53-4575-9AB2-C06DB3FFC45B}"/>
              </a:ext>
            </a:extLst>
          </p:cNvPr>
          <p:cNvSpPr>
            <a:spLocks noGrp="1" noChangeArrowheads="1"/>
          </p:cNvSpPr>
          <p:nvPr>
            <p:ph type="ftr" sz="quarter" idx="4"/>
          </p:nvPr>
        </p:nvSpPr>
        <p:spPr bwMode="auto">
          <a:xfrm>
            <a:off x="0" y="8918575"/>
            <a:ext cx="3078163" cy="469900"/>
          </a:xfrm>
          <a:prstGeom prst="rect">
            <a:avLst/>
          </a:prstGeom>
          <a:noFill/>
          <a:ln w="9525">
            <a:noFill/>
            <a:miter lim="800000"/>
            <a:headEnd/>
            <a:tailEnd/>
          </a:ln>
        </p:spPr>
        <p:txBody>
          <a:bodyPr vert="horz" wrap="square" lIns="94223" tIns="47112" rIns="94223" bIns="47112" numCol="1" anchor="b" anchorCtr="0" compatLnSpc="1">
            <a:prstTxWarp prst="textNoShape">
              <a:avLst/>
            </a:prstTxWarp>
          </a:bodyPr>
          <a:lstStyle>
            <a:lvl1pPr defTabSz="942845" eaLnBrk="0" hangingPunct="0">
              <a:defRPr sz="1200">
                <a:latin typeface="Arial" charset="0"/>
                <a:ea typeface="ＭＳ Ｐゴシック" pitchFamily="1" charset="-128"/>
                <a:cs typeface="+mn-cs"/>
              </a:defRPr>
            </a:lvl1pPr>
          </a:lstStyle>
          <a:p>
            <a:pPr>
              <a:defRPr/>
            </a:pPr>
            <a:endParaRPr lang="en-US"/>
          </a:p>
        </p:txBody>
      </p:sp>
      <p:sp>
        <p:nvSpPr>
          <p:cNvPr id="3079" name="Rectangle 7">
            <a:extLst>
              <a:ext uri="{FF2B5EF4-FFF2-40B4-BE49-F238E27FC236}">
                <a16:creationId xmlns:a16="http://schemas.microsoft.com/office/drawing/2014/main" id="{E173ADB6-48D7-4A6E-A7CF-3D1610CA70A5}"/>
              </a:ext>
            </a:extLst>
          </p:cNvPr>
          <p:cNvSpPr>
            <a:spLocks noGrp="1" noChangeArrowheads="1"/>
          </p:cNvSpPr>
          <p:nvPr>
            <p:ph type="sldNum" sz="quarter" idx="5"/>
          </p:nvPr>
        </p:nvSpPr>
        <p:spPr bwMode="auto">
          <a:xfrm>
            <a:off x="4024313" y="8918575"/>
            <a:ext cx="3078162" cy="469900"/>
          </a:xfrm>
          <a:prstGeom prst="rect">
            <a:avLst/>
          </a:prstGeom>
          <a:noFill/>
          <a:ln w="9525">
            <a:noFill/>
            <a:miter lim="800000"/>
            <a:headEnd/>
            <a:tailEnd/>
          </a:ln>
        </p:spPr>
        <p:txBody>
          <a:bodyPr vert="horz" wrap="square" lIns="94223" tIns="47112" rIns="94223" bIns="47112" numCol="1" anchor="b" anchorCtr="0" compatLnSpc="1">
            <a:prstTxWarp prst="textNoShape">
              <a:avLst/>
            </a:prstTxWarp>
          </a:bodyPr>
          <a:lstStyle>
            <a:lvl1pPr algn="r" defTabSz="941388" eaLnBrk="0" hangingPunct="0">
              <a:defRPr sz="1200"/>
            </a:lvl1pPr>
          </a:lstStyle>
          <a:p>
            <a:pPr>
              <a:defRPr/>
            </a:pPr>
            <a:fld id="{44EAB8BE-9DCC-4D55-9EB2-E7316447B45E}"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CC86D6-FEBC-4232-9FCE-2A82B99F518B}" type="slidenum">
              <a:rPr lang="en-US" smtClean="0"/>
              <a:t>2</a:t>
            </a:fld>
            <a:endParaRPr lang="en-US"/>
          </a:p>
        </p:txBody>
      </p:sp>
    </p:spTree>
    <p:extLst>
      <p:ext uri="{BB962C8B-B14F-4D97-AF65-F5344CB8AC3E}">
        <p14:creationId xmlns:p14="http://schemas.microsoft.com/office/powerpoint/2010/main" val="3013124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7013" y="717550"/>
            <a:ext cx="4321175"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4143587" y="9119474"/>
            <a:ext cx="3169920" cy="481726"/>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88B3B0-AB94-43A5-8164-A29B2AFBB5DE}"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4736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9550" y="357188"/>
            <a:ext cx="8191500" cy="6143625"/>
          </a:xfrm>
        </p:spPr>
      </p:sp>
      <p:sp>
        <p:nvSpPr>
          <p:cNvPr id="3" name="Notes Placeholder 2"/>
          <p:cNvSpPr>
            <a:spLocks noGrp="1"/>
          </p:cNvSpPr>
          <p:nvPr>
            <p:ph type="body" idx="1"/>
          </p:nvPr>
        </p:nvSpPr>
        <p:spPr/>
        <p:txBody>
          <a:bodyPr/>
          <a:lstStyle/>
          <a:p>
            <a:r>
              <a:rPr lang="en-US" b="1" dirty="0"/>
              <a:t>Lean Value Proposition</a:t>
            </a:r>
          </a:p>
          <a:p>
            <a:r>
              <a:rPr lang="en-US" dirty="0"/>
              <a:t>To remain effective, healthcare services need to deliver higher and more reliable quality, safer care, and faster patient access—and accomplish all of this at the lowest possible cost.</a:t>
            </a:r>
          </a:p>
          <a:p>
            <a:r>
              <a:rPr lang="en-US" dirty="0"/>
              <a:t>However, Lean is really a system for delivering mutual success (Toyota refers to this as mutual prosperity) for the customer (patient), the staff/associates, and the enterprise.</a:t>
            </a:r>
          </a:p>
          <a:p>
            <a:pPr lvl="1"/>
            <a:r>
              <a:rPr lang="en-US" dirty="0"/>
              <a:t>That means success for the patient measured by the quality, cost, timeliness, and empathetic delivery of care.</a:t>
            </a:r>
          </a:p>
          <a:p>
            <a:pPr lvl="1"/>
            <a:r>
              <a:rPr lang="en-US" dirty="0"/>
              <a:t>That means success for the caregivers and staff as measured by reasonable, meaningful work that is supported by the organization’s leadership.</a:t>
            </a:r>
          </a:p>
          <a:p>
            <a:pPr lvl="1"/>
            <a:r>
              <a:rPr lang="en-US" dirty="0"/>
              <a:t>That also means that the enterprise delivers profitability to shareholders and contributes positively to society.</a:t>
            </a:r>
          </a:p>
          <a:p>
            <a:pPr lvl="1"/>
            <a:endParaRPr lang="en-US" dirty="0"/>
          </a:p>
        </p:txBody>
      </p:sp>
    </p:spTree>
    <p:extLst>
      <p:ext uri="{BB962C8B-B14F-4D97-AF65-F5344CB8AC3E}">
        <p14:creationId xmlns:p14="http://schemas.microsoft.com/office/powerpoint/2010/main" val="2111888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38400" y="225425"/>
            <a:ext cx="5148263" cy="3862388"/>
          </a:xfrm>
        </p:spPr>
      </p:sp>
      <p:sp>
        <p:nvSpPr>
          <p:cNvPr id="3" name="Notes Placeholder 2"/>
          <p:cNvSpPr>
            <a:spLocks noGrp="1"/>
          </p:cNvSpPr>
          <p:nvPr>
            <p:ph type="body" idx="1"/>
          </p:nvPr>
        </p:nvSpPr>
        <p:spPr/>
        <p:txBody>
          <a:bodyPr/>
          <a:lstStyle/>
          <a:p>
            <a:pPr marL="0" indent="0">
              <a:buNone/>
            </a:pPr>
            <a:r>
              <a:rPr lang="en-US" b="1" dirty="0"/>
              <a:t>The Lean Operating System</a:t>
            </a:r>
          </a:p>
          <a:p>
            <a:r>
              <a:rPr lang="en-US" dirty="0"/>
              <a:t>This house illustrates the Lean Operating System. </a:t>
            </a:r>
          </a:p>
          <a:p>
            <a:pPr lvl="1"/>
            <a:r>
              <a:rPr lang="en-US" dirty="0"/>
              <a:t>The goal of level 1 is people development regarding education and alignment on a patient-centered system.</a:t>
            </a:r>
          </a:p>
          <a:p>
            <a:pPr lvl="1"/>
            <a:r>
              <a:rPr lang="en-US" dirty="0"/>
              <a:t>The goal of level 2 is reliable outcomes that meet patient needs. This level includes proactive activities such as ensuring supplies and equipment are available and ready to go when needed, establishing administrative and clinical standards, and initiating efforts to create flow. This level is also where managers learn how to be Lean leaders by working with their teams to fix problems that hamper everyday work.</a:t>
            </a:r>
          </a:p>
          <a:p>
            <a:pPr lvl="1"/>
            <a:r>
              <a:rPr lang="en-US" dirty="0"/>
              <a:t>The goal of level 3 is to match capacity to demand through level loading and understanding the cadence of patient demand (takt time). It is also when important business structures need to be altered, including the implementation of workflow control and long-term capacity and demand planning.</a:t>
            </a:r>
          </a:p>
          <a:p>
            <a:pPr lvl="1"/>
            <a:r>
              <a:rPr lang="en-US" dirty="0"/>
              <a:t>Level 4 establishes a takt (cadence) environment. At this level, key work elements of clinicians and staff are standardized including the amount of time to perform each step and balancing that time to cadence. Level 4 also requires a higher degree and faster rate of problem solving. </a:t>
            </a:r>
          </a:p>
          <a:p>
            <a:pPr lvl="1"/>
            <a:r>
              <a:rPr lang="en-US" dirty="0"/>
              <a:t>Level 5 is when the bar is raised so that existing standards cannot be met without improvemen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Lean Value - </a:t>
            </a:r>
            <a:fld id="{F932984F-C30C-1446-ACD0-37F06C6725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38447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381A7887-2DC6-4CE0-9F8F-F63044B7E778}" type="slidenum">
              <a:rPr lang="en-CA" smtClean="0"/>
              <a:t>42</a:t>
            </a:fld>
            <a:endParaRPr lang="en-CA" dirty="0"/>
          </a:p>
        </p:txBody>
      </p:sp>
    </p:spTree>
    <p:extLst>
      <p:ext uri="{BB962C8B-B14F-4D97-AF65-F5344CB8AC3E}">
        <p14:creationId xmlns:p14="http://schemas.microsoft.com/office/powerpoint/2010/main" val="20792197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gile, Sprints, OKR’s, leadership alignment, speed of trust …..</a:t>
            </a:r>
            <a:endParaRPr lang="en-CA" dirty="0"/>
          </a:p>
          <a:p>
            <a:r>
              <a:rPr lang="en-CA" dirty="0"/>
              <a:t>Explain OKR briefly and how it connects with what we are talking about </a:t>
            </a:r>
          </a:p>
        </p:txBody>
      </p:sp>
      <p:sp>
        <p:nvSpPr>
          <p:cNvPr id="4" name="Slide Number Placeholder 3"/>
          <p:cNvSpPr>
            <a:spLocks noGrp="1"/>
          </p:cNvSpPr>
          <p:nvPr>
            <p:ph type="sldNum" sz="quarter" idx="5"/>
          </p:nvPr>
        </p:nvSpPr>
        <p:spPr/>
        <p:txBody>
          <a:bodyPr/>
          <a:lstStyle/>
          <a:p>
            <a:fld id="{12116361-D9C7-45B7-B881-65DFE00A7BB3}" type="slidenum">
              <a:rPr lang="en-CA" smtClean="0"/>
              <a:t>44</a:t>
            </a:fld>
            <a:endParaRPr lang="en-CA"/>
          </a:p>
        </p:txBody>
      </p:sp>
    </p:spTree>
    <p:extLst>
      <p:ext uri="{BB962C8B-B14F-4D97-AF65-F5344CB8AC3E}">
        <p14:creationId xmlns:p14="http://schemas.microsoft.com/office/powerpoint/2010/main" val="20747675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61295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2116361-D9C7-45B7-B881-65DFE00A7BB3}" type="slidenum">
              <a:rPr lang="en-CA" smtClean="0"/>
              <a:t>49</a:t>
            </a:fld>
            <a:endParaRPr lang="en-CA"/>
          </a:p>
        </p:txBody>
      </p:sp>
    </p:spTree>
    <p:extLst>
      <p:ext uri="{BB962C8B-B14F-4D97-AF65-F5344CB8AC3E}">
        <p14:creationId xmlns:p14="http://schemas.microsoft.com/office/powerpoint/2010/main" val="19928649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2213" y="704850"/>
            <a:ext cx="4692650" cy="3519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0D78213-D397-4A04-81B2-FE43D821039E}" type="slidenum">
              <a:rPr lang="en-US" smtClean="0"/>
              <a:pPr>
                <a:defRPr/>
              </a:pPr>
              <a:t>50</a:t>
            </a:fld>
            <a:endParaRPr lang="en-US"/>
          </a:p>
        </p:txBody>
      </p:sp>
    </p:spTree>
    <p:extLst>
      <p:ext uri="{BB962C8B-B14F-4D97-AF65-F5344CB8AC3E}">
        <p14:creationId xmlns:p14="http://schemas.microsoft.com/office/powerpoint/2010/main" val="7039090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2116361-D9C7-45B7-B881-65DFE00A7BB3}" type="slidenum">
              <a:rPr lang="en-CA" smtClean="0"/>
              <a:t>51</a:t>
            </a:fld>
            <a:endParaRPr lang="en-CA"/>
          </a:p>
        </p:txBody>
      </p:sp>
    </p:spTree>
    <p:extLst>
      <p:ext uri="{BB962C8B-B14F-4D97-AF65-F5344CB8AC3E}">
        <p14:creationId xmlns:p14="http://schemas.microsoft.com/office/powerpoint/2010/main" val="19157835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800">
              <a:defRPr sz="2400">
                <a:solidFill>
                  <a:schemeClr val="tx1"/>
                </a:solidFill>
                <a:latin typeface="Times"/>
              </a:defRPr>
            </a:lvl1pPr>
            <a:lvl2pPr marL="742950" indent="-285750" defTabSz="939800">
              <a:defRPr sz="2400">
                <a:solidFill>
                  <a:schemeClr val="tx1"/>
                </a:solidFill>
                <a:latin typeface="Times"/>
              </a:defRPr>
            </a:lvl2pPr>
            <a:lvl3pPr marL="1143000" indent="-228600" defTabSz="939800">
              <a:defRPr sz="2400">
                <a:solidFill>
                  <a:schemeClr val="tx1"/>
                </a:solidFill>
                <a:latin typeface="Times"/>
              </a:defRPr>
            </a:lvl3pPr>
            <a:lvl4pPr marL="1600200" indent="-228600" defTabSz="939800">
              <a:defRPr sz="2400">
                <a:solidFill>
                  <a:schemeClr val="tx1"/>
                </a:solidFill>
                <a:latin typeface="Times"/>
              </a:defRPr>
            </a:lvl4pPr>
            <a:lvl5pPr marL="2057400" indent="-228600" defTabSz="939800">
              <a:defRPr sz="2400">
                <a:solidFill>
                  <a:schemeClr val="tx1"/>
                </a:solidFill>
                <a:latin typeface="Times"/>
              </a:defRPr>
            </a:lvl5pPr>
            <a:lvl6pPr marL="2514600" indent="-228600" defTabSz="939800" eaLnBrk="0" fontAlgn="base" hangingPunct="0">
              <a:spcBef>
                <a:spcPct val="0"/>
              </a:spcBef>
              <a:spcAft>
                <a:spcPct val="0"/>
              </a:spcAft>
              <a:defRPr sz="2400">
                <a:solidFill>
                  <a:schemeClr val="tx1"/>
                </a:solidFill>
                <a:latin typeface="Times"/>
              </a:defRPr>
            </a:lvl6pPr>
            <a:lvl7pPr marL="2971800" indent="-228600" defTabSz="939800" eaLnBrk="0" fontAlgn="base" hangingPunct="0">
              <a:spcBef>
                <a:spcPct val="0"/>
              </a:spcBef>
              <a:spcAft>
                <a:spcPct val="0"/>
              </a:spcAft>
              <a:defRPr sz="2400">
                <a:solidFill>
                  <a:schemeClr val="tx1"/>
                </a:solidFill>
                <a:latin typeface="Times"/>
              </a:defRPr>
            </a:lvl7pPr>
            <a:lvl8pPr marL="3429000" indent="-228600" defTabSz="939800" eaLnBrk="0" fontAlgn="base" hangingPunct="0">
              <a:spcBef>
                <a:spcPct val="0"/>
              </a:spcBef>
              <a:spcAft>
                <a:spcPct val="0"/>
              </a:spcAft>
              <a:defRPr sz="2400">
                <a:solidFill>
                  <a:schemeClr val="tx1"/>
                </a:solidFill>
                <a:latin typeface="Times"/>
              </a:defRPr>
            </a:lvl8pPr>
            <a:lvl9pPr marL="3886200" indent="-228600" defTabSz="939800" eaLnBrk="0" fontAlgn="base" hangingPunct="0">
              <a:spcBef>
                <a:spcPct val="0"/>
              </a:spcBef>
              <a:spcAft>
                <a:spcPct val="0"/>
              </a:spcAft>
              <a:defRPr sz="2400">
                <a:solidFill>
                  <a:schemeClr val="tx1"/>
                </a:solidFill>
                <a:latin typeface="Times"/>
              </a:defRPr>
            </a:lvl9pPr>
          </a:lstStyle>
          <a:p>
            <a:pPr>
              <a:defRPr/>
            </a:pPr>
            <a:fld id="{0A58B221-D67A-4D0C-A5A3-E60F3DC4D291}" type="slidenum">
              <a:rPr lang="en-US" sz="1200" smtClean="0">
                <a:solidFill>
                  <a:srgbClr val="000000"/>
                </a:solidFill>
              </a:rPr>
              <a:pPr>
                <a:defRPr/>
              </a:pPr>
              <a:t>56</a:t>
            </a:fld>
            <a:endParaRPr lang="en-US" sz="1200">
              <a:solidFill>
                <a:srgbClr val="000000"/>
              </a:solidFill>
            </a:endParaRPr>
          </a:p>
        </p:txBody>
      </p:sp>
      <p:sp>
        <p:nvSpPr>
          <p:cNvPr id="330755" name="Rectangle 2"/>
          <p:cNvSpPr>
            <a:spLocks noGrp="1" noRot="1" noChangeAspect="1" noChangeArrowheads="1" noTextEdit="1"/>
          </p:cNvSpPr>
          <p:nvPr>
            <p:ph type="sldImg"/>
          </p:nvPr>
        </p:nvSpPr>
        <p:spPr>
          <a:xfrm>
            <a:off x="-1795463" y="311150"/>
            <a:ext cx="8699501" cy="6524625"/>
          </a:xfrm>
          <a:ln/>
        </p:spPr>
      </p:sp>
      <p:sp>
        <p:nvSpPr>
          <p:cNvPr id="84996" name="Rectangle 3"/>
          <p:cNvSpPr>
            <a:spLocks noChangeArrowheads="1"/>
          </p:cNvSpPr>
          <p:nvPr/>
        </p:nvSpPr>
        <p:spPr bwMode="auto">
          <a:xfrm>
            <a:off x="230188" y="6938963"/>
            <a:ext cx="4641850" cy="21431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9648" tIns="49825" rIns="99648" bIns="49825"/>
          <a:lstStyle/>
          <a:p>
            <a:pPr eaLnBrk="1" hangingPunct="1">
              <a:spcBef>
                <a:spcPct val="30000"/>
              </a:spcBef>
              <a:defRPr/>
            </a:pPr>
            <a:r>
              <a:rPr lang="en-US" sz="1200">
                <a:solidFill>
                  <a:srgbClr val="000000"/>
                </a:solidFill>
              </a:rPr>
              <a:t>Notes:</a:t>
            </a:r>
          </a:p>
          <a:p>
            <a:pPr eaLnBrk="1" hangingPunct="1">
              <a:spcBef>
                <a:spcPct val="30000"/>
              </a:spcBef>
              <a:defRPr/>
            </a:pPr>
            <a:endParaRPr lang="en-US" sz="120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698">
              <a:defRPr sz="2400">
                <a:solidFill>
                  <a:schemeClr val="tx1"/>
                </a:solidFill>
                <a:latin typeface="Times"/>
              </a:defRPr>
            </a:lvl1pPr>
            <a:lvl2pPr marL="742869" indent="-285718" defTabSz="939698">
              <a:defRPr sz="2400">
                <a:solidFill>
                  <a:schemeClr val="tx1"/>
                </a:solidFill>
                <a:latin typeface="Times"/>
              </a:defRPr>
            </a:lvl2pPr>
            <a:lvl3pPr marL="1142875" indent="-228575" defTabSz="939698">
              <a:defRPr sz="2400">
                <a:solidFill>
                  <a:schemeClr val="tx1"/>
                </a:solidFill>
                <a:latin typeface="Times"/>
              </a:defRPr>
            </a:lvl3pPr>
            <a:lvl4pPr marL="1600025" indent="-228575" defTabSz="939698">
              <a:defRPr sz="2400">
                <a:solidFill>
                  <a:schemeClr val="tx1"/>
                </a:solidFill>
                <a:latin typeface="Times"/>
              </a:defRPr>
            </a:lvl4pPr>
            <a:lvl5pPr marL="2057175" indent="-228575" defTabSz="939698">
              <a:defRPr sz="2400">
                <a:solidFill>
                  <a:schemeClr val="tx1"/>
                </a:solidFill>
                <a:latin typeface="Times"/>
              </a:defRPr>
            </a:lvl5pPr>
            <a:lvl6pPr marL="2514325" indent="-228575" defTabSz="939698" eaLnBrk="0" fontAlgn="base" hangingPunct="0">
              <a:spcBef>
                <a:spcPct val="0"/>
              </a:spcBef>
              <a:spcAft>
                <a:spcPct val="0"/>
              </a:spcAft>
              <a:defRPr sz="2400">
                <a:solidFill>
                  <a:schemeClr val="tx1"/>
                </a:solidFill>
                <a:latin typeface="Times"/>
              </a:defRPr>
            </a:lvl6pPr>
            <a:lvl7pPr marL="2971475" indent="-228575" defTabSz="939698" eaLnBrk="0" fontAlgn="base" hangingPunct="0">
              <a:spcBef>
                <a:spcPct val="0"/>
              </a:spcBef>
              <a:spcAft>
                <a:spcPct val="0"/>
              </a:spcAft>
              <a:defRPr sz="2400">
                <a:solidFill>
                  <a:schemeClr val="tx1"/>
                </a:solidFill>
                <a:latin typeface="Times"/>
              </a:defRPr>
            </a:lvl7pPr>
            <a:lvl8pPr marL="3428625" indent="-228575" defTabSz="939698" eaLnBrk="0" fontAlgn="base" hangingPunct="0">
              <a:spcBef>
                <a:spcPct val="0"/>
              </a:spcBef>
              <a:spcAft>
                <a:spcPct val="0"/>
              </a:spcAft>
              <a:defRPr sz="2400">
                <a:solidFill>
                  <a:schemeClr val="tx1"/>
                </a:solidFill>
                <a:latin typeface="Times"/>
              </a:defRPr>
            </a:lvl8pPr>
            <a:lvl9pPr marL="3885776" indent="-228575" defTabSz="939698" eaLnBrk="0" fontAlgn="base" hangingPunct="0">
              <a:spcBef>
                <a:spcPct val="0"/>
              </a:spcBef>
              <a:spcAft>
                <a:spcPct val="0"/>
              </a:spcAft>
              <a:defRPr sz="2400">
                <a:solidFill>
                  <a:schemeClr val="tx1"/>
                </a:solidFill>
                <a:latin typeface="Times"/>
              </a:defRPr>
            </a:lvl9pPr>
          </a:lstStyle>
          <a:p>
            <a:pPr>
              <a:defRPr/>
            </a:pPr>
            <a:fld id="{E919F7FA-F5A7-46A3-8119-815ED3E0A1DB}" type="slidenum">
              <a:rPr lang="en-US" sz="1200">
                <a:solidFill>
                  <a:srgbClr val="000000"/>
                </a:solidFill>
              </a:rPr>
              <a:pPr>
                <a:defRPr/>
              </a:pPr>
              <a:t>11</a:t>
            </a:fld>
            <a:endParaRPr lang="en-US" sz="1200">
              <a:solidFill>
                <a:srgbClr val="000000"/>
              </a:solidFill>
            </a:endParaRPr>
          </a:p>
        </p:txBody>
      </p:sp>
      <p:sp>
        <p:nvSpPr>
          <p:cNvPr id="333827" name="Rectangle 2"/>
          <p:cNvSpPr>
            <a:spLocks noGrp="1" noRot="1" noChangeAspect="1" noChangeArrowheads="1" noTextEdit="1"/>
          </p:cNvSpPr>
          <p:nvPr>
            <p:ph type="sldImg"/>
          </p:nvPr>
        </p:nvSpPr>
        <p:spPr>
          <a:xfrm>
            <a:off x="-1825625" y="311150"/>
            <a:ext cx="8701088" cy="6524625"/>
          </a:xfrm>
          <a:ln/>
        </p:spPr>
      </p:sp>
      <p:sp>
        <p:nvSpPr>
          <p:cNvPr id="83972" name="Rectangle 3"/>
          <p:cNvSpPr>
            <a:spLocks noChangeArrowheads="1"/>
          </p:cNvSpPr>
          <p:nvPr/>
        </p:nvSpPr>
        <p:spPr bwMode="auto">
          <a:xfrm>
            <a:off x="230188" y="6938964"/>
            <a:ext cx="4641850" cy="21431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9412" tIns="49708" rIns="99412" bIns="49708"/>
          <a:lstStyle/>
          <a:p>
            <a:pPr>
              <a:spcBef>
                <a:spcPct val="30000"/>
              </a:spcBef>
              <a:defRPr/>
            </a:pPr>
            <a:r>
              <a:rPr lang="en-US" sz="1200">
                <a:solidFill>
                  <a:srgbClr val="000000"/>
                </a:solidFill>
              </a:rPr>
              <a:t>Notes:</a:t>
            </a:r>
          </a:p>
          <a:p>
            <a:pPr>
              <a:spcBef>
                <a:spcPct val="30000"/>
              </a:spcBef>
              <a:defRPr/>
            </a:pPr>
            <a:endParaRPr lang="en-US" sz="1200">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FC650DC5-0ADE-46C5-BA96-D113942F4D29}"/>
              </a:ext>
            </a:extLst>
          </p:cNvPr>
          <p:cNvSpPr>
            <a:spLocks noGrp="1" noRot="1" noChangeAspect="1" noTextEdit="1"/>
          </p:cNvSpPr>
          <p:nvPr>
            <p:ph type="sldImg"/>
          </p:nvPr>
        </p:nvSpPr>
        <p:spPr>
          <a:ln/>
        </p:spPr>
      </p:sp>
      <p:sp>
        <p:nvSpPr>
          <p:cNvPr id="138243" name="Notes Placeholder 2">
            <a:extLst>
              <a:ext uri="{FF2B5EF4-FFF2-40B4-BE49-F238E27FC236}">
                <a16:creationId xmlns:a16="http://schemas.microsoft.com/office/drawing/2014/main" id="{4B93F888-980E-4A99-9231-FF6B51401A09}"/>
              </a:ext>
            </a:extLst>
          </p:cNvPr>
          <p:cNvSpPr>
            <a:spLocks noGrp="1"/>
          </p:cNvSpPr>
          <p:nvPr>
            <p:ph type="body" idx="1"/>
          </p:nvPr>
        </p:nvSpPr>
        <p:spPr>
          <a:noFill/>
        </p:spPr>
        <p:txBody>
          <a:bodyPr/>
          <a:lstStyle/>
          <a:p>
            <a:endParaRPr lang="en-US" altLang="en-US"/>
          </a:p>
        </p:txBody>
      </p:sp>
      <p:sp>
        <p:nvSpPr>
          <p:cNvPr id="138244" name="Slide Number Placeholder 3">
            <a:extLst>
              <a:ext uri="{FF2B5EF4-FFF2-40B4-BE49-F238E27FC236}">
                <a16:creationId xmlns:a16="http://schemas.microsoft.com/office/drawing/2014/main" id="{A28108DB-2032-46AC-90EE-F2B3939E4544}"/>
              </a:ext>
            </a:extLst>
          </p:cNvPr>
          <p:cNvSpPr>
            <a:spLocks noGrp="1"/>
          </p:cNvSpPr>
          <p:nvPr>
            <p:ph type="sldNum" sz="quarter" idx="5"/>
          </p:nvPr>
        </p:nvSpPr>
        <p:spPr>
          <a:noFill/>
        </p:spPr>
        <p:txBody>
          <a:bodyPr/>
          <a:lstStyle>
            <a:lvl1pPr defTabSz="931863" eaLnBrk="0" hangingPunct="0">
              <a:spcBef>
                <a:spcPct val="30000"/>
              </a:spcBef>
              <a:defRPr sz="1200">
                <a:solidFill>
                  <a:schemeClr val="tx1"/>
                </a:solidFill>
                <a:latin typeface="Times New Roman" panose="02020603050405020304" pitchFamily="18" charset="0"/>
              </a:defRPr>
            </a:lvl1pPr>
            <a:lvl2pPr marL="742950" indent="-285750" defTabSz="931863" eaLnBrk="0" hangingPunct="0">
              <a:spcBef>
                <a:spcPct val="30000"/>
              </a:spcBef>
              <a:defRPr sz="1200">
                <a:solidFill>
                  <a:schemeClr val="tx1"/>
                </a:solidFill>
                <a:latin typeface="Times New Roman" panose="02020603050405020304" pitchFamily="18" charset="0"/>
              </a:defRPr>
            </a:lvl2pPr>
            <a:lvl3pPr marL="1143000" indent="-228600" defTabSz="931863" eaLnBrk="0" hangingPunct="0">
              <a:spcBef>
                <a:spcPct val="30000"/>
              </a:spcBef>
              <a:defRPr sz="1200">
                <a:solidFill>
                  <a:schemeClr val="tx1"/>
                </a:solidFill>
                <a:latin typeface="Times New Roman" panose="02020603050405020304" pitchFamily="18" charset="0"/>
              </a:defRPr>
            </a:lvl3pPr>
            <a:lvl4pPr marL="1600200" indent="-228600" defTabSz="931863" eaLnBrk="0" hangingPunct="0">
              <a:spcBef>
                <a:spcPct val="30000"/>
              </a:spcBef>
              <a:defRPr sz="1200">
                <a:solidFill>
                  <a:schemeClr val="tx1"/>
                </a:solidFill>
                <a:latin typeface="Times New Roman" panose="02020603050405020304" pitchFamily="18" charset="0"/>
              </a:defRPr>
            </a:lvl4pPr>
            <a:lvl5pPr marL="2057400" indent="-228600" defTabSz="931863" eaLnBrk="0" hangingPunct="0">
              <a:spcBef>
                <a:spcPct val="30000"/>
              </a:spcBef>
              <a:defRPr sz="1200">
                <a:solidFill>
                  <a:schemeClr val="tx1"/>
                </a:solidFill>
                <a:latin typeface="Times New Roman" panose="02020603050405020304" pitchFamily="18" charset="0"/>
              </a:defRPr>
            </a:lvl5pPr>
            <a:lvl6pPr marL="2514600" indent="-228600" defTabSz="9318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18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18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1863"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28653C1-FA62-4333-9589-300C3E3BC676}" type="slidenum">
              <a:rPr lang="en-US" altLang="en-US">
                <a:solidFill>
                  <a:srgbClr val="000000"/>
                </a:solidFill>
              </a:rPr>
              <a:pPr eaLnBrk="1" hangingPunct="1">
                <a:spcBef>
                  <a:spcPct val="0"/>
                </a:spcBef>
              </a:pPr>
              <a:t>20</a:t>
            </a:fld>
            <a:endParaRPr lang="en-US" altLang="en-US">
              <a:solidFill>
                <a:srgbClr val="000000"/>
              </a:solidFill>
            </a:endParaRPr>
          </a:p>
        </p:txBody>
      </p:sp>
    </p:spTree>
    <p:extLst>
      <p:ext uri="{BB962C8B-B14F-4D97-AF65-F5344CB8AC3E}">
        <p14:creationId xmlns:p14="http://schemas.microsoft.com/office/powerpoint/2010/main" val="4249676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2213" y="704850"/>
            <a:ext cx="4692650" cy="3519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0D78213-D397-4A04-81B2-FE43D821039E}" type="slidenum">
              <a:rPr lang="en-US" smtClean="0"/>
              <a:pPr>
                <a:defRPr/>
              </a:pPr>
              <a:t>21</a:t>
            </a:fld>
            <a:endParaRPr lang="en-US"/>
          </a:p>
        </p:txBody>
      </p:sp>
    </p:spTree>
    <p:extLst>
      <p:ext uri="{BB962C8B-B14F-4D97-AF65-F5344CB8AC3E}">
        <p14:creationId xmlns:p14="http://schemas.microsoft.com/office/powerpoint/2010/main" val="703909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a:extLst>
              <a:ext uri="{FF2B5EF4-FFF2-40B4-BE49-F238E27FC236}">
                <a16:creationId xmlns:a16="http://schemas.microsoft.com/office/drawing/2014/main" id="{FC650DC5-0ADE-46C5-BA96-D113942F4D29}"/>
              </a:ext>
            </a:extLst>
          </p:cNvPr>
          <p:cNvSpPr>
            <a:spLocks noGrp="1" noRot="1" noChangeAspect="1" noTextEdit="1"/>
          </p:cNvSpPr>
          <p:nvPr>
            <p:ph type="sldImg"/>
          </p:nvPr>
        </p:nvSpPr>
        <p:spPr>
          <a:ln/>
        </p:spPr>
      </p:sp>
      <p:sp>
        <p:nvSpPr>
          <p:cNvPr id="138243" name="Notes Placeholder 2">
            <a:extLst>
              <a:ext uri="{FF2B5EF4-FFF2-40B4-BE49-F238E27FC236}">
                <a16:creationId xmlns:a16="http://schemas.microsoft.com/office/drawing/2014/main" id="{4B93F888-980E-4A99-9231-FF6B51401A09}"/>
              </a:ext>
            </a:extLst>
          </p:cNvPr>
          <p:cNvSpPr>
            <a:spLocks noGrp="1"/>
          </p:cNvSpPr>
          <p:nvPr>
            <p:ph type="body" idx="1"/>
          </p:nvPr>
        </p:nvSpPr>
        <p:spPr>
          <a:noFill/>
        </p:spPr>
        <p:txBody>
          <a:bodyPr/>
          <a:lstStyle/>
          <a:p>
            <a:endParaRPr lang="en-US" altLang="en-US"/>
          </a:p>
        </p:txBody>
      </p:sp>
      <p:sp>
        <p:nvSpPr>
          <p:cNvPr id="138244" name="Slide Number Placeholder 3">
            <a:extLst>
              <a:ext uri="{FF2B5EF4-FFF2-40B4-BE49-F238E27FC236}">
                <a16:creationId xmlns:a16="http://schemas.microsoft.com/office/drawing/2014/main" id="{A28108DB-2032-46AC-90EE-F2B3939E4544}"/>
              </a:ext>
            </a:extLst>
          </p:cNvPr>
          <p:cNvSpPr>
            <a:spLocks noGrp="1"/>
          </p:cNvSpPr>
          <p:nvPr>
            <p:ph type="sldNum" sz="quarter" idx="5"/>
          </p:nvPr>
        </p:nvSpPr>
        <p:spPr>
          <a:noFill/>
        </p:spPr>
        <p:txBody>
          <a:bodyPr/>
          <a:lstStyle>
            <a:lvl1pPr defTabSz="931863" eaLnBrk="0" hangingPunct="0">
              <a:spcBef>
                <a:spcPct val="30000"/>
              </a:spcBef>
              <a:defRPr sz="1200">
                <a:solidFill>
                  <a:schemeClr val="tx1"/>
                </a:solidFill>
                <a:latin typeface="Times New Roman" panose="02020603050405020304" pitchFamily="18" charset="0"/>
              </a:defRPr>
            </a:lvl1pPr>
            <a:lvl2pPr marL="742950" indent="-285750" defTabSz="931863" eaLnBrk="0" hangingPunct="0">
              <a:spcBef>
                <a:spcPct val="30000"/>
              </a:spcBef>
              <a:defRPr sz="1200">
                <a:solidFill>
                  <a:schemeClr val="tx1"/>
                </a:solidFill>
                <a:latin typeface="Times New Roman" panose="02020603050405020304" pitchFamily="18" charset="0"/>
              </a:defRPr>
            </a:lvl2pPr>
            <a:lvl3pPr marL="1143000" indent="-228600" defTabSz="931863" eaLnBrk="0" hangingPunct="0">
              <a:spcBef>
                <a:spcPct val="30000"/>
              </a:spcBef>
              <a:defRPr sz="1200">
                <a:solidFill>
                  <a:schemeClr val="tx1"/>
                </a:solidFill>
                <a:latin typeface="Times New Roman" panose="02020603050405020304" pitchFamily="18" charset="0"/>
              </a:defRPr>
            </a:lvl3pPr>
            <a:lvl4pPr marL="1600200" indent="-228600" defTabSz="931863" eaLnBrk="0" hangingPunct="0">
              <a:spcBef>
                <a:spcPct val="30000"/>
              </a:spcBef>
              <a:defRPr sz="1200">
                <a:solidFill>
                  <a:schemeClr val="tx1"/>
                </a:solidFill>
                <a:latin typeface="Times New Roman" panose="02020603050405020304" pitchFamily="18" charset="0"/>
              </a:defRPr>
            </a:lvl4pPr>
            <a:lvl5pPr marL="2057400" indent="-228600" defTabSz="931863" eaLnBrk="0" hangingPunct="0">
              <a:spcBef>
                <a:spcPct val="30000"/>
              </a:spcBef>
              <a:defRPr sz="1200">
                <a:solidFill>
                  <a:schemeClr val="tx1"/>
                </a:solidFill>
                <a:latin typeface="Times New Roman" panose="02020603050405020304" pitchFamily="18" charset="0"/>
              </a:defRPr>
            </a:lvl5pPr>
            <a:lvl6pPr marL="2514600" indent="-228600" defTabSz="931863"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1863"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1863"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1863"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728653C1-FA62-4333-9589-300C3E3BC676}" type="slidenum">
              <a:rPr lang="en-US" altLang="en-US">
                <a:solidFill>
                  <a:srgbClr val="000000"/>
                </a:solidFill>
              </a:rPr>
              <a:pPr eaLnBrk="1" hangingPunct="1">
                <a:spcBef>
                  <a:spcPct val="0"/>
                </a:spcBef>
              </a:pPr>
              <a:t>22</a:t>
            </a:fld>
            <a:endParaRPr lang="en-US" altLang="en-US">
              <a:solidFill>
                <a:srgbClr val="000000"/>
              </a:solidFill>
            </a:endParaRPr>
          </a:p>
        </p:txBody>
      </p:sp>
    </p:spTree>
    <p:extLst>
      <p:ext uri="{BB962C8B-B14F-4D97-AF65-F5344CB8AC3E}">
        <p14:creationId xmlns:p14="http://schemas.microsoft.com/office/powerpoint/2010/main" val="1986874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2116361-D9C7-45B7-B881-65DFE00A7BB3}" type="slidenum">
              <a:rPr lang="en-CA" smtClean="0"/>
              <a:t>23</a:t>
            </a:fld>
            <a:endParaRPr lang="en-CA"/>
          </a:p>
        </p:txBody>
      </p:sp>
    </p:spTree>
    <p:extLst>
      <p:ext uri="{BB962C8B-B14F-4D97-AF65-F5344CB8AC3E}">
        <p14:creationId xmlns:p14="http://schemas.microsoft.com/office/powerpoint/2010/main" val="1992864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2116361-D9C7-45B7-B881-65DFE00A7BB3}" type="slidenum">
              <a:rPr lang="en-CA" smtClean="0"/>
              <a:t>24</a:t>
            </a:fld>
            <a:endParaRPr lang="en-CA"/>
          </a:p>
        </p:txBody>
      </p:sp>
    </p:spTree>
    <p:extLst>
      <p:ext uri="{BB962C8B-B14F-4D97-AF65-F5344CB8AC3E}">
        <p14:creationId xmlns:p14="http://schemas.microsoft.com/office/powerpoint/2010/main" val="1915783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9574695-D697-4643-A5BA-8D379F082A6B}" type="slidenum">
              <a:rPr lang="en-US" altLang="en-US">
                <a:solidFill>
                  <a:srgbClr val="000000"/>
                </a:solidFill>
              </a:rPr>
              <a:pPr/>
              <a:t>27</a:t>
            </a:fld>
            <a:endParaRPr lang="en-US" altLang="en-US">
              <a:solidFill>
                <a:srgbClr val="000000"/>
              </a:solidFill>
            </a:endParaRPr>
          </a:p>
        </p:txBody>
      </p:sp>
      <p:sp>
        <p:nvSpPr>
          <p:cNvPr id="263170" name="Rectangle 2"/>
          <p:cNvSpPr>
            <a:spLocks noGrp="1" noRot="1" noChangeAspect="1" noChangeArrowheads="1" noTextEdit="1"/>
          </p:cNvSpPr>
          <p:nvPr>
            <p:ph type="sldImg"/>
          </p:nvPr>
        </p:nvSpPr>
        <p:spPr>
          <a:xfrm>
            <a:off x="1192213" y="703263"/>
            <a:ext cx="4694237" cy="3522662"/>
          </a:xfrm>
          <a:ln/>
        </p:spPr>
      </p:sp>
      <p:sp>
        <p:nvSpPr>
          <p:cNvPr id="263171" name="Rectangle 3"/>
          <p:cNvSpPr>
            <a:spLocks noGrp="1" noChangeArrowheads="1"/>
          </p:cNvSpPr>
          <p:nvPr>
            <p:ph type="body" idx="1"/>
          </p:nvPr>
        </p:nvSpPr>
        <p:spPr>
          <a:xfrm>
            <a:off x="943932" y="4459413"/>
            <a:ext cx="5189214" cy="4223780"/>
          </a:xfrm>
        </p:spPr>
        <p:txBody>
          <a:bodyPr/>
          <a:lstStyle/>
          <a:p>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3106"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800" eaLnBrk="0" hangingPunct="0">
              <a:defRPr sz="2400">
                <a:solidFill>
                  <a:schemeClr val="tx1"/>
                </a:solidFill>
                <a:latin typeface="Times" pitchFamily="18" charset="0"/>
              </a:defRPr>
            </a:lvl1pPr>
            <a:lvl2pPr marL="742950" indent="-285750" defTabSz="939800" eaLnBrk="0" hangingPunct="0">
              <a:defRPr sz="2400">
                <a:solidFill>
                  <a:schemeClr val="tx1"/>
                </a:solidFill>
                <a:latin typeface="Times" pitchFamily="18" charset="0"/>
              </a:defRPr>
            </a:lvl2pPr>
            <a:lvl3pPr marL="1143000" indent="-228600" defTabSz="939800" eaLnBrk="0" hangingPunct="0">
              <a:defRPr sz="2400">
                <a:solidFill>
                  <a:schemeClr val="tx1"/>
                </a:solidFill>
                <a:latin typeface="Times" pitchFamily="18" charset="0"/>
              </a:defRPr>
            </a:lvl3pPr>
            <a:lvl4pPr marL="1600200" indent="-228600" defTabSz="939800" eaLnBrk="0" hangingPunct="0">
              <a:defRPr sz="2400">
                <a:solidFill>
                  <a:schemeClr val="tx1"/>
                </a:solidFill>
                <a:latin typeface="Times" pitchFamily="18" charset="0"/>
              </a:defRPr>
            </a:lvl4pPr>
            <a:lvl5pPr marL="2057400" indent="-228600" defTabSz="939800" eaLnBrk="0" hangingPunct="0">
              <a:defRPr sz="2400">
                <a:solidFill>
                  <a:schemeClr val="tx1"/>
                </a:solidFill>
                <a:latin typeface="Times" pitchFamily="18" charset="0"/>
              </a:defRPr>
            </a:lvl5pPr>
            <a:lvl6pPr marL="2514600" indent="-228600" defTabSz="939800" eaLnBrk="0" fontAlgn="base" hangingPunct="0">
              <a:spcBef>
                <a:spcPct val="0"/>
              </a:spcBef>
              <a:spcAft>
                <a:spcPct val="0"/>
              </a:spcAft>
              <a:defRPr sz="2400">
                <a:solidFill>
                  <a:schemeClr val="tx1"/>
                </a:solidFill>
                <a:latin typeface="Times" pitchFamily="18" charset="0"/>
              </a:defRPr>
            </a:lvl6pPr>
            <a:lvl7pPr marL="2971800" indent="-228600" defTabSz="939800" eaLnBrk="0" fontAlgn="base" hangingPunct="0">
              <a:spcBef>
                <a:spcPct val="0"/>
              </a:spcBef>
              <a:spcAft>
                <a:spcPct val="0"/>
              </a:spcAft>
              <a:defRPr sz="2400">
                <a:solidFill>
                  <a:schemeClr val="tx1"/>
                </a:solidFill>
                <a:latin typeface="Times" pitchFamily="18" charset="0"/>
              </a:defRPr>
            </a:lvl7pPr>
            <a:lvl8pPr marL="3429000" indent="-228600" defTabSz="939800" eaLnBrk="0" fontAlgn="base" hangingPunct="0">
              <a:spcBef>
                <a:spcPct val="0"/>
              </a:spcBef>
              <a:spcAft>
                <a:spcPct val="0"/>
              </a:spcAft>
              <a:defRPr sz="2400">
                <a:solidFill>
                  <a:schemeClr val="tx1"/>
                </a:solidFill>
                <a:latin typeface="Times" pitchFamily="18" charset="0"/>
              </a:defRPr>
            </a:lvl8pPr>
            <a:lvl9pPr marL="3886200" indent="-228600" defTabSz="939800" eaLnBrk="0" fontAlgn="base" hangingPunct="0">
              <a:spcBef>
                <a:spcPct val="0"/>
              </a:spcBef>
              <a:spcAft>
                <a:spcPct val="0"/>
              </a:spcAft>
              <a:defRPr sz="2400">
                <a:solidFill>
                  <a:schemeClr val="tx1"/>
                </a:solidFill>
                <a:latin typeface="Times" pitchFamily="18" charset="0"/>
              </a:defRPr>
            </a:lvl9pPr>
          </a:lstStyle>
          <a:p>
            <a:pPr>
              <a:defRPr/>
            </a:pPr>
            <a:fld id="{73EDD7AD-2472-4CCB-9E93-DBDE28B99E9E}" type="slidenum">
              <a:rPr lang="en-US" sz="1200" smtClean="0">
                <a:solidFill>
                  <a:srgbClr val="000000"/>
                </a:solidFill>
              </a:rPr>
              <a:pPr>
                <a:defRPr/>
              </a:pPr>
              <a:t>29</a:t>
            </a:fld>
            <a:endParaRPr lang="en-US" sz="1200">
              <a:solidFill>
                <a:srgbClr val="000000"/>
              </a:solidFill>
            </a:endParaRPr>
          </a:p>
        </p:txBody>
      </p:sp>
      <p:sp>
        <p:nvSpPr>
          <p:cNvPr id="420867" name="Rectangle 2"/>
          <p:cNvSpPr>
            <a:spLocks noGrp="1" noRot="1" noChangeAspect="1" noChangeArrowheads="1" noTextEdit="1"/>
          </p:cNvSpPr>
          <p:nvPr>
            <p:ph type="sldImg"/>
          </p:nvPr>
        </p:nvSpPr>
        <p:spPr>
          <a:xfrm>
            <a:off x="-1849438" y="306388"/>
            <a:ext cx="8570913" cy="6429375"/>
          </a:xfrm>
          <a:ln/>
        </p:spPr>
      </p:sp>
      <p:sp>
        <p:nvSpPr>
          <p:cNvPr id="420868" name="Rectangle 3"/>
          <p:cNvSpPr>
            <a:spLocks noGrp="1" noChangeArrowheads="1"/>
          </p:cNvSpPr>
          <p:nvPr>
            <p:ph type="body" idx="1"/>
          </p:nvPr>
        </p:nvSpPr>
        <p:spPr>
          <a:xfrm>
            <a:off x="4987925" y="406400"/>
            <a:ext cx="1971675" cy="86741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Times"/>
              </a:rPr>
              <a:t>Next X to address was the alignment and support from the people that would be leading, managing, participating, and championing the projects.</a:t>
            </a:r>
          </a:p>
          <a:p>
            <a:pPr>
              <a:buFontTx/>
              <a:buChar char="•"/>
            </a:pPr>
            <a:r>
              <a:rPr lang="en-US" altLang="en-US">
                <a:latin typeface="Times"/>
              </a:rPr>
              <a:t>Gained upper management support from CEO and his senior management team</a:t>
            </a:r>
          </a:p>
          <a:p>
            <a:pPr>
              <a:buFontTx/>
              <a:buChar char="•"/>
            </a:pPr>
            <a:r>
              <a:rPr lang="en-US" altLang="en-US">
                <a:latin typeface="Times"/>
              </a:rPr>
              <a:t>Established VSO’s who are accountable for value streams (series of processes that generate a product or service)</a:t>
            </a:r>
          </a:p>
          <a:p>
            <a:pPr>
              <a:buFontTx/>
              <a:buChar char="•"/>
            </a:pPr>
            <a:r>
              <a:rPr lang="en-US" altLang="en-US">
                <a:latin typeface="Times"/>
              </a:rPr>
              <a:t>Money Belts – validate finances</a:t>
            </a:r>
          </a:p>
          <a:p>
            <a:pPr>
              <a:buFontTx/>
              <a:buChar char="•"/>
            </a:pPr>
            <a:r>
              <a:rPr lang="en-US" altLang="en-US">
                <a:latin typeface="Times"/>
              </a:rPr>
              <a:t>Other subject matter experts</a:t>
            </a:r>
          </a:p>
          <a:p>
            <a:pPr>
              <a:buFontTx/>
              <a:buChar char="•"/>
            </a:pPr>
            <a:r>
              <a:rPr lang="en-US" altLang="en-US">
                <a:latin typeface="Times"/>
              </a:rPr>
              <a:t>Technical support / Program Management from our team, the Business Process Improvement Team</a:t>
            </a:r>
          </a:p>
          <a:p>
            <a:pPr>
              <a:buFontTx/>
              <a:buChar char="•"/>
            </a:pPr>
            <a:endParaRPr lang="en-US" altLang="en-US">
              <a:latin typeface="Times"/>
            </a:endParaRPr>
          </a:p>
          <a:p>
            <a:endParaRPr lang="en-US" altLang="en-US">
              <a:latin typeface="Times"/>
            </a:endParaRPr>
          </a:p>
        </p:txBody>
      </p:sp>
      <p:sp>
        <p:nvSpPr>
          <p:cNvPr id="420869" name="Rectangle 4"/>
          <p:cNvSpPr>
            <a:spLocks noChangeArrowheads="1"/>
          </p:cNvSpPr>
          <p:nvPr/>
        </p:nvSpPr>
        <p:spPr bwMode="auto">
          <a:xfrm>
            <a:off x="230188" y="6938963"/>
            <a:ext cx="4411662" cy="21415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9747" tIns="49874" rIns="99747" bIns="49874"/>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eaLnBrk="1" hangingPunct="1">
              <a:spcBef>
                <a:spcPct val="30000"/>
              </a:spcBef>
            </a:pPr>
            <a:r>
              <a:rPr lang="en-US" altLang="en-US" sz="1200">
                <a:solidFill>
                  <a:srgbClr val="000000"/>
                </a:solidFill>
              </a:rPr>
              <a:t>Notes:</a:t>
            </a:r>
          </a:p>
          <a:p>
            <a:pPr eaLnBrk="1" hangingPunct="1">
              <a:spcBef>
                <a:spcPct val="30000"/>
              </a:spcBef>
            </a:pPr>
            <a:endParaRPr lang="en-US" altLang="en-US" sz="120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5.xml"/><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383">
            <a:extLst>
              <a:ext uri="{FF2B5EF4-FFF2-40B4-BE49-F238E27FC236}">
                <a16:creationId xmlns:a16="http://schemas.microsoft.com/office/drawing/2014/main" id="{09A78743-2154-445E-BE40-B0D15D3A931B}"/>
              </a:ext>
            </a:extLst>
          </p:cNvPr>
          <p:cNvGrpSpPr>
            <a:grpSpLocks/>
          </p:cNvGrpSpPr>
          <p:nvPr/>
        </p:nvGrpSpPr>
        <p:grpSpPr bwMode="auto">
          <a:xfrm>
            <a:off x="0" y="0"/>
            <a:ext cx="9144000" cy="5943600"/>
            <a:chOff x="0" y="0"/>
            <a:chExt cx="5760" cy="3744"/>
          </a:xfrm>
        </p:grpSpPr>
        <p:sp>
          <p:nvSpPr>
            <p:cNvPr id="5" name="Rectangle 369">
              <a:extLst>
                <a:ext uri="{FF2B5EF4-FFF2-40B4-BE49-F238E27FC236}">
                  <a16:creationId xmlns:a16="http://schemas.microsoft.com/office/drawing/2014/main" id="{0B65D255-CE98-4919-BEFC-854AA6252C0E}"/>
                </a:ext>
              </a:extLst>
            </p:cNvPr>
            <p:cNvSpPr>
              <a:spLocks noChangeArrowheads="1"/>
            </p:cNvSpPr>
            <p:nvPr userDrawn="1"/>
          </p:nvSpPr>
          <p:spPr bwMode="auto">
            <a:xfrm>
              <a:off x="1728" y="0"/>
              <a:ext cx="4032" cy="2016"/>
            </a:xfrm>
            <a:prstGeom prst="rect">
              <a:avLst/>
            </a:prstGeom>
            <a:gradFill rotWithShape="0">
              <a:gsLst>
                <a:gs pos="0">
                  <a:srgbClr val="29539B"/>
                </a:gs>
                <a:gs pos="100000">
                  <a:schemeClr val="bg1"/>
                </a:gs>
              </a:gsLst>
              <a:lin ang="0" scaled="1"/>
            </a:grad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 name="Rectangle 58">
              <a:extLst>
                <a:ext uri="{FF2B5EF4-FFF2-40B4-BE49-F238E27FC236}">
                  <a16:creationId xmlns:a16="http://schemas.microsoft.com/office/drawing/2014/main" id="{7CDD9B25-3032-4FD3-BACB-9955779BD127}"/>
                </a:ext>
              </a:extLst>
            </p:cNvPr>
            <p:cNvSpPr>
              <a:spLocks noChangeArrowheads="1"/>
            </p:cNvSpPr>
            <p:nvPr userDrawn="1"/>
          </p:nvSpPr>
          <p:spPr bwMode="auto">
            <a:xfrm>
              <a:off x="0"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 name="Rectangle 59">
              <a:extLst>
                <a:ext uri="{FF2B5EF4-FFF2-40B4-BE49-F238E27FC236}">
                  <a16:creationId xmlns:a16="http://schemas.microsoft.com/office/drawing/2014/main" id="{B03A32E7-84FC-428F-A4A2-EC5084C21289}"/>
                </a:ext>
              </a:extLst>
            </p:cNvPr>
            <p:cNvSpPr>
              <a:spLocks noChangeArrowheads="1"/>
            </p:cNvSpPr>
            <p:nvPr userDrawn="1"/>
          </p:nvSpPr>
          <p:spPr bwMode="auto">
            <a:xfrm>
              <a:off x="288"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 name="Rectangle 60">
              <a:extLst>
                <a:ext uri="{FF2B5EF4-FFF2-40B4-BE49-F238E27FC236}">
                  <a16:creationId xmlns:a16="http://schemas.microsoft.com/office/drawing/2014/main" id="{8DC9DB99-995E-46F5-B346-1F65E20D969B}"/>
                </a:ext>
              </a:extLst>
            </p:cNvPr>
            <p:cNvSpPr>
              <a:spLocks noChangeArrowheads="1"/>
            </p:cNvSpPr>
            <p:nvPr userDrawn="1"/>
          </p:nvSpPr>
          <p:spPr bwMode="auto">
            <a:xfrm>
              <a:off x="576"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 name="Rectangle 61">
              <a:extLst>
                <a:ext uri="{FF2B5EF4-FFF2-40B4-BE49-F238E27FC236}">
                  <a16:creationId xmlns:a16="http://schemas.microsoft.com/office/drawing/2014/main" id="{8DD0E821-950E-477F-A72F-33DF07A012A3}"/>
                </a:ext>
              </a:extLst>
            </p:cNvPr>
            <p:cNvSpPr>
              <a:spLocks noChangeArrowheads="1"/>
            </p:cNvSpPr>
            <p:nvPr userDrawn="1"/>
          </p:nvSpPr>
          <p:spPr bwMode="auto">
            <a:xfrm>
              <a:off x="864"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 name="Rectangle 62">
              <a:extLst>
                <a:ext uri="{FF2B5EF4-FFF2-40B4-BE49-F238E27FC236}">
                  <a16:creationId xmlns:a16="http://schemas.microsoft.com/office/drawing/2014/main" id="{DB46F73F-CD20-442F-9294-263E24CD8AC1}"/>
                </a:ext>
              </a:extLst>
            </p:cNvPr>
            <p:cNvSpPr>
              <a:spLocks noChangeArrowheads="1"/>
            </p:cNvSpPr>
            <p:nvPr userDrawn="1"/>
          </p:nvSpPr>
          <p:spPr bwMode="auto">
            <a:xfrm>
              <a:off x="1152"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 name="Rectangle 63">
              <a:extLst>
                <a:ext uri="{FF2B5EF4-FFF2-40B4-BE49-F238E27FC236}">
                  <a16:creationId xmlns:a16="http://schemas.microsoft.com/office/drawing/2014/main" id="{147DA053-B525-4C95-B14F-16234ED18901}"/>
                </a:ext>
              </a:extLst>
            </p:cNvPr>
            <p:cNvSpPr>
              <a:spLocks noChangeArrowheads="1"/>
            </p:cNvSpPr>
            <p:nvPr userDrawn="1"/>
          </p:nvSpPr>
          <p:spPr bwMode="auto">
            <a:xfrm>
              <a:off x="1440" y="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 name="Rectangle 64">
              <a:extLst>
                <a:ext uri="{FF2B5EF4-FFF2-40B4-BE49-F238E27FC236}">
                  <a16:creationId xmlns:a16="http://schemas.microsoft.com/office/drawing/2014/main" id="{CA7CCF45-F897-48A4-8067-CFFE3743B2E5}"/>
                </a:ext>
              </a:extLst>
            </p:cNvPr>
            <p:cNvSpPr>
              <a:spLocks noChangeArrowheads="1"/>
            </p:cNvSpPr>
            <p:nvPr userDrawn="1"/>
          </p:nvSpPr>
          <p:spPr bwMode="auto">
            <a:xfrm>
              <a:off x="1728"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 name="Rectangle 65">
              <a:extLst>
                <a:ext uri="{FF2B5EF4-FFF2-40B4-BE49-F238E27FC236}">
                  <a16:creationId xmlns:a16="http://schemas.microsoft.com/office/drawing/2014/main" id="{9BED4401-7724-45AB-B4A5-79426D08D00D}"/>
                </a:ext>
              </a:extLst>
            </p:cNvPr>
            <p:cNvSpPr>
              <a:spLocks noChangeArrowheads="1"/>
            </p:cNvSpPr>
            <p:nvPr userDrawn="1"/>
          </p:nvSpPr>
          <p:spPr bwMode="auto">
            <a:xfrm>
              <a:off x="2016"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 name="Rectangle 66">
              <a:extLst>
                <a:ext uri="{FF2B5EF4-FFF2-40B4-BE49-F238E27FC236}">
                  <a16:creationId xmlns:a16="http://schemas.microsoft.com/office/drawing/2014/main" id="{F476AA93-42A2-4A6D-A003-FAD59D5933A3}"/>
                </a:ext>
              </a:extLst>
            </p:cNvPr>
            <p:cNvSpPr>
              <a:spLocks noChangeArrowheads="1"/>
            </p:cNvSpPr>
            <p:nvPr userDrawn="1"/>
          </p:nvSpPr>
          <p:spPr bwMode="auto">
            <a:xfrm>
              <a:off x="2304"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 name="Rectangle 67">
              <a:extLst>
                <a:ext uri="{FF2B5EF4-FFF2-40B4-BE49-F238E27FC236}">
                  <a16:creationId xmlns:a16="http://schemas.microsoft.com/office/drawing/2014/main" id="{1DBF0C19-A375-4BDD-A425-EB8DDE8ED73B}"/>
                </a:ext>
              </a:extLst>
            </p:cNvPr>
            <p:cNvSpPr>
              <a:spLocks noChangeArrowheads="1"/>
            </p:cNvSpPr>
            <p:nvPr userDrawn="1"/>
          </p:nvSpPr>
          <p:spPr bwMode="auto">
            <a:xfrm>
              <a:off x="2592"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 name="Rectangle 68">
              <a:extLst>
                <a:ext uri="{FF2B5EF4-FFF2-40B4-BE49-F238E27FC236}">
                  <a16:creationId xmlns:a16="http://schemas.microsoft.com/office/drawing/2014/main" id="{CE31EF69-3ED6-4FD2-81D7-0598313E5465}"/>
                </a:ext>
              </a:extLst>
            </p:cNvPr>
            <p:cNvSpPr>
              <a:spLocks noChangeArrowheads="1"/>
            </p:cNvSpPr>
            <p:nvPr userDrawn="1"/>
          </p:nvSpPr>
          <p:spPr bwMode="auto">
            <a:xfrm>
              <a:off x="2880"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 name="Rectangle 69">
              <a:extLst>
                <a:ext uri="{FF2B5EF4-FFF2-40B4-BE49-F238E27FC236}">
                  <a16:creationId xmlns:a16="http://schemas.microsoft.com/office/drawing/2014/main" id="{DB4F0388-552D-48DD-B08A-E77986E8C433}"/>
                </a:ext>
              </a:extLst>
            </p:cNvPr>
            <p:cNvSpPr>
              <a:spLocks noChangeArrowheads="1"/>
            </p:cNvSpPr>
            <p:nvPr userDrawn="1"/>
          </p:nvSpPr>
          <p:spPr bwMode="auto">
            <a:xfrm>
              <a:off x="3168"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 name="Rectangle 70">
              <a:extLst>
                <a:ext uri="{FF2B5EF4-FFF2-40B4-BE49-F238E27FC236}">
                  <a16:creationId xmlns:a16="http://schemas.microsoft.com/office/drawing/2014/main" id="{54F977D9-E322-43F6-9F67-66D12D0BAF28}"/>
                </a:ext>
              </a:extLst>
            </p:cNvPr>
            <p:cNvSpPr>
              <a:spLocks noChangeArrowheads="1"/>
            </p:cNvSpPr>
            <p:nvPr userDrawn="1"/>
          </p:nvSpPr>
          <p:spPr bwMode="auto">
            <a:xfrm>
              <a:off x="3456"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 name="Rectangle 71">
              <a:extLst>
                <a:ext uri="{FF2B5EF4-FFF2-40B4-BE49-F238E27FC236}">
                  <a16:creationId xmlns:a16="http://schemas.microsoft.com/office/drawing/2014/main" id="{4837C801-B0D2-4568-A6FC-6549D0EF4FD2}"/>
                </a:ext>
              </a:extLst>
            </p:cNvPr>
            <p:cNvSpPr>
              <a:spLocks noChangeArrowheads="1"/>
            </p:cNvSpPr>
            <p:nvPr userDrawn="1"/>
          </p:nvSpPr>
          <p:spPr bwMode="auto">
            <a:xfrm>
              <a:off x="3744"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 name="Rectangle 72">
              <a:extLst>
                <a:ext uri="{FF2B5EF4-FFF2-40B4-BE49-F238E27FC236}">
                  <a16:creationId xmlns:a16="http://schemas.microsoft.com/office/drawing/2014/main" id="{552B2AFE-CEB2-46A1-97D5-FD85931A544B}"/>
                </a:ext>
              </a:extLst>
            </p:cNvPr>
            <p:cNvSpPr>
              <a:spLocks noChangeArrowheads="1"/>
            </p:cNvSpPr>
            <p:nvPr userDrawn="1"/>
          </p:nvSpPr>
          <p:spPr bwMode="auto">
            <a:xfrm>
              <a:off x="4032"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 name="Rectangle 73">
              <a:extLst>
                <a:ext uri="{FF2B5EF4-FFF2-40B4-BE49-F238E27FC236}">
                  <a16:creationId xmlns:a16="http://schemas.microsoft.com/office/drawing/2014/main" id="{8D5402F9-F91B-4FEE-82F4-B62048255E0D}"/>
                </a:ext>
              </a:extLst>
            </p:cNvPr>
            <p:cNvSpPr>
              <a:spLocks noChangeArrowheads="1"/>
            </p:cNvSpPr>
            <p:nvPr userDrawn="1"/>
          </p:nvSpPr>
          <p:spPr bwMode="auto">
            <a:xfrm>
              <a:off x="4320"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 name="Rectangle 74">
              <a:extLst>
                <a:ext uri="{FF2B5EF4-FFF2-40B4-BE49-F238E27FC236}">
                  <a16:creationId xmlns:a16="http://schemas.microsoft.com/office/drawing/2014/main" id="{5C8B6535-E26D-4683-8A8D-6483DD725A97}"/>
                </a:ext>
              </a:extLst>
            </p:cNvPr>
            <p:cNvSpPr>
              <a:spLocks noChangeArrowheads="1"/>
            </p:cNvSpPr>
            <p:nvPr userDrawn="1"/>
          </p:nvSpPr>
          <p:spPr bwMode="auto">
            <a:xfrm>
              <a:off x="4608"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 name="Rectangle 75">
              <a:extLst>
                <a:ext uri="{FF2B5EF4-FFF2-40B4-BE49-F238E27FC236}">
                  <a16:creationId xmlns:a16="http://schemas.microsoft.com/office/drawing/2014/main" id="{3070AF81-0797-4C49-8678-A3281867FEC0}"/>
                </a:ext>
              </a:extLst>
            </p:cNvPr>
            <p:cNvSpPr>
              <a:spLocks noChangeArrowheads="1"/>
            </p:cNvSpPr>
            <p:nvPr userDrawn="1"/>
          </p:nvSpPr>
          <p:spPr bwMode="auto">
            <a:xfrm>
              <a:off x="4896"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 name="Rectangle 76">
              <a:extLst>
                <a:ext uri="{FF2B5EF4-FFF2-40B4-BE49-F238E27FC236}">
                  <a16:creationId xmlns:a16="http://schemas.microsoft.com/office/drawing/2014/main" id="{9F8A49A8-FA22-4A84-BC1C-6456440E7F01}"/>
                </a:ext>
              </a:extLst>
            </p:cNvPr>
            <p:cNvSpPr>
              <a:spLocks noChangeArrowheads="1"/>
            </p:cNvSpPr>
            <p:nvPr userDrawn="1"/>
          </p:nvSpPr>
          <p:spPr bwMode="auto">
            <a:xfrm>
              <a:off x="5184"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 name="Rectangle 77">
              <a:extLst>
                <a:ext uri="{FF2B5EF4-FFF2-40B4-BE49-F238E27FC236}">
                  <a16:creationId xmlns:a16="http://schemas.microsoft.com/office/drawing/2014/main" id="{D2116BB4-9424-4B87-A545-2C5FE327CBB6}"/>
                </a:ext>
              </a:extLst>
            </p:cNvPr>
            <p:cNvSpPr>
              <a:spLocks noChangeArrowheads="1"/>
            </p:cNvSpPr>
            <p:nvPr userDrawn="1"/>
          </p:nvSpPr>
          <p:spPr bwMode="auto">
            <a:xfrm>
              <a:off x="5472" y="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 name="Rectangle 79">
              <a:extLst>
                <a:ext uri="{FF2B5EF4-FFF2-40B4-BE49-F238E27FC236}">
                  <a16:creationId xmlns:a16="http://schemas.microsoft.com/office/drawing/2014/main" id="{11CF4BA1-DEB2-4D89-B414-664D8E2FF9B9}"/>
                </a:ext>
              </a:extLst>
            </p:cNvPr>
            <p:cNvSpPr>
              <a:spLocks noChangeArrowheads="1"/>
            </p:cNvSpPr>
            <p:nvPr userDrawn="1"/>
          </p:nvSpPr>
          <p:spPr bwMode="auto">
            <a:xfrm>
              <a:off x="0"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7" name="Rectangle 80">
              <a:extLst>
                <a:ext uri="{FF2B5EF4-FFF2-40B4-BE49-F238E27FC236}">
                  <a16:creationId xmlns:a16="http://schemas.microsoft.com/office/drawing/2014/main" id="{0229BFFE-FAEF-4789-AFE7-5076D531C3BE}"/>
                </a:ext>
              </a:extLst>
            </p:cNvPr>
            <p:cNvSpPr>
              <a:spLocks noChangeArrowheads="1"/>
            </p:cNvSpPr>
            <p:nvPr userDrawn="1"/>
          </p:nvSpPr>
          <p:spPr bwMode="auto">
            <a:xfrm>
              <a:off x="288"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8" name="Rectangle 81">
              <a:extLst>
                <a:ext uri="{FF2B5EF4-FFF2-40B4-BE49-F238E27FC236}">
                  <a16:creationId xmlns:a16="http://schemas.microsoft.com/office/drawing/2014/main" id="{DF2ECDF2-1B48-495A-B779-FFFE202D1973}"/>
                </a:ext>
              </a:extLst>
            </p:cNvPr>
            <p:cNvSpPr>
              <a:spLocks noChangeArrowheads="1"/>
            </p:cNvSpPr>
            <p:nvPr userDrawn="1"/>
          </p:nvSpPr>
          <p:spPr bwMode="auto">
            <a:xfrm>
              <a:off x="576"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9" name="Rectangle 82">
              <a:extLst>
                <a:ext uri="{FF2B5EF4-FFF2-40B4-BE49-F238E27FC236}">
                  <a16:creationId xmlns:a16="http://schemas.microsoft.com/office/drawing/2014/main" id="{85A0875C-026D-4A36-AC57-8E081B1A722E}"/>
                </a:ext>
              </a:extLst>
            </p:cNvPr>
            <p:cNvSpPr>
              <a:spLocks noChangeArrowheads="1"/>
            </p:cNvSpPr>
            <p:nvPr userDrawn="1"/>
          </p:nvSpPr>
          <p:spPr bwMode="auto">
            <a:xfrm>
              <a:off x="864"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0" name="Rectangle 83">
              <a:extLst>
                <a:ext uri="{FF2B5EF4-FFF2-40B4-BE49-F238E27FC236}">
                  <a16:creationId xmlns:a16="http://schemas.microsoft.com/office/drawing/2014/main" id="{11D3E2D3-CDC0-4BEB-AADC-480F56CF01E9}"/>
                </a:ext>
              </a:extLst>
            </p:cNvPr>
            <p:cNvSpPr>
              <a:spLocks noChangeArrowheads="1"/>
            </p:cNvSpPr>
            <p:nvPr userDrawn="1"/>
          </p:nvSpPr>
          <p:spPr bwMode="auto">
            <a:xfrm>
              <a:off x="1152"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1" name="Rectangle 84">
              <a:extLst>
                <a:ext uri="{FF2B5EF4-FFF2-40B4-BE49-F238E27FC236}">
                  <a16:creationId xmlns:a16="http://schemas.microsoft.com/office/drawing/2014/main" id="{E8EF272E-B3E2-4E16-B1E6-DD9B9FED86B0}"/>
                </a:ext>
              </a:extLst>
            </p:cNvPr>
            <p:cNvSpPr>
              <a:spLocks noChangeArrowheads="1"/>
            </p:cNvSpPr>
            <p:nvPr userDrawn="1"/>
          </p:nvSpPr>
          <p:spPr bwMode="auto">
            <a:xfrm>
              <a:off x="1440" y="28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2" name="Rectangle 85">
              <a:extLst>
                <a:ext uri="{FF2B5EF4-FFF2-40B4-BE49-F238E27FC236}">
                  <a16:creationId xmlns:a16="http://schemas.microsoft.com/office/drawing/2014/main" id="{E3520CC9-2D67-4623-8ED4-ABEFFFFEC5EC}"/>
                </a:ext>
              </a:extLst>
            </p:cNvPr>
            <p:cNvSpPr>
              <a:spLocks noChangeArrowheads="1"/>
            </p:cNvSpPr>
            <p:nvPr userDrawn="1"/>
          </p:nvSpPr>
          <p:spPr bwMode="auto">
            <a:xfrm>
              <a:off x="1728"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3" name="Rectangle 86">
              <a:extLst>
                <a:ext uri="{FF2B5EF4-FFF2-40B4-BE49-F238E27FC236}">
                  <a16:creationId xmlns:a16="http://schemas.microsoft.com/office/drawing/2014/main" id="{AEDA7585-266A-4531-A68A-52310B81867D}"/>
                </a:ext>
              </a:extLst>
            </p:cNvPr>
            <p:cNvSpPr>
              <a:spLocks noChangeArrowheads="1"/>
            </p:cNvSpPr>
            <p:nvPr userDrawn="1"/>
          </p:nvSpPr>
          <p:spPr bwMode="auto">
            <a:xfrm>
              <a:off x="2016"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4" name="Rectangle 87">
              <a:extLst>
                <a:ext uri="{FF2B5EF4-FFF2-40B4-BE49-F238E27FC236}">
                  <a16:creationId xmlns:a16="http://schemas.microsoft.com/office/drawing/2014/main" id="{C7473995-ACF7-4A8F-8798-E34DEF2446C7}"/>
                </a:ext>
              </a:extLst>
            </p:cNvPr>
            <p:cNvSpPr>
              <a:spLocks noChangeArrowheads="1"/>
            </p:cNvSpPr>
            <p:nvPr userDrawn="1"/>
          </p:nvSpPr>
          <p:spPr bwMode="auto">
            <a:xfrm>
              <a:off x="2304"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5" name="Rectangle 88">
              <a:extLst>
                <a:ext uri="{FF2B5EF4-FFF2-40B4-BE49-F238E27FC236}">
                  <a16:creationId xmlns:a16="http://schemas.microsoft.com/office/drawing/2014/main" id="{45591220-3B78-4E7D-A21B-188921AD9E53}"/>
                </a:ext>
              </a:extLst>
            </p:cNvPr>
            <p:cNvSpPr>
              <a:spLocks noChangeArrowheads="1"/>
            </p:cNvSpPr>
            <p:nvPr userDrawn="1"/>
          </p:nvSpPr>
          <p:spPr bwMode="auto">
            <a:xfrm>
              <a:off x="2592"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6" name="Rectangle 89">
              <a:extLst>
                <a:ext uri="{FF2B5EF4-FFF2-40B4-BE49-F238E27FC236}">
                  <a16:creationId xmlns:a16="http://schemas.microsoft.com/office/drawing/2014/main" id="{6462499B-29A7-4073-885F-405990A1A900}"/>
                </a:ext>
              </a:extLst>
            </p:cNvPr>
            <p:cNvSpPr>
              <a:spLocks noChangeArrowheads="1"/>
            </p:cNvSpPr>
            <p:nvPr userDrawn="1"/>
          </p:nvSpPr>
          <p:spPr bwMode="auto">
            <a:xfrm>
              <a:off x="2880"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7" name="Rectangle 90">
              <a:extLst>
                <a:ext uri="{FF2B5EF4-FFF2-40B4-BE49-F238E27FC236}">
                  <a16:creationId xmlns:a16="http://schemas.microsoft.com/office/drawing/2014/main" id="{F7025AE8-878E-411A-A445-DB2796B7184E}"/>
                </a:ext>
              </a:extLst>
            </p:cNvPr>
            <p:cNvSpPr>
              <a:spLocks noChangeArrowheads="1"/>
            </p:cNvSpPr>
            <p:nvPr userDrawn="1"/>
          </p:nvSpPr>
          <p:spPr bwMode="auto">
            <a:xfrm>
              <a:off x="3168"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8" name="Rectangle 91">
              <a:extLst>
                <a:ext uri="{FF2B5EF4-FFF2-40B4-BE49-F238E27FC236}">
                  <a16:creationId xmlns:a16="http://schemas.microsoft.com/office/drawing/2014/main" id="{4033111C-CE9F-43F4-8CDF-8FAB42FA3350}"/>
                </a:ext>
              </a:extLst>
            </p:cNvPr>
            <p:cNvSpPr>
              <a:spLocks noChangeArrowheads="1"/>
            </p:cNvSpPr>
            <p:nvPr userDrawn="1"/>
          </p:nvSpPr>
          <p:spPr bwMode="auto">
            <a:xfrm>
              <a:off x="3456"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39" name="Rectangle 92">
              <a:extLst>
                <a:ext uri="{FF2B5EF4-FFF2-40B4-BE49-F238E27FC236}">
                  <a16:creationId xmlns:a16="http://schemas.microsoft.com/office/drawing/2014/main" id="{2A7D17B3-1EA9-485C-874B-80DF9DACC60C}"/>
                </a:ext>
              </a:extLst>
            </p:cNvPr>
            <p:cNvSpPr>
              <a:spLocks noChangeArrowheads="1"/>
            </p:cNvSpPr>
            <p:nvPr userDrawn="1"/>
          </p:nvSpPr>
          <p:spPr bwMode="auto">
            <a:xfrm>
              <a:off x="3744"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0" name="Rectangle 93">
              <a:extLst>
                <a:ext uri="{FF2B5EF4-FFF2-40B4-BE49-F238E27FC236}">
                  <a16:creationId xmlns:a16="http://schemas.microsoft.com/office/drawing/2014/main" id="{484194AD-74CA-476B-8C3D-C4FCA314516C}"/>
                </a:ext>
              </a:extLst>
            </p:cNvPr>
            <p:cNvSpPr>
              <a:spLocks noChangeArrowheads="1"/>
            </p:cNvSpPr>
            <p:nvPr userDrawn="1"/>
          </p:nvSpPr>
          <p:spPr bwMode="auto">
            <a:xfrm>
              <a:off x="4032"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1" name="Rectangle 94">
              <a:extLst>
                <a:ext uri="{FF2B5EF4-FFF2-40B4-BE49-F238E27FC236}">
                  <a16:creationId xmlns:a16="http://schemas.microsoft.com/office/drawing/2014/main" id="{B6244C8C-6509-494D-BD62-3A2C5DA78404}"/>
                </a:ext>
              </a:extLst>
            </p:cNvPr>
            <p:cNvSpPr>
              <a:spLocks noChangeArrowheads="1"/>
            </p:cNvSpPr>
            <p:nvPr userDrawn="1"/>
          </p:nvSpPr>
          <p:spPr bwMode="auto">
            <a:xfrm>
              <a:off x="4320"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2" name="Rectangle 95">
              <a:extLst>
                <a:ext uri="{FF2B5EF4-FFF2-40B4-BE49-F238E27FC236}">
                  <a16:creationId xmlns:a16="http://schemas.microsoft.com/office/drawing/2014/main" id="{D0415FC9-8FCC-4F26-8087-364D62F00E5E}"/>
                </a:ext>
              </a:extLst>
            </p:cNvPr>
            <p:cNvSpPr>
              <a:spLocks noChangeArrowheads="1"/>
            </p:cNvSpPr>
            <p:nvPr userDrawn="1"/>
          </p:nvSpPr>
          <p:spPr bwMode="auto">
            <a:xfrm>
              <a:off x="4608"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3" name="Rectangle 96">
              <a:extLst>
                <a:ext uri="{FF2B5EF4-FFF2-40B4-BE49-F238E27FC236}">
                  <a16:creationId xmlns:a16="http://schemas.microsoft.com/office/drawing/2014/main" id="{E6F7A35E-DB9B-4243-98E1-24F897EC2E23}"/>
                </a:ext>
              </a:extLst>
            </p:cNvPr>
            <p:cNvSpPr>
              <a:spLocks noChangeArrowheads="1"/>
            </p:cNvSpPr>
            <p:nvPr userDrawn="1"/>
          </p:nvSpPr>
          <p:spPr bwMode="auto">
            <a:xfrm>
              <a:off x="4896"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4" name="Rectangle 97">
              <a:extLst>
                <a:ext uri="{FF2B5EF4-FFF2-40B4-BE49-F238E27FC236}">
                  <a16:creationId xmlns:a16="http://schemas.microsoft.com/office/drawing/2014/main" id="{183C1221-026F-42FC-A63A-389CA877E4D1}"/>
                </a:ext>
              </a:extLst>
            </p:cNvPr>
            <p:cNvSpPr>
              <a:spLocks noChangeArrowheads="1"/>
            </p:cNvSpPr>
            <p:nvPr userDrawn="1"/>
          </p:nvSpPr>
          <p:spPr bwMode="auto">
            <a:xfrm>
              <a:off x="5184"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5" name="Rectangle 98">
              <a:extLst>
                <a:ext uri="{FF2B5EF4-FFF2-40B4-BE49-F238E27FC236}">
                  <a16:creationId xmlns:a16="http://schemas.microsoft.com/office/drawing/2014/main" id="{192B2DF0-1729-4704-8927-7F3BF5ECE7B7}"/>
                </a:ext>
              </a:extLst>
            </p:cNvPr>
            <p:cNvSpPr>
              <a:spLocks noChangeArrowheads="1"/>
            </p:cNvSpPr>
            <p:nvPr userDrawn="1"/>
          </p:nvSpPr>
          <p:spPr bwMode="auto">
            <a:xfrm>
              <a:off x="5472" y="28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6" name="Rectangle 100">
              <a:extLst>
                <a:ext uri="{FF2B5EF4-FFF2-40B4-BE49-F238E27FC236}">
                  <a16:creationId xmlns:a16="http://schemas.microsoft.com/office/drawing/2014/main" id="{0719ECD9-1BFE-4DE5-83F6-AF2018C69854}"/>
                </a:ext>
              </a:extLst>
            </p:cNvPr>
            <p:cNvSpPr>
              <a:spLocks noChangeArrowheads="1"/>
            </p:cNvSpPr>
            <p:nvPr userDrawn="1"/>
          </p:nvSpPr>
          <p:spPr bwMode="auto">
            <a:xfrm>
              <a:off x="0"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7" name="Rectangle 101">
              <a:extLst>
                <a:ext uri="{FF2B5EF4-FFF2-40B4-BE49-F238E27FC236}">
                  <a16:creationId xmlns:a16="http://schemas.microsoft.com/office/drawing/2014/main" id="{0D5D45A4-A9C7-4219-BDFA-AA47E044D2A3}"/>
                </a:ext>
              </a:extLst>
            </p:cNvPr>
            <p:cNvSpPr>
              <a:spLocks noChangeArrowheads="1"/>
            </p:cNvSpPr>
            <p:nvPr userDrawn="1"/>
          </p:nvSpPr>
          <p:spPr bwMode="auto">
            <a:xfrm>
              <a:off x="288"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8" name="Rectangle 102">
              <a:extLst>
                <a:ext uri="{FF2B5EF4-FFF2-40B4-BE49-F238E27FC236}">
                  <a16:creationId xmlns:a16="http://schemas.microsoft.com/office/drawing/2014/main" id="{9693396A-5B16-4845-8F75-F707C99F5CFB}"/>
                </a:ext>
              </a:extLst>
            </p:cNvPr>
            <p:cNvSpPr>
              <a:spLocks noChangeArrowheads="1"/>
            </p:cNvSpPr>
            <p:nvPr userDrawn="1"/>
          </p:nvSpPr>
          <p:spPr bwMode="auto">
            <a:xfrm>
              <a:off x="576"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49" name="Rectangle 103">
              <a:extLst>
                <a:ext uri="{FF2B5EF4-FFF2-40B4-BE49-F238E27FC236}">
                  <a16:creationId xmlns:a16="http://schemas.microsoft.com/office/drawing/2014/main" id="{41DF9619-0B32-47E3-BF59-E13AEC9E6AE9}"/>
                </a:ext>
              </a:extLst>
            </p:cNvPr>
            <p:cNvSpPr>
              <a:spLocks noChangeArrowheads="1"/>
            </p:cNvSpPr>
            <p:nvPr userDrawn="1"/>
          </p:nvSpPr>
          <p:spPr bwMode="auto">
            <a:xfrm>
              <a:off x="864"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0" name="Rectangle 104">
              <a:extLst>
                <a:ext uri="{FF2B5EF4-FFF2-40B4-BE49-F238E27FC236}">
                  <a16:creationId xmlns:a16="http://schemas.microsoft.com/office/drawing/2014/main" id="{BB8E440A-4744-476C-86B7-D2424538E2DF}"/>
                </a:ext>
              </a:extLst>
            </p:cNvPr>
            <p:cNvSpPr>
              <a:spLocks noChangeArrowheads="1"/>
            </p:cNvSpPr>
            <p:nvPr userDrawn="1"/>
          </p:nvSpPr>
          <p:spPr bwMode="auto">
            <a:xfrm>
              <a:off x="1152"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1" name="Rectangle 105">
              <a:extLst>
                <a:ext uri="{FF2B5EF4-FFF2-40B4-BE49-F238E27FC236}">
                  <a16:creationId xmlns:a16="http://schemas.microsoft.com/office/drawing/2014/main" id="{A935700C-DBEA-475B-8162-D11AAA6D9165}"/>
                </a:ext>
              </a:extLst>
            </p:cNvPr>
            <p:cNvSpPr>
              <a:spLocks noChangeArrowheads="1"/>
            </p:cNvSpPr>
            <p:nvPr userDrawn="1"/>
          </p:nvSpPr>
          <p:spPr bwMode="auto">
            <a:xfrm>
              <a:off x="1440" y="57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2" name="Rectangle 106">
              <a:extLst>
                <a:ext uri="{FF2B5EF4-FFF2-40B4-BE49-F238E27FC236}">
                  <a16:creationId xmlns:a16="http://schemas.microsoft.com/office/drawing/2014/main" id="{D73E8E74-3FED-476F-B16B-2B117A8F6BE8}"/>
                </a:ext>
              </a:extLst>
            </p:cNvPr>
            <p:cNvSpPr>
              <a:spLocks noChangeArrowheads="1"/>
            </p:cNvSpPr>
            <p:nvPr userDrawn="1"/>
          </p:nvSpPr>
          <p:spPr bwMode="auto">
            <a:xfrm>
              <a:off x="1728"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3" name="Rectangle 107">
              <a:extLst>
                <a:ext uri="{FF2B5EF4-FFF2-40B4-BE49-F238E27FC236}">
                  <a16:creationId xmlns:a16="http://schemas.microsoft.com/office/drawing/2014/main" id="{6A48C1DB-0197-4C6B-821D-F2A9C25DDC9D}"/>
                </a:ext>
              </a:extLst>
            </p:cNvPr>
            <p:cNvSpPr>
              <a:spLocks noChangeArrowheads="1"/>
            </p:cNvSpPr>
            <p:nvPr userDrawn="1"/>
          </p:nvSpPr>
          <p:spPr bwMode="auto">
            <a:xfrm>
              <a:off x="2016"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4" name="Rectangle 108">
              <a:extLst>
                <a:ext uri="{FF2B5EF4-FFF2-40B4-BE49-F238E27FC236}">
                  <a16:creationId xmlns:a16="http://schemas.microsoft.com/office/drawing/2014/main" id="{85AECC16-52B3-4E8A-9EA6-C501995A8929}"/>
                </a:ext>
              </a:extLst>
            </p:cNvPr>
            <p:cNvSpPr>
              <a:spLocks noChangeArrowheads="1"/>
            </p:cNvSpPr>
            <p:nvPr userDrawn="1"/>
          </p:nvSpPr>
          <p:spPr bwMode="auto">
            <a:xfrm>
              <a:off x="2304"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5" name="Rectangle 109">
              <a:extLst>
                <a:ext uri="{FF2B5EF4-FFF2-40B4-BE49-F238E27FC236}">
                  <a16:creationId xmlns:a16="http://schemas.microsoft.com/office/drawing/2014/main" id="{28078AF6-51A1-4C7B-8D07-60AE3D45BF5B}"/>
                </a:ext>
              </a:extLst>
            </p:cNvPr>
            <p:cNvSpPr>
              <a:spLocks noChangeArrowheads="1"/>
            </p:cNvSpPr>
            <p:nvPr userDrawn="1"/>
          </p:nvSpPr>
          <p:spPr bwMode="auto">
            <a:xfrm>
              <a:off x="2592"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6" name="Rectangle 110">
              <a:extLst>
                <a:ext uri="{FF2B5EF4-FFF2-40B4-BE49-F238E27FC236}">
                  <a16:creationId xmlns:a16="http://schemas.microsoft.com/office/drawing/2014/main" id="{9F0FA8AC-DE80-475A-9B8A-0081629FD687}"/>
                </a:ext>
              </a:extLst>
            </p:cNvPr>
            <p:cNvSpPr>
              <a:spLocks noChangeArrowheads="1"/>
            </p:cNvSpPr>
            <p:nvPr userDrawn="1"/>
          </p:nvSpPr>
          <p:spPr bwMode="auto">
            <a:xfrm>
              <a:off x="2880"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7" name="Rectangle 111">
              <a:extLst>
                <a:ext uri="{FF2B5EF4-FFF2-40B4-BE49-F238E27FC236}">
                  <a16:creationId xmlns:a16="http://schemas.microsoft.com/office/drawing/2014/main" id="{B8625CEF-FC14-4F5F-9C59-8D108FC7300E}"/>
                </a:ext>
              </a:extLst>
            </p:cNvPr>
            <p:cNvSpPr>
              <a:spLocks noChangeArrowheads="1"/>
            </p:cNvSpPr>
            <p:nvPr userDrawn="1"/>
          </p:nvSpPr>
          <p:spPr bwMode="auto">
            <a:xfrm>
              <a:off x="3168"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8" name="Rectangle 112">
              <a:extLst>
                <a:ext uri="{FF2B5EF4-FFF2-40B4-BE49-F238E27FC236}">
                  <a16:creationId xmlns:a16="http://schemas.microsoft.com/office/drawing/2014/main" id="{5F7259C3-2D56-41B2-8F46-975F8235390F}"/>
                </a:ext>
              </a:extLst>
            </p:cNvPr>
            <p:cNvSpPr>
              <a:spLocks noChangeArrowheads="1"/>
            </p:cNvSpPr>
            <p:nvPr userDrawn="1"/>
          </p:nvSpPr>
          <p:spPr bwMode="auto">
            <a:xfrm>
              <a:off x="3456"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59" name="Rectangle 113">
              <a:extLst>
                <a:ext uri="{FF2B5EF4-FFF2-40B4-BE49-F238E27FC236}">
                  <a16:creationId xmlns:a16="http://schemas.microsoft.com/office/drawing/2014/main" id="{D1EF9F19-A3DD-49E7-952D-1DFF5A54DCE2}"/>
                </a:ext>
              </a:extLst>
            </p:cNvPr>
            <p:cNvSpPr>
              <a:spLocks noChangeArrowheads="1"/>
            </p:cNvSpPr>
            <p:nvPr userDrawn="1"/>
          </p:nvSpPr>
          <p:spPr bwMode="auto">
            <a:xfrm>
              <a:off x="3744"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0" name="Rectangle 114">
              <a:extLst>
                <a:ext uri="{FF2B5EF4-FFF2-40B4-BE49-F238E27FC236}">
                  <a16:creationId xmlns:a16="http://schemas.microsoft.com/office/drawing/2014/main" id="{895EECA6-CB32-4DAB-BF71-9CB5B9658D0A}"/>
                </a:ext>
              </a:extLst>
            </p:cNvPr>
            <p:cNvSpPr>
              <a:spLocks noChangeArrowheads="1"/>
            </p:cNvSpPr>
            <p:nvPr userDrawn="1"/>
          </p:nvSpPr>
          <p:spPr bwMode="auto">
            <a:xfrm>
              <a:off x="4032"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1" name="Rectangle 115">
              <a:extLst>
                <a:ext uri="{FF2B5EF4-FFF2-40B4-BE49-F238E27FC236}">
                  <a16:creationId xmlns:a16="http://schemas.microsoft.com/office/drawing/2014/main" id="{ECD6AE29-0DD9-43E0-BC63-2F834BA2A440}"/>
                </a:ext>
              </a:extLst>
            </p:cNvPr>
            <p:cNvSpPr>
              <a:spLocks noChangeArrowheads="1"/>
            </p:cNvSpPr>
            <p:nvPr userDrawn="1"/>
          </p:nvSpPr>
          <p:spPr bwMode="auto">
            <a:xfrm>
              <a:off x="4320"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2" name="Rectangle 116">
              <a:extLst>
                <a:ext uri="{FF2B5EF4-FFF2-40B4-BE49-F238E27FC236}">
                  <a16:creationId xmlns:a16="http://schemas.microsoft.com/office/drawing/2014/main" id="{58BC46BF-0158-4B99-AFBD-2C43A73F2940}"/>
                </a:ext>
              </a:extLst>
            </p:cNvPr>
            <p:cNvSpPr>
              <a:spLocks noChangeArrowheads="1"/>
            </p:cNvSpPr>
            <p:nvPr userDrawn="1"/>
          </p:nvSpPr>
          <p:spPr bwMode="auto">
            <a:xfrm>
              <a:off x="4608"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3" name="Rectangle 117">
              <a:extLst>
                <a:ext uri="{FF2B5EF4-FFF2-40B4-BE49-F238E27FC236}">
                  <a16:creationId xmlns:a16="http://schemas.microsoft.com/office/drawing/2014/main" id="{7F37430C-32C8-47C0-9C25-154E76F73B84}"/>
                </a:ext>
              </a:extLst>
            </p:cNvPr>
            <p:cNvSpPr>
              <a:spLocks noChangeArrowheads="1"/>
            </p:cNvSpPr>
            <p:nvPr userDrawn="1"/>
          </p:nvSpPr>
          <p:spPr bwMode="auto">
            <a:xfrm>
              <a:off x="4896"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4" name="Rectangle 118">
              <a:extLst>
                <a:ext uri="{FF2B5EF4-FFF2-40B4-BE49-F238E27FC236}">
                  <a16:creationId xmlns:a16="http://schemas.microsoft.com/office/drawing/2014/main" id="{44E71EB1-3783-4AF5-9680-1AC4A0F6690E}"/>
                </a:ext>
              </a:extLst>
            </p:cNvPr>
            <p:cNvSpPr>
              <a:spLocks noChangeArrowheads="1"/>
            </p:cNvSpPr>
            <p:nvPr userDrawn="1"/>
          </p:nvSpPr>
          <p:spPr bwMode="auto">
            <a:xfrm>
              <a:off x="5184"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5" name="Rectangle 119">
              <a:extLst>
                <a:ext uri="{FF2B5EF4-FFF2-40B4-BE49-F238E27FC236}">
                  <a16:creationId xmlns:a16="http://schemas.microsoft.com/office/drawing/2014/main" id="{77E255D2-C67C-4571-BB61-0986C73F2F71}"/>
                </a:ext>
              </a:extLst>
            </p:cNvPr>
            <p:cNvSpPr>
              <a:spLocks noChangeArrowheads="1"/>
            </p:cNvSpPr>
            <p:nvPr userDrawn="1"/>
          </p:nvSpPr>
          <p:spPr bwMode="auto">
            <a:xfrm>
              <a:off x="5472" y="576"/>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6" name="Rectangle 121">
              <a:extLst>
                <a:ext uri="{FF2B5EF4-FFF2-40B4-BE49-F238E27FC236}">
                  <a16:creationId xmlns:a16="http://schemas.microsoft.com/office/drawing/2014/main" id="{4F807FC0-7E08-4666-8938-AD2855C07CD0}"/>
                </a:ext>
              </a:extLst>
            </p:cNvPr>
            <p:cNvSpPr>
              <a:spLocks noChangeArrowheads="1"/>
            </p:cNvSpPr>
            <p:nvPr userDrawn="1"/>
          </p:nvSpPr>
          <p:spPr bwMode="auto">
            <a:xfrm>
              <a:off x="0"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7" name="Rectangle 122">
              <a:extLst>
                <a:ext uri="{FF2B5EF4-FFF2-40B4-BE49-F238E27FC236}">
                  <a16:creationId xmlns:a16="http://schemas.microsoft.com/office/drawing/2014/main" id="{C1FBC52A-F000-41E4-B8FA-8C4C7B77A407}"/>
                </a:ext>
              </a:extLst>
            </p:cNvPr>
            <p:cNvSpPr>
              <a:spLocks noChangeArrowheads="1"/>
            </p:cNvSpPr>
            <p:nvPr userDrawn="1"/>
          </p:nvSpPr>
          <p:spPr bwMode="auto">
            <a:xfrm>
              <a:off x="288"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8" name="Rectangle 123">
              <a:extLst>
                <a:ext uri="{FF2B5EF4-FFF2-40B4-BE49-F238E27FC236}">
                  <a16:creationId xmlns:a16="http://schemas.microsoft.com/office/drawing/2014/main" id="{F05F4858-3D64-4C4D-BF6C-E39004122DCA}"/>
                </a:ext>
              </a:extLst>
            </p:cNvPr>
            <p:cNvSpPr>
              <a:spLocks noChangeArrowheads="1"/>
            </p:cNvSpPr>
            <p:nvPr userDrawn="1"/>
          </p:nvSpPr>
          <p:spPr bwMode="auto">
            <a:xfrm>
              <a:off x="576"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69" name="Rectangle 124">
              <a:extLst>
                <a:ext uri="{FF2B5EF4-FFF2-40B4-BE49-F238E27FC236}">
                  <a16:creationId xmlns:a16="http://schemas.microsoft.com/office/drawing/2014/main" id="{9D0AEC8E-4BDF-4C27-A703-31CD17B14027}"/>
                </a:ext>
              </a:extLst>
            </p:cNvPr>
            <p:cNvSpPr>
              <a:spLocks noChangeArrowheads="1"/>
            </p:cNvSpPr>
            <p:nvPr userDrawn="1"/>
          </p:nvSpPr>
          <p:spPr bwMode="auto">
            <a:xfrm>
              <a:off x="864"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0" name="Rectangle 125">
              <a:extLst>
                <a:ext uri="{FF2B5EF4-FFF2-40B4-BE49-F238E27FC236}">
                  <a16:creationId xmlns:a16="http://schemas.microsoft.com/office/drawing/2014/main" id="{525A19E3-6996-45C8-B3DB-8F32D5122CB2}"/>
                </a:ext>
              </a:extLst>
            </p:cNvPr>
            <p:cNvSpPr>
              <a:spLocks noChangeArrowheads="1"/>
            </p:cNvSpPr>
            <p:nvPr userDrawn="1"/>
          </p:nvSpPr>
          <p:spPr bwMode="auto">
            <a:xfrm>
              <a:off x="1152"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1" name="Rectangle 126">
              <a:extLst>
                <a:ext uri="{FF2B5EF4-FFF2-40B4-BE49-F238E27FC236}">
                  <a16:creationId xmlns:a16="http://schemas.microsoft.com/office/drawing/2014/main" id="{00BED751-83A5-4036-BBFA-98E95FD0276A}"/>
                </a:ext>
              </a:extLst>
            </p:cNvPr>
            <p:cNvSpPr>
              <a:spLocks noChangeArrowheads="1"/>
            </p:cNvSpPr>
            <p:nvPr userDrawn="1"/>
          </p:nvSpPr>
          <p:spPr bwMode="auto">
            <a:xfrm>
              <a:off x="1440" y="86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2" name="Rectangle 127">
              <a:extLst>
                <a:ext uri="{FF2B5EF4-FFF2-40B4-BE49-F238E27FC236}">
                  <a16:creationId xmlns:a16="http://schemas.microsoft.com/office/drawing/2014/main" id="{ADC101E6-6A57-4A95-8D13-6762D9046CC0}"/>
                </a:ext>
              </a:extLst>
            </p:cNvPr>
            <p:cNvSpPr>
              <a:spLocks noChangeArrowheads="1"/>
            </p:cNvSpPr>
            <p:nvPr userDrawn="1"/>
          </p:nvSpPr>
          <p:spPr bwMode="auto">
            <a:xfrm>
              <a:off x="1728"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3" name="Rectangle 128">
              <a:extLst>
                <a:ext uri="{FF2B5EF4-FFF2-40B4-BE49-F238E27FC236}">
                  <a16:creationId xmlns:a16="http://schemas.microsoft.com/office/drawing/2014/main" id="{BF25BDA5-CE4A-4FDE-AB69-EEB8423F6038}"/>
                </a:ext>
              </a:extLst>
            </p:cNvPr>
            <p:cNvSpPr>
              <a:spLocks noChangeArrowheads="1"/>
            </p:cNvSpPr>
            <p:nvPr userDrawn="1"/>
          </p:nvSpPr>
          <p:spPr bwMode="auto">
            <a:xfrm>
              <a:off x="2016"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4" name="Rectangle 129">
              <a:extLst>
                <a:ext uri="{FF2B5EF4-FFF2-40B4-BE49-F238E27FC236}">
                  <a16:creationId xmlns:a16="http://schemas.microsoft.com/office/drawing/2014/main" id="{DBA43EDB-9969-48DE-9AB6-103C76D34B76}"/>
                </a:ext>
              </a:extLst>
            </p:cNvPr>
            <p:cNvSpPr>
              <a:spLocks noChangeArrowheads="1"/>
            </p:cNvSpPr>
            <p:nvPr userDrawn="1"/>
          </p:nvSpPr>
          <p:spPr bwMode="auto">
            <a:xfrm>
              <a:off x="2304"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5" name="Rectangle 130">
              <a:extLst>
                <a:ext uri="{FF2B5EF4-FFF2-40B4-BE49-F238E27FC236}">
                  <a16:creationId xmlns:a16="http://schemas.microsoft.com/office/drawing/2014/main" id="{5581129E-2E1A-48B0-89FC-380FB9D1C5D5}"/>
                </a:ext>
              </a:extLst>
            </p:cNvPr>
            <p:cNvSpPr>
              <a:spLocks noChangeArrowheads="1"/>
            </p:cNvSpPr>
            <p:nvPr userDrawn="1"/>
          </p:nvSpPr>
          <p:spPr bwMode="auto">
            <a:xfrm>
              <a:off x="2592"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6" name="Rectangle 131">
              <a:extLst>
                <a:ext uri="{FF2B5EF4-FFF2-40B4-BE49-F238E27FC236}">
                  <a16:creationId xmlns:a16="http://schemas.microsoft.com/office/drawing/2014/main" id="{22FEDAEF-8C1C-48E3-9B13-A08F03F1F21C}"/>
                </a:ext>
              </a:extLst>
            </p:cNvPr>
            <p:cNvSpPr>
              <a:spLocks noChangeArrowheads="1"/>
            </p:cNvSpPr>
            <p:nvPr userDrawn="1"/>
          </p:nvSpPr>
          <p:spPr bwMode="auto">
            <a:xfrm>
              <a:off x="2880"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7" name="Rectangle 132">
              <a:extLst>
                <a:ext uri="{FF2B5EF4-FFF2-40B4-BE49-F238E27FC236}">
                  <a16:creationId xmlns:a16="http://schemas.microsoft.com/office/drawing/2014/main" id="{D15C4242-1E33-4AA0-8F4A-2DC3997F7C49}"/>
                </a:ext>
              </a:extLst>
            </p:cNvPr>
            <p:cNvSpPr>
              <a:spLocks noChangeArrowheads="1"/>
            </p:cNvSpPr>
            <p:nvPr userDrawn="1"/>
          </p:nvSpPr>
          <p:spPr bwMode="auto">
            <a:xfrm>
              <a:off x="3168"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8" name="Rectangle 133">
              <a:extLst>
                <a:ext uri="{FF2B5EF4-FFF2-40B4-BE49-F238E27FC236}">
                  <a16:creationId xmlns:a16="http://schemas.microsoft.com/office/drawing/2014/main" id="{9662BC94-5119-4A26-B977-C194C8A493B1}"/>
                </a:ext>
              </a:extLst>
            </p:cNvPr>
            <p:cNvSpPr>
              <a:spLocks noChangeArrowheads="1"/>
            </p:cNvSpPr>
            <p:nvPr userDrawn="1"/>
          </p:nvSpPr>
          <p:spPr bwMode="auto">
            <a:xfrm>
              <a:off x="3456"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79" name="Rectangle 134">
              <a:extLst>
                <a:ext uri="{FF2B5EF4-FFF2-40B4-BE49-F238E27FC236}">
                  <a16:creationId xmlns:a16="http://schemas.microsoft.com/office/drawing/2014/main" id="{258DE3D7-25CA-4FA2-A28D-B41B03F22FBF}"/>
                </a:ext>
              </a:extLst>
            </p:cNvPr>
            <p:cNvSpPr>
              <a:spLocks noChangeArrowheads="1"/>
            </p:cNvSpPr>
            <p:nvPr userDrawn="1"/>
          </p:nvSpPr>
          <p:spPr bwMode="auto">
            <a:xfrm>
              <a:off x="3744"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0" name="Rectangle 135">
              <a:extLst>
                <a:ext uri="{FF2B5EF4-FFF2-40B4-BE49-F238E27FC236}">
                  <a16:creationId xmlns:a16="http://schemas.microsoft.com/office/drawing/2014/main" id="{93750070-B6F8-4E8C-9215-0FEFF41EBB0D}"/>
                </a:ext>
              </a:extLst>
            </p:cNvPr>
            <p:cNvSpPr>
              <a:spLocks noChangeArrowheads="1"/>
            </p:cNvSpPr>
            <p:nvPr userDrawn="1"/>
          </p:nvSpPr>
          <p:spPr bwMode="auto">
            <a:xfrm>
              <a:off x="4032"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1" name="Rectangle 136">
              <a:extLst>
                <a:ext uri="{FF2B5EF4-FFF2-40B4-BE49-F238E27FC236}">
                  <a16:creationId xmlns:a16="http://schemas.microsoft.com/office/drawing/2014/main" id="{E1E667E7-1950-4EB2-A578-EEBB35E7163E}"/>
                </a:ext>
              </a:extLst>
            </p:cNvPr>
            <p:cNvSpPr>
              <a:spLocks noChangeArrowheads="1"/>
            </p:cNvSpPr>
            <p:nvPr userDrawn="1"/>
          </p:nvSpPr>
          <p:spPr bwMode="auto">
            <a:xfrm>
              <a:off x="4320"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2" name="Rectangle 137">
              <a:extLst>
                <a:ext uri="{FF2B5EF4-FFF2-40B4-BE49-F238E27FC236}">
                  <a16:creationId xmlns:a16="http://schemas.microsoft.com/office/drawing/2014/main" id="{B7764001-7625-46CE-B1CC-BDB8DA314AFA}"/>
                </a:ext>
              </a:extLst>
            </p:cNvPr>
            <p:cNvSpPr>
              <a:spLocks noChangeArrowheads="1"/>
            </p:cNvSpPr>
            <p:nvPr userDrawn="1"/>
          </p:nvSpPr>
          <p:spPr bwMode="auto">
            <a:xfrm>
              <a:off x="4608"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3" name="Rectangle 138">
              <a:extLst>
                <a:ext uri="{FF2B5EF4-FFF2-40B4-BE49-F238E27FC236}">
                  <a16:creationId xmlns:a16="http://schemas.microsoft.com/office/drawing/2014/main" id="{B98720DA-55BD-4E05-9079-A055A60EE1A7}"/>
                </a:ext>
              </a:extLst>
            </p:cNvPr>
            <p:cNvSpPr>
              <a:spLocks noChangeArrowheads="1"/>
            </p:cNvSpPr>
            <p:nvPr userDrawn="1"/>
          </p:nvSpPr>
          <p:spPr bwMode="auto">
            <a:xfrm>
              <a:off x="4896"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4" name="Rectangle 139">
              <a:extLst>
                <a:ext uri="{FF2B5EF4-FFF2-40B4-BE49-F238E27FC236}">
                  <a16:creationId xmlns:a16="http://schemas.microsoft.com/office/drawing/2014/main" id="{C0522F48-AB4B-4B35-B8E1-F93F40E9091F}"/>
                </a:ext>
              </a:extLst>
            </p:cNvPr>
            <p:cNvSpPr>
              <a:spLocks noChangeArrowheads="1"/>
            </p:cNvSpPr>
            <p:nvPr userDrawn="1"/>
          </p:nvSpPr>
          <p:spPr bwMode="auto">
            <a:xfrm>
              <a:off x="5184"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5" name="Rectangle 140">
              <a:extLst>
                <a:ext uri="{FF2B5EF4-FFF2-40B4-BE49-F238E27FC236}">
                  <a16:creationId xmlns:a16="http://schemas.microsoft.com/office/drawing/2014/main" id="{CB988D68-6FAB-4A6B-9DC9-AFCDDE6B2EBF}"/>
                </a:ext>
              </a:extLst>
            </p:cNvPr>
            <p:cNvSpPr>
              <a:spLocks noChangeArrowheads="1"/>
            </p:cNvSpPr>
            <p:nvPr userDrawn="1"/>
          </p:nvSpPr>
          <p:spPr bwMode="auto">
            <a:xfrm>
              <a:off x="5472" y="864"/>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6" name="Rectangle 142">
              <a:extLst>
                <a:ext uri="{FF2B5EF4-FFF2-40B4-BE49-F238E27FC236}">
                  <a16:creationId xmlns:a16="http://schemas.microsoft.com/office/drawing/2014/main" id="{28C5E9B0-8C06-4F82-A788-94ED4ABDF3A2}"/>
                </a:ext>
              </a:extLst>
            </p:cNvPr>
            <p:cNvSpPr>
              <a:spLocks noChangeArrowheads="1"/>
            </p:cNvSpPr>
            <p:nvPr userDrawn="1"/>
          </p:nvSpPr>
          <p:spPr bwMode="auto">
            <a:xfrm>
              <a:off x="0"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7" name="Rectangle 143">
              <a:extLst>
                <a:ext uri="{FF2B5EF4-FFF2-40B4-BE49-F238E27FC236}">
                  <a16:creationId xmlns:a16="http://schemas.microsoft.com/office/drawing/2014/main" id="{8A1BF588-0819-4035-9393-93BBA4DE9E7C}"/>
                </a:ext>
              </a:extLst>
            </p:cNvPr>
            <p:cNvSpPr>
              <a:spLocks noChangeArrowheads="1"/>
            </p:cNvSpPr>
            <p:nvPr userDrawn="1"/>
          </p:nvSpPr>
          <p:spPr bwMode="auto">
            <a:xfrm>
              <a:off x="288"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8" name="Rectangle 144">
              <a:extLst>
                <a:ext uri="{FF2B5EF4-FFF2-40B4-BE49-F238E27FC236}">
                  <a16:creationId xmlns:a16="http://schemas.microsoft.com/office/drawing/2014/main" id="{6B1C5B96-23A7-46DC-8B0A-D5DBAF8E3936}"/>
                </a:ext>
              </a:extLst>
            </p:cNvPr>
            <p:cNvSpPr>
              <a:spLocks noChangeArrowheads="1"/>
            </p:cNvSpPr>
            <p:nvPr userDrawn="1"/>
          </p:nvSpPr>
          <p:spPr bwMode="auto">
            <a:xfrm>
              <a:off x="576"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89" name="Rectangle 145">
              <a:extLst>
                <a:ext uri="{FF2B5EF4-FFF2-40B4-BE49-F238E27FC236}">
                  <a16:creationId xmlns:a16="http://schemas.microsoft.com/office/drawing/2014/main" id="{5BEA52C8-6A43-4648-98C0-37797A83062C}"/>
                </a:ext>
              </a:extLst>
            </p:cNvPr>
            <p:cNvSpPr>
              <a:spLocks noChangeArrowheads="1"/>
            </p:cNvSpPr>
            <p:nvPr userDrawn="1"/>
          </p:nvSpPr>
          <p:spPr bwMode="auto">
            <a:xfrm>
              <a:off x="864"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0" name="Rectangle 146">
              <a:extLst>
                <a:ext uri="{FF2B5EF4-FFF2-40B4-BE49-F238E27FC236}">
                  <a16:creationId xmlns:a16="http://schemas.microsoft.com/office/drawing/2014/main" id="{5F671900-49FD-4900-B926-0A6FABA205CD}"/>
                </a:ext>
              </a:extLst>
            </p:cNvPr>
            <p:cNvSpPr>
              <a:spLocks noChangeArrowheads="1"/>
            </p:cNvSpPr>
            <p:nvPr userDrawn="1"/>
          </p:nvSpPr>
          <p:spPr bwMode="auto">
            <a:xfrm>
              <a:off x="1152"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1" name="Rectangle 147">
              <a:extLst>
                <a:ext uri="{FF2B5EF4-FFF2-40B4-BE49-F238E27FC236}">
                  <a16:creationId xmlns:a16="http://schemas.microsoft.com/office/drawing/2014/main" id="{7E5ED619-73B0-4FD1-B158-D69E28FC4CEE}"/>
                </a:ext>
              </a:extLst>
            </p:cNvPr>
            <p:cNvSpPr>
              <a:spLocks noChangeArrowheads="1"/>
            </p:cNvSpPr>
            <p:nvPr userDrawn="1"/>
          </p:nvSpPr>
          <p:spPr bwMode="auto">
            <a:xfrm>
              <a:off x="1440" y="115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2" name="Rectangle 148">
              <a:extLst>
                <a:ext uri="{FF2B5EF4-FFF2-40B4-BE49-F238E27FC236}">
                  <a16:creationId xmlns:a16="http://schemas.microsoft.com/office/drawing/2014/main" id="{8665E4D4-4318-45B8-9D8C-0AFDF5D7AB03}"/>
                </a:ext>
              </a:extLst>
            </p:cNvPr>
            <p:cNvSpPr>
              <a:spLocks noChangeArrowheads="1"/>
            </p:cNvSpPr>
            <p:nvPr userDrawn="1"/>
          </p:nvSpPr>
          <p:spPr bwMode="auto">
            <a:xfrm>
              <a:off x="1728"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3" name="Rectangle 149">
              <a:extLst>
                <a:ext uri="{FF2B5EF4-FFF2-40B4-BE49-F238E27FC236}">
                  <a16:creationId xmlns:a16="http://schemas.microsoft.com/office/drawing/2014/main" id="{B94DEC7D-8B77-42E4-9C2B-5CB749DC4F0A}"/>
                </a:ext>
              </a:extLst>
            </p:cNvPr>
            <p:cNvSpPr>
              <a:spLocks noChangeArrowheads="1"/>
            </p:cNvSpPr>
            <p:nvPr userDrawn="1"/>
          </p:nvSpPr>
          <p:spPr bwMode="auto">
            <a:xfrm>
              <a:off x="2016"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4" name="Rectangle 150">
              <a:extLst>
                <a:ext uri="{FF2B5EF4-FFF2-40B4-BE49-F238E27FC236}">
                  <a16:creationId xmlns:a16="http://schemas.microsoft.com/office/drawing/2014/main" id="{E69873DE-D806-4F6C-8D54-226A8DD5471B}"/>
                </a:ext>
              </a:extLst>
            </p:cNvPr>
            <p:cNvSpPr>
              <a:spLocks noChangeArrowheads="1"/>
            </p:cNvSpPr>
            <p:nvPr userDrawn="1"/>
          </p:nvSpPr>
          <p:spPr bwMode="auto">
            <a:xfrm>
              <a:off x="2304"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5" name="Rectangle 151">
              <a:extLst>
                <a:ext uri="{FF2B5EF4-FFF2-40B4-BE49-F238E27FC236}">
                  <a16:creationId xmlns:a16="http://schemas.microsoft.com/office/drawing/2014/main" id="{DF59DFA9-2892-4CBA-9B74-783F727F11FE}"/>
                </a:ext>
              </a:extLst>
            </p:cNvPr>
            <p:cNvSpPr>
              <a:spLocks noChangeArrowheads="1"/>
            </p:cNvSpPr>
            <p:nvPr userDrawn="1"/>
          </p:nvSpPr>
          <p:spPr bwMode="auto">
            <a:xfrm>
              <a:off x="2592"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6" name="Rectangle 152">
              <a:extLst>
                <a:ext uri="{FF2B5EF4-FFF2-40B4-BE49-F238E27FC236}">
                  <a16:creationId xmlns:a16="http://schemas.microsoft.com/office/drawing/2014/main" id="{30AD8638-4A88-4353-BBD2-51F915DAF110}"/>
                </a:ext>
              </a:extLst>
            </p:cNvPr>
            <p:cNvSpPr>
              <a:spLocks noChangeArrowheads="1"/>
            </p:cNvSpPr>
            <p:nvPr userDrawn="1"/>
          </p:nvSpPr>
          <p:spPr bwMode="auto">
            <a:xfrm>
              <a:off x="2880"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7" name="Rectangle 153">
              <a:extLst>
                <a:ext uri="{FF2B5EF4-FFF2-40B4-BE49-F238E27FC236}">
                  <a16:creationId xmlns:a16="http://schemas.microsoft.com/office/drawing/2014/main" id="{116ABC64-9BFF-4910-B9FD-18976A78AE70}"/>
                </a:ext>
              </a:extLst>
            </p:cNvPr>
            <p:cNvSpPr>
              <a:spLocks noChangeArrowheads="1"/>
            </p:cNvSpPr>
            <p:nvPr userDrawn="1"/>
          </p:nvSpPr>
          <p:spPr bwMode="auto">
            <a:xfrm>
              <a:off x="3168"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8" name="Rectangle 154">
              <a:extLst>
                <a:ext uri="{FF2B5EF4-FFF2-40B4-BE49-F238E27FC236}">
                  <a16:creationId xmlns:a16="http://schemas.microsoft.com/office/drawing/2014/main" id="{4BB5AEB3-01D4-4530-BF5A-33D2A9188F41}"/>
                </a:ext>
              </a:extLst>
            </p:cNvPr>
            <p:cNvSpPr>
              <a:spLocks noChangeArrowheads="1"/>
            </p:cNvSpPr>
            <p:nvPr userDrawn="1"/>
          </p:nvSpPr>
          <p:spPr bwMode="auto">
            <a:xfrm>
              <a:off x="3456"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99" name="Rectangle 155">
              <a:extLst>
                <a:ext uri="{FF2B5EF4-FFF2-40B4-BE49-F238E27FC236}">
                  <a16:creationId xmlns:a16="http://schemas.microsoft.com/office/drawing/2014/main" id="{1C5AE07A-B679-4164-987F-2299D94E27C6}"/>
                </a:ext>
              </a:extLst>
            </p:cNvPr>
            <p:cNvSpPr>
              <a:spLocks noChangeArrowheads="1"/>
            </p:cNvSpPr>
            <p:nvPr userDrawn="1"/>
          </p:nvSpPr>
          <p:spPr bwMode="auto">
            <a:xfrm>
              <a:off x="3744"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0" name="Rectangle 156">
              <a:extLst>
                <a:ext uri="{FF2B5EF4-FFF2-40B4-BE49-F238E27FC236}">
                  <a16:creationId xmlns:a16="http://schemas.microsoft.com/office/drawing/2014/main" id="{85A4EB66-6A4E-415B-93D3-54F677A64F8E}"/>
                </a:ext>
              </a:extLst>
            </p:cNvPr>
            <p:cNvSpPr>
              <a:spLocks noChangeArrowheads="1"/>
            </p:cNvSpPr>
            <p:nvPr userDrawn="1"/>
          </p:nvSpPr>
          <p:spPr bwMode="auto">
            <a:xfrm>
              <a:off x="4032"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1" name="Rectangle 157">
              <a:extLst>
                <a:ext uri="{FF2B5EF4-FFF2-40B4-BE49-F238E27FC236}">
                  <a16:creationId xmlns:a16="http://schemas.microsoft.com/office/drawing/2014/main" id="{CBBA5E7E-8DDA-49A3-A464-698D17AC7D87}"/>
                </a:ext>
              </a:extLst>
            </p:cNvPr>
            <p:cNvSpPr>
              <a:spLocks noChangeArrowheads="1"/>
            </p:cNvSpPr>
            <p:nvPr userDrawn="1"/>
          </p:nvSpPr>
          <p:spPr bwMode="auto">
            <a:xfrm>
              <a:off x="4320"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2" name="Rectangle 158">
              <a:extLst>
                <a:ext uri="{FF2B5EF4-FFF2-40B4-BE49-F238E27FC236}">
                  <a16:creationId xmlns:a16="http://schemas.microsoft.com/office/drawing/2014/main" id="{11AC45CF-2CE5-41EB-8060-E67552E89C02}"/>
                </a:ext>
              </a:extLst>
            </p:cNvPr>
            <p:cNvSpPr>
              <a:spLocks noChangeArrowheads="1"/>
            </p:cNvSpPr>
            <p:nvPr userDrawn="1"/>
          </p:nvSpPr>
          <p:spPr bwMode="auto">
            <a:xfrm>
              <a:off x="4608"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 name="Rectangle 159">
              <a:extLst>
                <a:ext uri="{FF2B5EF4-FFF2-40B4-BE49-F238E27FC236}">
                  <a16:creationId xmlns:a16="http://schemas.microsoft.com/office/drawing/2014/main" id="{6E6DEFBD-C4B0-45EF-93F3-4B0DFF6CE472}"/>
                </a:ext>
              </a:extLst>
            </p:cNvPr>
            <p:cNvSpPr>
              <a:spLocks noChangeArrowheads="1"/>
            </p:cNvSpPr>
            <p:nvPr userDrawn="1"/>
          </p:nvSpPr>
          <p:spPr bwMode="auto">
            <a:xfrm>
              <a:off x="4896"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 name="Rectangle 160">
              <a:extLst>
                <a:ext uri="{FF2B5EF4-FFF2-40B4-BE49-F238E27FC236}">
                  <a16:creationId xmlns:a16="http://schemas.microsoft.com/office/drawing/2014/main" id="{60DA2F4D-2D32-4D1C-B3FE-C514A1662DB6}"/>
                </a:ext>
              </a:extLst>
            </p:cNvPr>
            <p:cNvSpPr>
              <a:spLocks noChangeArrowheads="1"/>
            </p:cNvSpPr>
            <p:nvPr userDrawn="1"/>
          </p:nvSpPr>
          <p:spPr bwMode="auto">
            <a:xfrm>
              <a:off x="5184"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5" name="Rectangle 161">
              <a:extLst>
                <a:ext uri="{FF2B5EF4-FFF2-40B4-BE49-F238E27FC236}">
                  <a16:creationId xmlns:a16="http://schemas.microsoft.com/office/drawing/2014/main" id="{AD8D85B7-F615-401A-9785-DA8233BC5C1C}"/>
                </a:ext>
              </a:extLst>
            </p:cNvPr>
            <p:cNvSpPr>
              <a:spLocks noChangeArrowheads="1"/>
            </p:cNvSpPr>
            <p:nvPr userDrawn="1"/>
          </p:nvSpPr>
          <p:spPr bwMode="auto">
            <a:xfrm>
              <a:off x="5472" y="1152"/>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6" name="Rectangle 163">
              <a:extLst>
                <a:ext uri="{FF2B5EF4-FFF2-40B4-BE49-F238E27FC236}">
                  <a16:creationId xmlns:a16="http://schemas.microsoft.com/office/drawing/2014/main" id="{EB716FF6-CEA1-413B-9D42-4C488B2E1B42}"/>
                </a:ext>
              </a:extLst>
            </p:cNvPr>
            <p:cNvSpPr>
              <a:spLocks noChangeArrowheads="1"/>
            </p:cNvSpPr>
            <p:nvPr userDrawn="1"/>
          </p:nvSpPr>
          <p:spPr bwMode="auto">
            <a:xfrm>
              <a:off x="0"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7" name="Rectangle 164">
              <a:extLst>
                <a:ext uri="{FF2B5EF4-FFF2-40B4-BE49-F238E27FC236}">
                  <a16:creationId xmlns:a16="http://schemas.microsoft.com/office/drawing/2014/main" id="{16F3E95B-954E-4859-8830-105D91BB2B0C}"/>
                </a:ext>
              </a:extLst>
            </p:cNvPr>
            <p:cNvSpPr>
              <a:spLocks noChangeArrowheads="1"/>
            </p:cNvSpPr>
            <p:nvPr userDrawn="1"/>
          </p:nvSpPr>
          <p:spPr bwMode="auto">
            <a:xfrm>
              <a:off x="288"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8" name="Rectangle 165">
              <a:extLst>
                <a:ext uri="{FF2B5EF4-FFF2-40B4-BE49-F238E27FC236}">
                  <a16:creationId xmlns:a16="http://schemas.microsoft.com/office/drawing/2014/main" id="{9BA31FEB-E899-4BAE-9D88-B8FCBCC67563}"/>
                </a:ext>
              </a:extLst>
            </p:cNvPr>
            <p:cNvSpPr>
              <a:spLocks noChangeArrowheads="1"/>
            </p:cNvSpPr>
            <p:nvPr userDrawn="1"/>
          </p:nvSpPr>
          <p:spPr bwMode="auto">
            <a:xfrm>
              <a:off x="576"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9" name="Rectangle 166">
              <a:extLst>
                <a:ext uri="{FF2B5EF4-FFF2-40B4-BE49-F238E27FC236}">
                  <a16:creationId xmlns:a16="http://schemas.microsoft.com/office/drawing/2014/main" id="{FEA9AB7F-0A33-48F3-B492-EE85AFCE8891}"/>
                </a:ext>
              </a:extLst>
            </p:cNvPr>
            <p:cNvSpPr>
              <a:spLocks noChangeArrowheads="1"/>
            </p:cNvSpPr>
            <p:nvPr userDrawn="1"/>
          </p:nvSpPr>
          <p:spPr bwMode="auto">
            <a:xfrm>
              <a:off x="864"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0" name="Rectangle 167">
              <a:extLst>
                <a:ext uri="{FF2B5EF4-FFF2-40B4-BE49-F238E27FC236}">
                  <a16:creationId xmlns:a16="http://schemas.microsoft.com/office/drawing/2014/main" id="{8DBB05AF-BC43-4307-BFE7-1BD60C6DB5C8}"/>
                </a:ext>
              </a:extLst>
            </p:cNvPr>
            <p:cNvSpPr>
              <a:spLocks noChangeArrowheads="1"/>
            </p:cNvSpPr>
            <p:nvPr userDrawn="1"/>
          </p:nvSpPr>
          <p:spPr bwMode="auto">
            <a:xfrm>
              <a:off x="1152"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1" name="Rectangle 168">
              <a:extLst>
                <a:ext uri="{FF2B5EF4-FFF2-40B4-BE49-F238E27FC236}">
                  <a16:creationId xmlns:a16="http://schemas.microsoft.com/office/drawing/2014/main" id="{F5AEF452-37A5-4B45-9FC2-F2B0420F5A47}"/>
                </a:ext>
              </a:extLst>
            </p:cNvPr>
            <p:cNvSpPr>
              <a:spLocks noChangeArrowheads="1"/>
            </p:cNvSpPr>
            <p:nvPr userDrawn="1"/>
          </p:nvSpPr>
          <p:spPr bwMode="auto">
            <a:xfrm>
              <a:off x="1440" y="144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2" name="Rectangle 169">
              <a:extLst>
                <a:ext uri="{FF2B5EF4-FFF2-40B4-BE49-F238E27FC236}">
                  <a16:creationId xmlns:a16="http://schemas.microsoft.com/office/drawing/2014/main" id="{7CEDE6AC-FC20-43A2-AFE0-DF84964D7110}"/>
                </a:ext>
              </a:extLst>
            </p:cNvPr>
            <p:cNvSpPr>
              <a:spLocks noChangeArrowheads="1"/>
            </p:cNvSpPr>
            <p:nvPr userDrawn="1"/>
          </p:nvSpPr>
          <p:spPr bwMode="auto">
            <a:xfrm>
              <a:off x="1728"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3" name="Rectangle 170">
              <a:extLst>
                <a:ext uri="{FF2B5EF4-FFF2-40B4-BE49-F238E27FC236}">
                  <a16:creationId xmlns:a16="http://schemas.microsoft.com/office/drawing/2014/main" id="{7F51AE2B-6458-4C1B-A044-07AEEABD4E44}"/>
                </a:ext>
              </a:extLst>
            </p:cNvPr>
            <p:cNvSpPr>
              <a:spLocks noChangeArrowheads="1"/>
            </p:cNvSpPr>
            <p:nvPr userDrawn="1"/>
          </p:nvSpPr>
          <p:spPr bwMode="auto">
            <a:xfrm>
              <a:off x="2016"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4" name="Rectangle 171">
              <a:extLst>
                <a:ext uri="{FF2B5EF4-FFF2-40B4-BE49-F238E27FC236}">
                  <a16:creationId xmlns:a16="http://schemas.microsoft.com/office/drawing/2014/main" id="{8AC52F53-D56A-44FB-9792-F0C90B869BD2}"/>
                </a:ext>
              </a:extLst>
            </p:cNvPr>
            <p:cNvSpPr>
              <a:spLocks noChangeArrowheads="1"/>
            </p:cNvSpPr>
            <p:nvPr userDrawn="1"/>
          </p:nvSpPr>
          <p:spPr bwMode="auto">
            <a:xfrm>
              <a:off x="2304"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5" name="Rectangle 172">
              <a:extLst>
                <a:ext uri="{FF2B5EF4-FFF2-40B4-BE49-F238E27FC236}">
                  <a16:creationId xmlns:a16="http://schemas.microsoft.com/office/drawing/2014/main" id="{4424578A-5D7F-4E10-B4D5-6095852828C3}"/>
                </a:ext>
              </a:extLst>
            </p:cNvPr>
            <p:cNvSpPr>
              <a:spLocks noChangeArrowheads="1"/>
            </p:cNvSpPr>
            <p:nvPr userDrawn="1"/>
          </p:nvSpPr>
          <p:spPr bwMode="auto">
            <a:xfrm>
              <a:off x="2592"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6" name="Rectangle 173">
              <a:extLst>
                <a:ext uri="{FF2B5EF4-FFF2-40B4-BE49-F238E27FC236}">
                  <a16:creationId xmlns:a16="http://schemas.microsoft.com/office/drawing/2014/main" id="{34F46EC6-6A6A-46D2-A96A-CBF46E6068AB}"/>
                </a:ext>
              </a:extLst>
            </p:cNvPr>
            <p:cNvSpPr>
              <a:spLocks noChangeArrowheads="1"/>
            </p:cNvSpPr>
            <p:nvPr userDrawn="1"/>
          </p:nvSpPr>
          <p:spPr bwMode="auto">
            <a:xfrm>
              <a:off x="2880"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7" name="Rectangle 174">
              <a:extLst>
                <a:ext uri="{FF2B5EF4-FFF2-40B4-BE49-F238E27FC236}">
                  <a16:creationId xmlns:a16="http://schemas.microsoft.com/office/drawing/2014/main" id="{2D58FD51-CAA0-4F8D-B676-E73FE4EDAB9B}"/>
                </a:ext>
              </a:extLst>
            </p:cNvPr>
            <p:cNvSpPr>
              <a:spLocks noChangeArrowheads="1"/>
            </p:cNvSpPr>
            <p:nvPr userDrawn="1"/>
          </p:nvSpPr>
          <p:spPr bwMode="auto">
            <a:xfrm>
              <a:off x="3168"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8" name="Rectangle 175">
              <a:extLst>
                <a:ext uri="{FF2B5EF4-FFF2-40B4-BE49-F238E27FC236}">
                  <a16:creationId xmlns:a16="http://schemas.microsoft.com/office/drawing/2014/main" id="{621CDD47-7DB2-493A-BF08-2C27762E3F84}"/>
                </a:ext>
              </a:extLst>
            </p:cNvPr>
            <p:cNvSpPr>
              <a:spLocks noChangeArrowheads="1"/>
            </p:cNvSpPr>
            <p:nvPr userDrawn="1"/>
          </p:nvSpPr>
          <p:spPr bwMode="auto">
            <a:xfrm>
              <a:off x="3456"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19" name="Rectangle 176">
              <a:extLst>
                <a:ext uri="{FF2B5EF4-FFF2-40B4-BE49-F238E27FC236}">
                  <a16:creationId xmlns:a16="http://schemas.microsoft.com/office/drawing/2014/main" id="{96EE9F2D-927A-4D1E-A0A3-34E93AA6EEB9}"/>
                </a:ext>
              </a:extLst>
            </p:cNvPr>
            <p:cNvSpPr>
              <a:spLocks noChangeArrowheads="1"/>
            </p:cNvSpPr>
            <p:nvPr userDrawn="1"/>
          </p:nvSpPr>
          <p:spPr bwMode="auto">
            <a:xfrm>
              <a:off x="3744"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0" name="Rectangle 177">
              <a:extLst>
                <a:ext uri="{FF2B5EF4-FFF2-40B4-BE49-F238E27FC236}">
                  <a16:creationId xmlns:a16="http://schemas.microsoft.com/office/drawing/2014/main" id="{20FFD7A2-189F-4462-98B1-7F3E2103A0AC}"/>
                </a:ext>
              </a:extLst>
            </p:cNvPr>
            <p:cNvSpPr>
              <a:spLocks noChangeArrowheads="1"/>
            </p:cNvSpPr>
            <p:nvPr userDrawn="1"/>
          </p:nvSpPr>
          <p:spPr bwMode="auto">
            <a:xfrm>
              <a:off x="4032"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1" name="Rectangle 178">
              <a:extLst>
                <a:ext uri="{FF2B5EF4-FFF2-40B4-BE49-F238E27FC236}">
                  <a16:creationId xmlns:a16="http://schemas.microsoft.com/office/drawing/2014/main" id="{87CD610C-5EA4-409E-8BB0-CEBA7D662529}"/>
                </a:ext>
              </a:extLst>
            </p:cNvPr>
            <p:cNvSpPr>
              <a:spLocks noChangeArrowheads="1"/>
            </p:cNvSpPr>
            <p:nvPr userDrawn="1"/>
          </p:nvSpPr>
          <p:spPr bwMode="auto">
            <a:xfrm>
              <a:off x="4320"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2" name="Rectangle 179">
              <a:extLst>
                <a:ext uri="{FF2B5EF4-FFF2-40B4-BE49-F238E27FC236}">
                  <a16:creationId xmlns:a16="http://schemas.microsoft.com/office/drawing/2014/main" id="{AD1580EE-54D0-4B60-91EA-784C73E57137}"/>
                </a:ext>
              </a:extLst>
            </p:cNvPr>
            <p:cNvSpPr>
              <a:spLocks noChangeArrowheads="1"/>
            </p:cNvSpPr>
            <p:nvPr userDrawn="1"/>
          </p:nvSpPr>
          <p:spPr bwMode="auto">
            <a:xfrm>
              <a:off x="4608"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3" name="Rectangle 180">
              <a:extLst>
                <a:ext uri="{FF2B5EF4-FFF2-40B4-BE49-F238E27FC236}">
                  <a16:creationId xmlns:a16="http://schemas.microsoft.com/office/drawing/2014/main" id="{5E2932B9-79D6-4099-9E99-C05BC89376F6}"/>
                </a:ext>
              </a:extLst>
            </p:cNvPr>
            <p:cNvSpPr>
              <a:spLocks noChangeArrowheads="1"/>
            </p:cNvSpPr>
            <p:nvPr userDrawn="1"/>
          </p:nvSpPr>
          <p:spPr bwMode="auto">
            <a:xfrm>
              <a:off x="4896"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4" name="Rectangle 181">
              <a:extLst>
                <a:ext uri="{FF2B5EF4-FFF2-40B4-BE49-F238E27FC236}">
                  <a16:creationId xmlns:a16="http://schemas.microsoft.com/office/drawing/2014/main" id="{D26F8BD2-E586-42F7-A69A-B5B3524C8C8D}"/>
                </a:ext>
              </a:extLst>
            </p:cNvPr>
            <p:cNvSpPr>
              <a:spLocks noChangeArrowheads="1"/>
            </p:cNvSpPr>
            <p:nvPr userDrawn="1"/>
          </p:nvSpPr>
          <p:spPr bwMode="auto">
            <a:xfrm>
              <a:off x="5184"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5" name="Rectangle 182">
              <a:extLst>
                <a:ext uri="{FF2B5EF4-FFF2-40B4-BE49-F238E27FC236}">
                  <a16:creationId xmlns:a16="http://schemas.microsoft.com/office/drawing/2014/main" id="{D661153E-E11F-4D19-A67C-FA886ACA6639}"/>
                </a:ext>
              </a:extLst>
            </p:cNvPr>
            <p:cNvSpPr>
              <a:spLocks noChangeArrowheads="1"/>
            </p:cNvSpPr>
            <p:nvPr userDrawn="1"/>
          </p:nvSpPr>
          <p:spPr bwMode="auto">
            <a:xfrm>
              <a:off x="5472" y="1440"/>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6" name="Rectangle 184">
              <a:extLst>
                <a:ext uri="{FF2B5EF4-FFF2-40B4-BE49-F238E27FC236}">
                  <a16:creationId xmlns:a16="http://schemas.microsoft.com/office/drawing/2014/main" id="{A31C57EA-803A-4821-B285-857E235E92F0}"/>
                </a:ext>
              </a:extLst>
            </p:cNvPr>
            <p:cNvSpPr>
              <a:spLocks noChangeArrowheads="1"/>
            </p:cNvSpPr>
            <p:nvPr userDrawn="1"/>
          </p:nvSpPr>
          <p:spPr bwMode="auto">
            <a:xfrm>
              <a:off x="0"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7" name="Rectangle 185">
              <a:extLst>
                <a:ext uri="{FF2B5EF4-FFF2-40B4-BE49-F238E27FC236}">
                  <a16:creationId xmlns:a16="http://schemas.microsoft.com/office/drawing/2014/main" id="{1BBE2F00-AB39-4D20-89F0-00611EB64548}"/>
                </a:ext>
              </a:extLst>
            </p:cNvPr>
            <p:cNvSpPr>
              <a:spLocks noChangeArrowheads="1"/>
            </p:cNvSpPr>
            <p:nvPr userDrawn="1"/>
          </p:nvSpPr>
          <p:spPr bwMode="auto">
            <a:xfrm>
              <a:off x="288"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8" name="Rectangle 186">
              <a:extLst>
                <a:ext uri="{FF2B5EF4-FFF2-40B4-BE49-F238E27FC236}">
                  <a16:creationId xmlns:a16="http://schemas.microsoft.com/office/drawing/2014/main" id="{D858F663-4271-4FF2-9E58-4D0FC4C8966C}"/>
                </a:ext>
              </a:extLst>
            </p:cNvPr>
            <p:cNvSpPr>
              <a:spLocks noChangeArrowheads="1"/>
            </p:cNvSpPr>
            <p:nvPr userDrawn="1"/>
          </p:nvSpPr>
          <p:spPr bwMode="auto">
            <a:xfrm>
              <a:off x="576"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29" name="Rectangle 187">
              <a:extLst>
                <a:ext uri="{FF2B5EF4-FFF2-40B4-BE49-F238E27FC236}">
                  <a16:creationId xmlns:a16="http://schemas.microsoft.com/office/drawing/2014/main" id="{A4E1D9DC-5ADE-4908-9ED6-C419D6245412}"/>
                </a:ext>
              </a:extLst>
            </p:cNvPr>
            <p:cNvSpPr>
              <a:spLocks noChangeArrowheads="1"/>
            </p:cNvSpPr>
            <p:nvPr userDrawn="1"/>
          </p:nvSpPr>
          <p:spPr bwMode="auto">
            <a:xfrm>
              <a:off x="864"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0" name="Rectangle 188">
              <a:extLst>
                <a:ext uri="{FF2B5EF4-FFF2-40B4-BE49-F238E27FC236}">
                  <a16:creationId xmlns:a16="http://schemas.microsoft.com/office/drawing/2014/main" id="{8BF0F788-B512-40AE-AE7B-8B9B44AFCDDC}"/>
                </a:ext>
              </a:extLst>
            </p:cNvPr>
            <p:cNvSpPr>
              <a:spLocks noChangeArrowheads="1"/>
            </p:cNvSpPr>
            <p:nvPr userDrawn="1"/>
          </p:nvSpPr>
          <p:spPr bwMode="auto">
            <a:xfrm>
              <a:off x="1152"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1" name="Rectangle 189">
              <a:extLst>
                <a:ext uri="{FF2B5EF4-FFF2-40B4-BE49-F238E27FC236}">
                  <a16:creationId xmlns:a16="http://schemas.microsoft.com/office/drawing/2014/main" id="{22C5ACBD-6BCB-4DAE-BFF9-4207D3DD37BA}"/>
                </a:ext>
              </a:extLst>
            </p:cNvPr>
            <p:cNvSpPr>
              <a:spLocks noChangeArrowheads="1"/>
            </p:cNvSpPr>
            <p:nvPr userDrawn="1"/>
          </p:nvSpPr>
          <p:spPr bwMode="auto">
            <a:xfrm>
              <a:off x="1440" y="172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2" name="Rectangle 190">
              <a:extLst>
                <a:ext uri="{FF2B5EF4-FFF2-40B4-BE49-F238E27FC236}">
                  <a16:creationId xmlns:a16="http://schemas.microsoft.com/office/drawing/2014/main" id="{78BD5009-E0ED-4A71-9186-C09E99F04A5D}"/>
                </a:ext>
              </a:extLst>
            </p:cNvPr>
            <p:cNvSpPr>
              <a:spLocks noChangeArrowheads="1"/>
            </p:cNvSpPr>
            <p:nvPr userDrawn="1"/>
          </p:nvSpPr>
          <p:spPr bwMode="auto">
            <a:xfrm>
              <a:off x="1728"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3" name="Rectangle 191">
              <a:extLst>
                <a:ext uri="{FF2B5EF4-FFF2-40B4-BE49-F238E27FC236}">
                  <a16:creationId xmlns:a16="http://schemas.microsoft.com/office/drawing/2014/main" id="{A7AF5D32-3866-4DBB-9EA1-F842BCC30D63}"/>
                </a:ext>
              </a:extLst>
            </p:cNvPr>
            <p:cNvSpPr>
              <a:spLocks noChangeArrowheads="1"/>
            </p:cNvSpPr>
            <p:nvPr userDrawn="1"/>
          </p:nvSpPr>
          <p:spPr bwMode="auto">
            <a:xfrm>
              <a:off x="2016"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4" name="Rectangle 192">
              <a:extLst>
                <a:ext uri="{FF2B5EF4-FFF2-40B4-BE49-F238E27FC236}">
                  <a16:creationId xmlns:a16="http://schemas.microsoft.com/office/drawing/2014/main" id="{7FC8C42A-9405-4AD4-ADF3-4F0EDBBEF7EE}"/>
                </a:ext>
              </a:extLst>
            </p:cNvPr>
            <p:cNvSpPr>
              <a:spLocks noChangeArrowheads="1"/>
            </p:cNvSpPr>
            <p:nvPr userDrawn="1"/>
          </p:nvSpPr>
          <p:spPr bwMode="auto">
            <a:xfrm>
              <a:off x="2304"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5" name="Rectangle 193">
              <a:extLst>
                <a:ext uri="{FF2B5EF4-FFF2-40B4-BE49-F238E27FC236}">
                  <a16:creationId xmlns:a16="http://schemas.microsoft.com/office/drawing/2014/main" id="{7493EFED-DDF0-4443-B7AB-1B7E361B521B}"/>
                </a:ext>
              </a:extLst>
            </p:cNvPr>
            <p:cNvSpPr>
              <a:spLocks noChangeArrowheads="1"/>
            </p:cNvSpPr>
            <p:nvPr userDrawn="1"/>
          </p:nvSpPr>
          <p:spPr bwMode="auto">
            <a:xfrm>
              <a:off x="2592"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6" name="Rectangle 194">
              <a:extLst>
                <a:ext uri="{FF2B5EF4-FFF2-40B4-BE49-F238E27FC236}">
                  <a16:creationId xmlns:a16="http://schemas.microsoft.com/office/drawing/2014/main" id="{72DFC969-8718-4871-96C4-FEAC25A22F22}"/>
                </a:ext>
              </a:extLst>
            </p:cNvPr>
            <p:cNvSpPr>
              <a:spLocks noChangeArrowheads="1"/>
            </p:cNvSpPr>
            <p:nvPr userDrawn="1"/>
          </p:nvSpPr>
          <p:spPr bwMode="auto">
            <a:xfrm>
              <a:off x="2880"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7" name="Rectangle 195">
              <a:extLst>
                <a:ext uri="{FF2B5EF4-FFF2-40B4-BE49-F238E27FC236}">
                  <a16:creationId xmlns:a16="http://schemas.microsoft.com/office/drawing/2014/main" id="{88C921C9-5EC7-4DD2-933E-1665C6FDF2A1}"/>
                </a:ext>
              </a:extLst>
            </p:cNvPr>
            <p:cNvSpPr>
              <a:spLocks noChangeArrowheads="1"/>
            </p:cNvSpPr>
            <p:nvPr userDrawn="1"/>
          </p:nvSpPr>
          <p:spPr bwMode="auto">
            <a:xfrm>
              <a:off x="3168"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8" name="Rectangle 196">
              <a:extLst>
                <a:ext uri="{FF2B5EF4-FFF2-40B4-BE49-F238E27FC236}">
                  <a16:creationId xmlns:a16="http://schemas.microsoft.com/office/drawing/2014/main" id="{9FD46387-4BE9-4297-8FC2-4E6BAA39C7C1}"/>
                </a:ext>
              </a:extLst>
            </p:cNvPr>
            <p:cNvSpPr>
              <a:spLocks noChangeArrowheads="1"/>
            </p:cNvSpPr>
            <p:nvPr userDrawn="1"/>
          </p:nvSpPr>
          <p:spPr bwMode="auto">
            <a:xfrm>
              <a:off x="3456"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39" name="Rectangle 197">
              <a:extLst>
                <a:ext uri="{FF2B5EF4-FFF2-40B4-BE49-F238E27FC236}">
                  <a16:creationId xmlns:a16="http://schemas.microsoft.com/office/drawing/2014/main" id="{35450458-E27D-401D-8DE4-5975DE6CD1E4}"/>
                </a:ext>
              </a:extLst>
            </p:cNvPr>
            <p:cNvSpPr>
              <a:spLocks noChangeArrowheads="1"/>
            </p:cNvSpPr>
            <p:nvPr userDrawn="1"/>
          </p:nvSpPr>
          <p:spPr bwMode="auto">
            <a:xfrm>
              <a:off x="3744"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0" name="Rectangle 198">
              <a:extLst>
                <a:ext uri="{FF2B5EF4-FFF2-40B4-BE49-F238E27FC236}">
                  <a16:creationId xmlns:a16="http://schemas.microsoft.com/office/drawing/2014/main" id="{A4D34878-2D66-4226-AE35-08C2B8A336B4}"/>
                </a:ext>
              </a:extLst>
            </p:cNvPr>
            <p:cNvSpPr>
              <a:spLocks noChangeArrowheads="1"/>
            </p:cNvSpPr>
            <p:nvPr userDrawn="1"/>
          </p:nvSpPr>
          <p:spPr bwMode="auto">
            <a:xfrm>
              <a:off x="4032"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1" name="Rectangle 199">
              <a:extLst>
                <a:ext uri="{FF2B5EF4-FFF2-40B4-BE49-F238E27FC236}">
                  <a16:creationId xmlns:a16="http://schemas.microsoft.com/office/drawing/2014/main" id="{79A492E1-D9A4-4F0B-A6E5-B5A27F11DCA0}"/>
                </a:ext>
              </a:extLst>
            </p:cNvPr>
            <p:cNvSpPr>
              <a:spLocks noChangeArrowheads="1"/>
            </p:cNvSpPr>
            <p:nvPr userDrawn="1"/>
          </p:nvSpPr>
          <p:spPr bwMode="auto">
            <a:xfrm>
              <a:off x="4320"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2" name="Rectangle 200">
              <a:extLst>
                <a:ext uri="{FF2B5EF4-FFF2-40B4-BE49-F238E27FC236}">
                  <a16:creationId xmlns:a16="http://schemas.microsoft.com/office/drawing/2014/main" id="{5912AD34-21D5-48F6-85F9-A9965A5FA9D5}"/>
                </a:ext>
              </a:extLst>
            </p:cNvPr>
            <p:cNvSpPr>
              <a:spLocks noChangeArrowheads="1"/>
            </p:cNvSpPr>
            <p:nvPr userDrawn="1"/>
          </p:nvSpPr>
          <p:spPr bwMode="auto">
            <a:xfrm>
              <a:off x="4608"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3" name="Rectangle 201">
              <a:extLst>
                <a:ext uri="{FF2B5EF4-FFF2-40B4-BE49-F238E27FC236}">
                  <a16:creationId xmlns:a16="http://schemas.microsoft.com/office/drawing/2014/main" id="{01D33304-F04B-404D-919D-11E9DB5D4B53}"/>
                </a:ext>
              </a:extLst>
            </p:cNvPr>
            <p:cNvSpPr>
              <a:spLocks noChangeArrowheads="1"/>
            </p:cNvSpPr>
            <p:nvPr userDrawn="1"/>
          </p:nvSpPr>
          <p:spPr bwMode="auto">
            <a:xfrm>
              <a:off x="4896"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4" name="Rectangle 202">
              <a:extLst>
                <a:ext uri="{FF2B5EF4-FFF2-40B4-BE49-F238E27FC236}">
                  <a16:creationId xmlns:a16="http://schemas.microsoft.com/office/drawing/2014/main" id="{8FC36388-2FB3-4BD6-9D1C-6CCEBD6A660A}"/>
                </a:ext>
              </a:extLst>
            </p:cNvPr>
            <p:cNvSpPr>
              <a:spLocks noChangeArrowheads="1"/>
            </p:cNvSpPr>
            <p:nvPr userDrawn="1"/>
          </p:nvSpPr>
          <p:spPr bwMode="auto">
            <a:xfrm>
              <a:off x="5184"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5" name="Rectangle 203">
              <a:extLst>
                <a:ext uri="{FF2B5EF4-FFF2-40B4-BE49-F238E27FC236}">
                  <a16:creationId xmlns:a16="http://schemas.microsoft.com/office/drawing/2014/main" id="{5F9B4A6F-A5B3-44F9-A5ED-756F154A48C4}"/>
                </a:ext>
              </a:extLst>
            </p:cNvPr>
            <p:cNvSpPr>
              <a:spLocks noChangeArrowheads="1"/>
            </p:cNvSpPr>
            <p:nvPr userDrawn="1"/>
          </p:nvSpPr>
          <p:spPr bwMode="auto">
            <a:xfrm>
              <a:off x="5472" y="1728"/>
              <a:ext cx="288" cy="288"/>
            </a:xfrm>
            <a:prstGeom prst="rect">
              <a:avLst/>
            </a:prstGeom>
            <a:noFill/>
            <a:ln w="317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6" name="Rectangle 205">
              <a:extLst>
                <a:ext uri="{FF2B5EF4-FFF2-40B4-BE49-F238E27FC236}">
                  <a16:creationId xmlns:a16="http://schemas.microsoft.com/office/drawing/2014/main" id="{F03C8EA6-5489-49D4-9D0E-D3A120A6BC68}"/>
                </a:ext>
              </a:extLst>
            </p:cNvPr>
            <p:cNvSpPr>
              <a:spLocks noChangeArrowheads="1"/>
            </p:cNvSpPr>
            <p:nvPr userDrawn="1"/>
          </p:nvSpPr>
          <p:spPr bwMode="auto">
            <a:xfrm>
              <a:off x="0"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7" name="Rectangle 206">
              <a:extLst>
                <a:ext uri="{FF2B5EF4-FFF2-40B4-BE49-F238E27FC236}">
                  <a16:creationId xmlns:a16="http://schemas.microsoft.com/office/drawing/2014/main" id="{FA67D1C8-2381-4486-9FC5-027E4B1F3B27}"/>
                </a:ext>
              </a:extLst>
            </p:cNvPr>
            <p:cNvSpPr>
              <a:spLocks noChangeArrowheads="1"/>
            </p:cNvSpPr>
            <p:nvPr userDrawn="1"/>
          </p:nvSpPr>
          <p:spPr bwMode="auto">
            <a:xfrm>
              <a:off x="288"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8" name="Rectangle 207">
              <a:extLst>
                <a:ext uri="{FF2B5EF4-FFF2-40B4-BE49-F238E27FC236}">
                  <a16:creationId xmlns:a16="http://schemas.microsoft.com/office/drawing/2014/main" id="{552BA5A3-124B-439F-AF92-A94EABBD8387}"/>
                </a:ext>
              </a:extLst>
            </p:cNvPr>
            <p:cNvSpPr>
              <a:spLocks noChangeArrowheads="1"/>
            </p:cNvSpPr>
            <p:nvPr userDrawn="1"/>
          </p:nvSpPr>
          <p:spPr bwMode="auto">
            <a:xfrm>
              <a:off x="576"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49" name="Rectangle 208">
              <a:extLst>
                <a:ext uri="{FF2B5EF4-FFF2-40B4-BE49-F238E27FC236}">
                  <a16:creationId xmlns:a16="http://schemas.microsoft.com/office/drawing/2014/main" id="{9591B207-524A-4DA6-92C8-0330B8CE634B}"/>
                </a:ext>
              </a:extLst>
            </p:cNvPr>
            <p:cNvSpPr>
              <a:spLocks noChangeArrowheads="1"/>
            </p:cNvSpPr>
            <p:nvPr userDrawn="1"/>
          </p:nvSpPr>
          <p:spPr bwMode="auto">
            <a:xfrm>
              <a:off x="864"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0" name="Rectangle 209">
              <a:extLst>
                <a:ext uri="{FF2B5EF4-FFF2-40B4-BE49-F238E27FC236}">
                  <a16:creationId xmlns:a16="http://schemas.microsoft.com/office/drawing/2014/main" id="{F6DEC664-6C58-453F-9A12-A65A702F4297}"/>
                </a:ext>
              </a:extLst>
            </p:cNvPr>
            <p:cNvSpPr>
              <a:spLocks noChangeArrowheads="1"/>
            </p:cNvSpPr>
            <p:nvPr userDrawn="1"/>
          </p:nvSpPr>
          <p:spPr bwMode="auto">
            <a:xfrm>
              <a:off x="1152"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1" name="Rectangle 210">
              <a:extLst>
                <a:ext uri="{FF2B5EF4-FFF2-40B4-BE49-F238E27FC236}">
                  <a16:creationId xmlns:a16="http://schemas.microsoft.com/office/drawing/2014/main" id="{B0CE2A25-7762-4091-9F8E-A326DA252760}"/>
                </a:ext>
              </a:extLst>
            </p:cNvPr>
            <p:cNvSpPr>
              <a:spLocks noChangeArrowheads="1"/>
            </p:cNvSpPr>
            <p:nvPr userDrawn="1"/>
          </p:nvSpPr>
          <p:spPr bwMode="auto">
            <a:xfrm>
              <a:off x="1440"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2" name="Rectangle 211">
              <a:extLst>
                <a:ext uri="{FF2B5EF4-FFF2-40B4-BE49-F238E27FC236}">
                  <a16:creationId xmlns:a16="http://schemas.microsoft.com/office/drawing/2014/main" id="{724EDC28-185B-429D-8444-784BCC0E1D65}"/>
                </a:ext>
              </a:extLst>
            </p:cNvPr>
            <p:cNvSpPr>
              <a:spLocks noChangeArrowheads="1"/>
            </p:cNvSpPr>
            <p:nvPr userDrawn="1"/>
          </p:nvSpPr>
          <p:spPr bwMode="auto">
            <a:xfrm>
              <a:off x="1728"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3" name="Rectangle 212">
              <a:extLst>
                <a:ext uri="{FF2B5EF4-FFF2-40B4-BE49-F238E27FC236}">
                  <a16:creationId xmlns:a16="http://schemas.microsoft.com/office/drawing/2014/main" id="{BFDB7B6B-11C9-4313-96F8-6182294FEF84}"/>
                </a:ext>
              </a:extLst>
            </p:cNvPr>
            <p:cNvSpPr>
              <a:spLocks noChangeArrowheads="1"/>
            </p:cNvSpPr>
            <p:nvPr userDrawn="1"/>
          </p:nvSpPr>
          <p:spPr bwMode="auto">
            <a:xfrm>
              <a:off x="2016"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4" name="Rectangle 213">
              <a:extLst>
                <a:ext uri="{FF2B5EF4-FFF2-40B4-BE49-F238E27FC236}">
                  <a16:creationId xmlns:a16="http://schemas.microsoft.com/office/drawing/2014/main" id="{70E6405A-1DE3-4B8C-9051-8C57356C2BEC}"/>
                </a:ext>
              </a:extLst>
            </p:cNvPr>
            <p:cNvSpPr>
              <a:spLocks noChangeArrowheads="1"/>
            </p:cNvSpPr>
            <p:nvPr userDrawn="1"/>
          </p:nvSpPr>
          <p:spPr bwMode="auto">
            <a:xfrm>
              <a:off x="2304"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5" name="Rectangle 214">
              <a:extLst>
                <a:ext uri="{FF2B5EF4-FFF2-40B4-BE49-F238E27FC236}">
                  <a16:creationId xmlns:a16="http://schemas.microsoft.com/office/drawing/2014/main" id="{A8B25694-EDD0-4858-929E-CC94136E4FE6}"/>
                </a:ext>
              </a:extLst>
            </p:cNvPr>
            <p:cNvSpPr>
              <a:spLocks noChangeArrowheads="1"/>
            </p:cNvSpPr>
            <p:nvPr userDrawn="1"/>
          </p:nvSpPr>
          <p:spPr bwMode="auto">
            <a:xfrm>
              <a:off x="2592"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6" name="Rectangle 215">
              <a:extLst>
                <a:ext uri="{FF2B5EF4-FFF2-40B4-BE49-F238E27FC236}">
                  <a16:creationId xmlns:a16="http://schemas.microsoft.com/office/drawing/2014/main" id="{FAE36D16-A70F-417E-8CC0-CD5BE007B0C4}"/>
                </a:ext>
              </a:extLst>
            </p:cNvPr>
            <p:cNvSpPr>
              <a:spLocks noChangeArrowheads="1"/>
            </p:cNvSpPr>
            <p:nvPr userDrawn="1"/>
          </p:nvSpPr>
          <p:spPr bwMode="auto">
            <a:xfrm>
              <a:off x="2880"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7" name="Rectangle 216">
              <a:extLst>
                <a:ext uri="{FF2B5EF4-FFF2-40B4-BE49-F238E27FC236}">
                  <a16:creationId xmlns:a16="http://schemas.microsoft.com/office/drawing/2014/main" id="{8886EC27-92E0-4CD8-B35A-1BF9374BAF92}"/>
                </a:ext>
              </a:extLst>
            </p:cNvPr>
            <p:cNvSpPr>
              <a:spLocks noChangeArrowheads="1"/>
            </p:cNvSpPr>
            <p:nvPr userDrawn="1"/>
          </p:nvSpPr>
          <p:spPr bwMode="auto">
            <a:xfrm>
              <a:off x="3168"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8" name="Rectangle 217">
              <a:extLst>
                <a:ext uri="{FF2B5EF4-FFF2-40B4-BE49-F238E27FC236}">
                  <a16:creationId xmlns:a16="http://schemas.microsoft.com/office/drawing/2014/main" id="{12DD7403-C581-45A2-AEA0-1B7FF5C64C81}"/>
                </a:ext>
              </a:extLst>
            </p:cNvPr>
            <p:cNvSpPr>
              <a:spLocks noChangeArrowheads="1"/>
            </p:cNvSpPr>
            <p:nvPr userDrawn="1"/>
          </p:nvSpPr>
          <p:spPr bwMode="auto">
            <a:xfrm>
              <a:off x="3456"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59" name="Rectangle 218">
              <a:extLst>
                <a:ext uri="{FF2B5EF4-FFF2-40B4-BE49-F238E27FC236}">
                  <a16:creationId xmlns:a16="http://schemas.microsoft.com/office/drawing/2014/main" id="{66480275-F822-4113-B201-FE3969E64094}"/>
                </a:ext>
              </a:extLst>
            </p:cNvPr>
            <p:cNvSpPr>
              <a:spLocks noChangeArrowheads="1"/>
            </p:cNvSpPr>
            <p:nvPr userDrawn="1"/>
          </p:nvSpPr>
          <p:spPr bwMode="auto">
            <a:xfrm>
              <a:off x="3744"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0" name="Rectangle 219">
              <a:extLst>
                <a:ext uri="{FF2B5EF4-FFF2-40B4-BE49-F238E27FC236}">
                  <a16:creationId xmlns:a16="http://schemas.microsoft.com/office/drawing/2014/main" id="{5EFD341E-10FE-46C2-B2BE-BA669BC45199}"/>
                </a:ext>
              </a:extLst>
            </p:cNvPr>
            <p:cNvSpPr>
              <a:spLocks noChangeArrowheads="1"/>
            </p:cNvSpPr>
            <p:nvPr userDrawn="1"/>
          </p:nvSpPr>
          <p:spPr bwMode="auto">
            <a:xfrm>
              <a:off x="4032"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1" name="Rectangle 220">
              <a:extLst>
                <a:ext uri="{FF2B5EF4-FFF2-40B4-BE49-F238E27FC236}">
                  <a16:creationId xmlns:a16="http://schemas.microsoft.com/office/drawing/2014/main" id="{96A9B961-85DF-48D3-90A9-CC549E6B191B}"/>
                </a:ext>
              </a:extLst>
            </p:cNvPr>
            <p:cNvSpPr>
              <a:spLocks noChangeArrowheads="1"/>
            </p:cNvSpPr>
            <p:nvPr userDrawn="1"/>
          </p:nvSpPr>
          <p:spPr bwMode="auto">
            <a:xfrm>
              <a:off x="4320"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2" name="Rectangle 221">
              <a:extLst>
                <a:ext uri="{FF2B5EF4-FFF2-40B4-BE49-F238E27FC236}">
                  <a16:creationId xmlns:a16="http://schemas.microsoft.com/office/drawing/2014/main" id="{6CCA0AC1-4FDF-4926-84FC-FDF05FA5B948}"/>
                </a:ext>
              </a:extLst>
            </p:cNvPr>
            <p:cNvSpPr>
              <a:spLocks noChangeArrowheads="1"/>
            </p:cNvSpPr>
            <p:nvPr userDrawn="1"/>
          </p:nvSpPr>
          <p:spPr bwMode="auto">
            <a:xfrm>
              <a:off x="4608"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3" name="Rectangle 222">
              <a:extLst>
                <a:ext uri="{FF2B5EF4-FFF2-40B4-BE49-F238E27FC236}">
                  <a16:creationId xmlns:a16="http://schemas.microsoft.com/office/drawing/2014/main" id="{3BB7B344-C9E8-4FF6-BBEE-001BF001E7F7}"/>
                </a:ext>
              </a:extLst>
            </p:cNvPr>
            <p:cNvSpPr>
              <a:spLocks noChangeArrowheads="1"/>
            </p:cNvSpPr>
            <p:nvPr userDrawn="1"/>
          </p:nvSpPr>
          <p:spPr bwMode="auto">
            <a:xfrm>
              <a:off x="4896"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4" name="Rectangle 223">
              <a:extLst>
                <a:ext uri="{FF2B5EF4-FFF2-40B4-BE49-F238E27FC236}">
                  <a16:creationId xmlns:a16="http://schemas.microsoft.com/office/drawing/2014/main" id="{C85F8F0F-8D1A-49CE-BFC8-269893CC6D88}"/>
                </a:ext>
              </a:extLst>
            </p:cNvPr>
            <p:cNvSpPr>
              <a:spLocks noChangeArrowheads="1"/>
            </p:cNvSpPr>
            <p:nvPr userDrawn="1"/>
          </p:nvSpPr>
          <p:spPr bwMode="auto">
            <a:xfrm>
              <a:off x="5184"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5" name="Rectangle 224">
              <a:extLst>
                <a:ext uri="{FF2B5EF4-FFF2-40B4-BE49-F238E27FC236}">
                  <a16:creationId xmlns:a16="http://schemas.microsoft.com/office/drawing/2014/main" id="{B1349BA2-A0F1-42F5-855E-3CA51385E194}"/>
                </a:ext>
              </a:extLst>
            </p:cNvPr>
            <p:cNvSpPr>
              <a:spLocks noChangeArrowheads="1"/>
            </p:cNvSpPr>
            <p:nvPr userDrawn="1"/>
          </p:nvSpPr>
          <p:spPr bwMode="auto">
            <a:xfrm>
              <a:off x="5472" y="201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6" name="Rectangle 226">
              <a:extLst>
                <a:ext uri="{FF2B5EF4-FFF2-40B4-BE49-F238E27FC236}">
                  <a16:creationId xmlns:a16="http://schemas.microsoft.com/office/drawing/2014/main" id="{87254C3D-C8DF-4793-8626-F8F7905109DC}"/>
                </a:ext>
              </a:extLst>
            </p:cNvPr>
            <p:cNvSpPr>
              <a:spLocks noChangeArrowheads="1"/>
            </p:cNvSpPr>
            <p:nvPr userDrawn="1"/>
          </p:nvSpPr>
          <p:spPr bwMode="auto">
            <a:xfrm>
              <a:off x="0"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7" name="Rectangle 227">
              <a:extLst>
                <a:ext uri="{FF2B5EF4-FFF2-40B4-BE49-F238E27FC236}">
                  <a16:creationId xmlns:a16="http://schemas.microsoft.com/office/drawing/2014/main" id="{34725126-5321-49A7-BB4E-6CD0E2956A49}"/>
                </a:ext>
              </a:extLst>
            </p:cNvPr>
            <p:cNvSpPr>
              <a:spLocks noChangeArrowheads="1"/>
            </p:cNvSpPr>
            <p:nvPr userDrawn="1"/>
          </p:nvSpPr>
          <p:spPr bwMode="auto">
            <a:xfrm>
              <a:off x="288"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8" name="Rectangle 228">
              <a:extLst>
                <a:ext uri="{FF2B5EF4-FFF2-40B4-BE49-F238E27FC236}">
                  <a16:creationId xmlns:a16="http://schemas.microsoft.com/office/drawing/2014/main" id="{FD54FA0F-2392-4DF8-A5DA-DBF8D27A075B}"/>
                </a:ext>
              </a:extLst>
            </p:cNvPr>
            <p:cNvSpPr>
              <a:spLocks noChangeArrowheads="1"/>
            </p:cNvSpPr>
            <p:nvPr userDrawn="1"/>
          </p:nvSpPr>
          <p:spPr bwMode="auto">
            <a:xfrm>
              <a:off x="576"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69" name="Rectangle 229">
              <a:extLst>
                <a:ext uri="{FF2B5EF4-FFF2-40B4-BE49-F238E27FC236}">
                  <a16:creationId xmlns:a16="http://schemas.microsoft.com/office/drawing/2014/main" id="{D681BBAF-0A8F-43BE-83D0-F190ED879D4C}"/>
                </a:ext>
              </a:extLst>
            </p:cNvPr>
            <p:cNvSpPr>
              <a:spLocks noChangeArrowheads="1"/>
            </p:cNvSpPr>
            <p:nvPr userDrawn="1"/>
          </p:nvSpPr>
          <p:spPr bwMode="auto">
            <a:xfrm>
              <a:off x="864"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0" name="Rectangle 230">
              <a:extLst>
                <a:ext uri="{FF2B5EF4-FFF2-40B4-BE49-F238E27FC236}">
                  <a16:creationId xmlns:a16="http://schemas.microsoft.com/office/drawing/2014/main" id="{27D6028E-F9EA-4E7D-908D-082BC586A07F}"/>
                </a:ext>
              </a:extLst>
            </p:cNvPr>
            <p:cNvSpPr>
              <a:spLocks noChangeArrowheads="1"/>
            </p:cNvSpPr>
            <p:nvPr userDrawn="1"/>
          </p:nvSpPr>
          <p:spPr bwMode="auto">
            <a:xfrm>
              <a:off x="1152"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1" name="Rectangle 231">
              <a:extLst>
                <a:ext uri="{FF2B5EF4-FFF2-40B4-BE49-F238E27FC236}">
                  <a16:creationId xmlns:a16="http://schemas.microsoft.com/office/drawing/2014/main" id="{5EA74134-A462-49F2-AA66-4622970B5493}"/>
                </a:ext>
              </a:extLst>
            </p:cNvPr>
            <p:cNvSpPr>
              <a:spLocks noChangeArrowheads="1"/>
            </p:cNvSpPr>
            <p:nvPr userDrawn="1"/>
          </p:nvSpPr>
          <p:spPr bwMode="auto">
            <a:xfrm>
              <a:off x="1440"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2" name="Rectangle 232">
              <a:extLst>
                <a:ext uri="{FF2B5EF4-FFF2-40B4-BE49-F238E27FC236}">
                  <a16:creationId xmlns:a16="http://schemas.microsoft.com/office/drawing/2014/main" id="{4E15E248-CC27-4AAA-844E-B92385C3AC8E}"/>
                </a:ext>
              </a:extLst>
            </p:cNvPr>
            <p:cNvSpPr>
              <a:spLocks noChangeArrowheads="1"/>
            </p:cNvSpPr>
            <p:nvPr userDrawn="1"/>
          </p:nvSpPr>
          <p:spPr bwMode="auto">
            <a:xfrm>
              <a:off x="1728"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3" name="Rectangle 233">
              <a:extLst>
                <a:ext uri="{FF2B5EF4-FFF2-40B4-BE49-F238E27FC236}">
                  <a16:creationId xmlns:a16="http://schemas.microsoft.com/office/drawing/2014/main" id="{B9001356-3F25-44F3-AB6F-5958837B506A}"/>
                </a:ext>
              </a:extLst>
            </p:cNvPr>
            <p:cNvSpPr>
              <a:spLocks noChangeArrowheads="1"/>
            </p:cNvSpPr>
            <p:nvPr userDrawn="1"/>
          </p:nvSpPr>
          <p:spPr bwMode="auto">
            <a:xfrm>
              <a:off x="2016"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4" name="Rectangle 234">
              <a:extLst>
                <a:ext uri="{FF2B5EF4-FFF2-40B4-BE49-F238E27FC236}">
                  <a16:creationId xmlns:a16="http://schemas.microsoft.com/office/drawing/2014/main" id="{5D22D308-CE8A-4B42-8692-DAC2CB03F57C}"/>
                </a:ext>
              </a:extLst>
            </p:cNvPr>
            <p:cNvSpPr>
              <a:spLocks noChangeArrowheads="1"/>
            </p:cNvSpPr>
            <p:nvPr userDrawn="1"/>
          </p:nvSpPr>
          <p:spPr bwMode="auto">
            <a:xfrm>
              <a:off x="2304"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5" name="Rectangle 235">
              <a:extLst>
                <a:ext uri="{FF2B5EF4-FFF2-40B4-BE49-F238E27FC236}">
                  <a16:creationId xmlns:a16="http://schemas.microsoft.com/office/drawing/2014/main" id="{B8DAC6F7-E55E-46EC-B453-2C12990204BC}"/>
                </a:ext>
              </a:extLst>
            </p:cNvPr>
            <p:cNvSpPr>
              <a:spLocks noChangeArrowheads="1"/>
            </p:cNvSpPr>
            <p:nvPr userDrawn="1"/>
          </p:nvSpPr>
          <p:spPr bwMode="auto">
            <a:xfrm>
              <a:off x="2592"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6" name="Rectangle 236">
              <a:extLst>
                <a:ext uri="{FF2B5EF4-FFF2-40B4-BE49-F238E27FC236}">
                  <a16:creationId xmlns:a16="http://schemas.microsoft.com/office/drawing/2014/main" id="{BDA5A495-D5B1-4513-A1F3-16380AC662DF}"/>
                </a:ext>
              </a:extLst>
            </p:cNvPr>
            <p:cNvSpPr>
              <a:spLocks noChangeArrowheads="1"/>
            </p:cNvSpPr>
            <p:nvPr userDrawn="1"/>
          </p:nvSpPr>
          <p:spPr bwMode="auto">
            <a:xfrm>
              <a:off x="2880"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7" name="Rectangle 237">
              <a:extLst>
                <a:ext uri="{FF2B5EF4-FFF2-40B4-BE49-F238E27FC236}">
                  <a16:creationId xmlns:a16="http://schemas.microsoft.com/office/drawing/2014/main" id="{1FD11B27-529D-48D5-A786-479623DADE06}"/>
                </a:ext>
              </a:extLst>
            </p:cNvPr>
            <p:cNvSpPr>
              <a:spLocks noChangeArrowheads="1"/>
            </p:cNvSpPr>
            <p:nvPr userDrawn="1"/>
          </p:nvSpPr>
          <p:spPr bwMode="auto">
            <a:xfrm>
              <a:off x="3168"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8" name="Rectangle 238">
              <a:extLst>
                <a:ext uri="{FF2B5EF4-FFF2-40B4-BE49-F238E27FC236}">
                  <a16:creationId xmlns:a16="http://schemas.microsoft.com/office/drawing/2014/main" id="{B9610CDE-C2E3-4710-8E55-EBC1E4B023C5}"/>
                </a:ext>
              </a:extLst>
            </p:cNvPr>
            <p:cNvSpPr>
              <a:spLocks noChangeArrowheads="1"/>
            </p:cNvSpPr>
            <p:nvPr userDrawn="1"/>
          </p:nvSpPr>
          <p:spPr bwMode="auto">
            <a:xfrm>
              <a:off x="3456"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79" name="Rectangle 239">
              <a:extLst>
                <a:ext uri="{FF2B5EF4-FFF2-40B4-BE49-F238E27FC236}">
                  <a16:creationId xmlns:a16="http://schemas.microsoft.com/office/drawing/2014/main" id="{84A77EA3-90B2-4DAB-A33A-F220C6BDD75A}"/>
                </a:ext>
              </a:extLst>
            </p:cNvPr>
            <p:cNvSpPr>
              <a:spLocks noChangeArrowheads="1"/>
            </p:cNvSpPr>
            <p:nvPr userDrawn="1"/>
          </p:nvSpPr>
          <p:spPr bwMode="auto">
            <a:xfrm>
              <a:off x="3744"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0" name="Rectangle 240">
              <a:extLst>
                <a:ext uri="{FF2B5EF4-FFF2-40B4-BE49-F238E27FC236}">
                  <a16:creationId xmlns:a16="http://schemas.microsoft.com/office/drawing/2014/main" id="{4EB85C2D-9E15-4F1C-9BB6-0E692FBA8F91}"/>
                </a:ext>
              </a:extLst>
            </p:cNvPr>
            <p:cNvSpPr>
              <a:spLocks noChangeArrowheads="1"/>
            </p:cNvSpPr>
            <p:nvPr userDrawn="1"/>
          </p:nvSpPr>
          <p:spPr bwMode="auto">
            <a:xfrm>
              <a:off x="4032"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1" name="Rectangle 241">
              <a:extLst>
                <a:ext uri="{FF2B5EF4-FFF2-40B4-BE49-F238E27FC236}">
                  <a16:creationId xmlns:a16="http://schemas.microsoft.com/office/drawing/2014/main" id="{BE965031-FE0E-4D4D-8E30-7213B9EF4F92}"/>
                </a:ext>
              </a:extLst>
            </p:cNvPr>
            <p:cNvSpPr>
              <a:spLocks noChangeArrowheads="1"/>
            </p:cNvSpPr>
            <p:nvPr userDrawn="1"/>
          </p:nvSpPr>
          <p:spPr bwMode="auto">
            <a:xfrm>
              <a:off x="4320"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2" name="Rectangle 242">
              <a:extLst>
                <a:ext uri="{FF2B5EF4-FFF2-40B4-BE49-F238E27FC236}">
                  <a16:creationId xmlns:a16="http://schemas.microsoft.com/office/drawing/2014/main" id="{EDE4AC1E-8059-4F3B-AFA5-CBDAB1A57C94}"/>
                </a:ext>
              </a:extLst>
            </p:cNvPr>
            <p:cNvSpPr>
              <a:spLocks noChangeArrowheads="1"/>
            </p:cNvSpPr>
            <p:nvPr userDrawn="1"/>
          </p:nvSpPr>
          <p:spPr bwMode="auto">
            <a:xfrm>
              <a:off x="4608"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3" name="Rectangle 243">
              <a:extLst>
                <a:ext uri="{FF2B5EF4-FFF2-40B4-BE49-F238E27FC236}">
                  <a16:creationId xmlns:a16="http://schemas.microsoft.com/office/drawing/2014/main" id="{BF8554E3-0354-4400-A0D7-BA9DD72C0540}"/>
                </a:ext>
              </a:extLst>
            </p:cNvPr>
            <p:cNvSpPr>
              <a:spLocks noChangeArrowheads="1"/>
            </p:cNvSpPr>
            <p:nvPr userDrawn="1"/>
          </p:nvSpPr>
          <p:spPr bwMode="auto">
            <a:xfrm>
              <a:off x="4896"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4" name="Rectangle 244">
              <a:extLst>
                <a:ext uri="{FF2B5EF4-FFF2-40B4-BE49-F238E27FC236}">
                  <a16:creationId xmlns:a16="http://schemas.microsoft.com/office/drawing/2014/main" id="{ADD1C938-D8D7-4FF3-8043-E5E3F5997B18}"/>
                </a:ext>
              </a:extLst>
            </p:cNvPr>
            <p:cNvSpPr>
              <a:spLocks noChangeArrowheads="1"/>
            </p:cNvSpPr>
            <p:nvPr userDrawn="1"/>
          </p:nvSpPr>
          <p:spPr bwMode="auto">
            <a:xfrm>
              <a:off x="5184"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5" name="Rectangle 245">
              <a:extLst>
                <a:ext uri="{FF2B5EF4-FFF2-40B4-BE49-F238E27FC236}">
                  <a16:creationId xmlns:a16="http://schemas.microsoft.com/office/drawing/2014/main" id="{E9218779-75F6-43E3-A916-5AC7BA4B258F}"/>
                </a:ext>
              </a:extLst>
            </p:cNvPr>
            <p:cNvSpPr>
              <a:spLocks noChangeArrowheads="1"/>
            </p:cNvSpPr>
            <p:nvPr userDrawn="1"/>
          </p:nvSpPr>
          <p:spPr bwMode="auto">
            <a:xfrm>
              <a:off x="5472" y="2304"/>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6" name="Rectangle 247">
              <a:extLst>
                <a:ext uri="{FF2B5EF4-FFF2-40B4-BE49-F238E27FC236}">
                  <a16:creationId xmlns:a16="http://schemas.microsoft.com/office/drawing/2014/main" id="{32A92BB8-54D7-4979-9C24-1AEA79223E68}"/>
                </a:ext>
              </a:extLst>
            </p:cNvPr>
            <p:cNvSpPr>
              <a:spLocks noChangeArrowheads="1"/>
            </p:cNvSpPr>
            <p:nvPr userDrawn="1"/>
          </p:nvSpPr>
          <p:spPr bwMode="auto">
            <a:xfrm>
              <a:off x="0"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7" name="Rectangle 248">
              <a:extLst>
                <a:ext uri="{FF2B5EF4-FFF2-40B4-BE49-F238E27FC236}">
                  <a16:creationId xmlns:a16="http://schemas.microsoft.com/office/drawing/2014/main" id="{0A96D088-EFE9-48AD-85D1-EDCB87748BB8}"/>
                </a:ext>
              </a:extLst>
            </p:cNvPr>
            <p:cNvSpPr>
              <a:spLocks noChangeArrowheads="1"/>
            </p:cNvSpPr>
            <p:nvPr userDrawn="1"/>
          </p:nvSpPr>
          <p:spPr bwMode="auto">
            <a:xfrm>
              <a:off x="288"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8" name="Rectangle 249">
              <a:extLst>
                <a:ext uri="{FF2B5EF4-FFF2-40B4-BE49-F238E27FC236}">
                  <a16:creationId xmlns:a16="http://schemas.microsoft.com/office/drawing/2014/main" id="{BA5FE6E6-C8D9-458F-81CC-611889B81AFA}"/>
                </a:ext>
              </a:extLst>
            </p:cNvPr>
            <p:cNvSpPr>
              <a:spLocks noChangeArrowheads="1"/>
            </p:cNvSpPr>
            <p:nvPr userDrawn="1"/>
          </p:nvSpPr>
          <p:spPr bwMode="auto">
            <a:xfrm>
              <a:off x="576"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89" name="Rectangle 250">
              <a:extLst>
                <a:ext uri="{FF2B5EF4-FFF2-40B4-BE49-F238E27FC236}">
                  <a16:creationId xmlns:a16="http://schemas.microsoft.com/office/drawing/2014/main" id="{B5228D42-5120-4A91-B694-4466C5164CFD}"/>
                </a:ext>
              </a:extLst>
            </p:cNvPr>
            <p:cNvSpPr>
              <a:spLocks noChangeArrowheads="1"/>
            </p:cNvSpPr>
            <p:nvPr userDrawn="1"/>
          </p:nvSpPr>
          <p:spPr bwMode="auto">
            <a:xfrm>
              <a:off x="864"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0" name="Rectangle 251">
              <a:extLst>
                <a:ext uri="{FF2B5EF4-FFF2-40B4-BE49-F238E27FC236}">
                  <a16:creationId xmlns:a16="http://schemas.microsoft.com/office/drawing/2014/main" id="{4693CD4F-B311-4B41-A50C-F27CA28C5A3B}"/>
                </a:ext>
              </a:extLst>
            </p:cNvPr>
            <p:cNvSpPr>
              <a:spLocks noChangeArrowheads="1"/>
            </p:cNvSpPr>
            <p:nvPr userDrawn="1"/>
          </p:nvSpPr>
          <p:spPr bwMode="auto">
            <a:xfrm>
              <a:off x="1152"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1" name="Rectangle 252">
              <a:extLst>
                <a:ext uri="{FF2B5EF4-FFF2-40B4-BE49-F238E27FC236}">
                  <a16:creationId xmlns:a16="http://schemas.microsoft.com/office/drawing/2014/main" id="{7FC17B24-7F4D-46AC-835C-7F3E0739DC69}"/>
                </a:ext>
              </a:extLst>
            </p:cNvPr>
            <p:cNvSpPr>
              <a:spLocks noChangeArrowheads="1"/>
            </p:cNvSpPr>
            <p:nvPr userDrawn="1"/>
          </p:nvSpPr>
          <p:spPr bwMode="auto">
            <a:xfrm>
              <a:off x="1440"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2" name="Rectangle 253">
              <a:extLst>
                <a:ext uri="{FF2B5EF4-FFF2-40B4-BE49-F238E27FC236}">
                  <a16:creationId xmlns:a16="http://schemas.microsoft.com/office/drawing/2014/main" id="{9E36A074-2DA0-4E85-9540-BB2391182497}"/>
                </a:ext>
              </a:extLst>
            </p:cNvPr>
            <p:cNvSpPr>
              <a:spLocks noChangeArrowheads="1"/>
            </p:cNvSpPr>
            <p:nvPr userDrawn="1"/>
          </p:nvSpPr>
          <p:spPr bwMode="auto">
            <a:xfrm>
              <a:off x="1728"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3" name="Rectangle 254">
              <a:extLst>
                <a:ext uri="{FF2B5EF4-FFF2-40B4-BE49-F238E27FC236}">
                  <a16:creationId xmlns:a16="http://schemas.microsoft.com/office/drawing/2014/main" id="{F2B351F1-7D1A-4879-B3FB-C2235D0F421D}"/>
                </a:ext>
              </a:extLst>
            </p:cNvPr>
            <p:cNvSpPr>
              <a:spLocks noChangeArrowheads="1"/>
            </p:cNvSpPr>
            <p:nvPr userDrawn="1"/>
          </p:nvSpPr>
          <p:spPr bwMode="auto">
            <a:xfrm>
              <a:off x="2016"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4" name="Rectangle 255">
              <a:extLst>
                <a:ext uri="{FF2B5EF4-FFF2-40B4-BE49-F238E27FC236}">
                  <a16:creationId xmlns:a16="http://schemas.microsoft.com/office/drawing/2014/main" id="{646A35E5-CF35-4C3C-ABCA-15CD4D4807A9}"/>
                </a:ext>
              </a:extLst>
            </p:cNvPr>
            <p:cNvSpPr>
              <a:spLocks noChangeArrowheads="1"/>
            </p:cNvSpPr>
            <p:nvPr userDrawn="1"/>
          </p:nvSpPr>
          <p:spPr bwMode="auto">
            <a:xfrm>
              <a:off x="2304"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5" name="Rectangle 256">
              <a:extLst>
                <a:ext uri="{FF2B5EF4-FFF2-40B4-BE49-F238E27FC236}">
                  <a16:creationId xmlns:a16="http://schemas.microsoft.com/office/drawing/2014/main" id="{6060D8C2-6B49-4C76-99F1-DC9ABCAA2FFC}"/>
                </a:ext>
              </a:extLst>
            </p:cNvPr>
            <p:cNvSpPr>
              <a:spLocks noChangeArrowheads="1"/>
            </p:cNvSpPr>
            <p:nvPr userDrawn="1"/>
          </p:nvSpPr>
          <p:spPr bwMode="auto">
            <a:xfrm>
              <a:off x="2592"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6" name="Rectangle 257">
              <a:extLst>
                <a:ext uri="{FF2B5EF4-FFF2-40B4-BE49-F238E27FC236}">
                  <a16:creationId xmlns:a16="http://schemas.microsoft.com/office/drawing/2014/main" id="{8F7BA3BF-D9D7-4C0E-AD31-AFFE7EA8AFB1}"/>
                </a:ext>
              </a:extLst>
            </p:cNvPr>
            <p:cNvSpPr>
              <a:spLocks noChangeArrowheads="1"/>
            </p:cNvSpPr>
            <p:nvPr userDrawn="1"/>
          </p:nvSpPr>
          <p:spPr bwMode="auto">
            <a:xfrm>
              <a:off x="2880"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7" name="Rectangle 258">
              <a:extLst>
                <a:ext uri="{FF2B5EF4-FFF2-40B4-BE49-F238E27FC236}">
                  <a16:creationId xmlns:a16="http://schemas.microsoft.com/office/drawing/2014/main" id="{02C98C23-D225-47A8-83D2-D4F1AF8A79D2}"/>
                </a:ext>
              </a:extLst>
            </p:cNvPr>
            <p:cNvSpPr>
              <a:spLocks noChangeArrowheads="1"/>
            </p:cNvSpPr>
            <p:nvPr userDrawn="1"/>
          </p:nvSpPr>
          <p:spPr bwMode="auto">
            <a:xfrm>
              <a:off x="3168"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8" name="Rectangle 259">
              <a:extLst>
                <a:ext uri="{FF2B5EF4-FFF2-40B4-BE49-F238E27FC236}">
                  <a16:creationId xmlns:a16="http://schemas.microsoft.com/office/drawing/2014/main" id="{AE3181C6-6907-4D88-937F-EB57962E8CAD}"/>
                </a:ext>
              </a:extLst>
            </p:cNvPr>
            <p:cNvSpPr>
              <a:spLocks noChangeArrowheads="1"/>
            </p:cNvSpPr>
            <p:nvPr userDrawn="1"/>
          </p:nvSpPr>
          <p:spPr bwMode="auto">
            <a:xfrm>
              <a:off x="3456"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99" name="Rectangle 260">
              <a:extLst>
                <a:ext uri="{FF2B5EF4-FFF2-40B4-BE49-F238E27FC236}">
                  <a16:creationId xmlns:a16="http://schemas.microsoft.com/office/drawing/2014/main" id="{CAF5A50C-7488-4202-9A1D-EC7023001CA0}"/>
                </a:ext>
              </a:extLst>
            </p:cNvPr>
            <p:cNvSpPr>
              <a:spLocks noChangeArrowheads="1"/>
            </p:cNvSpPr>
            <p:nvPr userDrawn="1"/>
          </p:nvSpPr>
          <p:spPr bwMode="auto">
            <a:xfrm>
              <a:off x="3744"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0" name="Rectangle 261">
              <a:extLst>
                <a:ext uri="{FF2B5EF4-FFF2-40B4-BE49-F238E27FC236}">
                  <a16:creationId xmlns:a16="http://schemas.microsoft.com/office/drawing/2014/main" id="{96D5BACA-1283-411A-B6BE-A9F707F313EA}"/>
                </a:ext>
              </a:extLst>
            </p:cNvPr>
            <p:cNvSpPr>
              <a:spLocks noChangeArrowheads="1"/>
            </p:cNvSpPr>
            <p:nvPr userDrawn="1"/>
          </p:nvSpPr>
          <p:spPr bwMode="auto">
            <a:xfrm>
              <a:off x="4032"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1" name="Rectangle 262">
              <a:extLst>
                <a:ext uri="{FF2B5EF4-FFF2-40B4-BE49-F238E27FC236}">
                  <a16:creationId xmlns:a16="http://schemas.microsoft.com/office/drawing/2014/main" id="{2A6AA652-E11B-413C-81B0-7F8B81F00F9A}"/>
                </a:ext>
              </a:extLst>
            </p:cNvPr>
            <p:cNvSpPr>
              <a:spLocks noChangeArrowheads="1"/>
            </p:cNvSpPr>
            <p:nvPr userDrawn="1"/>
          </p:nvSpPr>
          <p:spPr bwMode="auto">
            <a:xfrm>
              <a:off x="4320"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2" name="Rectangle 263">
              <a:extLst>
                <a:ext uri="{FF2B5EF4-FFF2-40B4-BE49-F238E27FC236}">
                  <a16:creationId xmlns:a16="http://schemas.microsoft.com/office/drawing/2014/main" id="{AD4D2808-70A8-49E3-A192-3FD067B950DB}"/>
                </a:ext>
              </a:extLst>
            </p:cNvPr>
            <p:cNvSpPr>
              <a:spLocks noChangeArrowheads="1"/>
            </p:cNvSpPr>
            <p:nvPr userDrawn="1"/>
          </p:nvSpPr>
          <p:spPr bwMode="auto">
            <a:xfrm>
              <a:off x="4608"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3" name="Rectangle 264">
              <a:extLst>
                <a:ext uri="{FF2B5EF4-FFF2-40B4-BE49-F238E27FC236}">
                  <a16:creationId xmlns:a16="http://schemas.microsoft.com/office/drawing/2014/main" id="{DAB0E9A4-40D4-48A1-9AA5-5520C3ED5A04}"/>
                </a:ext>
              </a:extLst>
            </p:cNvPr>
            <p:cNvSpPr>
              <a:spLocks noChangeArrowheads="1"/>
            </p:cNvSpPr>
            <p:nvPr userDrawn="1"/>
          </p:nvSpPr>
          <p:spPr bwMode="auto">
            <a:xfrm>
              <a:off x="4896"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4" name="Rectangle 265">
              <a:extLst>
                <a:ext uri="{FF2B5EF4-FFF2-40B4-BE49-F238E27FC236}">
                  <a16:creationId xmlns:a16="http://schemas.microsoft.com/office/drawing/2014/main" id="{38906EEF-BDA6-4DF7-A8C8-66404B89A817}"/>
                </a:ext>
              </a:extLst>
            </p:cNvPr>
            <p:cNvSpPr>
              <a:spLocks noChangeArrowheads="1"/>
            </p:cNvSpPr>
            <p:nvPr userDrawn="1"/>
          </p:nvSpPr>
          <p:spPr bwMode="auto">
            <a:xfrm>
              <a:off x="5184"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5" name="Rectangle 266">
              <a:extLst>
                <a:ext uri="{FF2B5EF4-FFF2-40B4-BE49-F238E27FC236}">
                  <a16:creationId xmlns:a16="http://schemas.microsoft.com/office/drawing/2014/main" id="{8DABFD39-530F-4461-B489-01FB4C54246E}"/>
                </a:ext>
              </a:extLst>
            </p:cNvPr>
            <p:cNvSpPr>
              <a:spLocks noChangeArrowheads="1"/>
            </p:cNvSpPr>
            <p:nvPr userDrawn="1"/>
          </p:nvSpPr>
          <p:spPr bwMode="auto">
            <a:xfrm>
              <a:off x="5472" y="2592"/>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6" name="Rectangle 268">
              <a:extLst>
                <a:ext uri="{FF2B5EF4-FFF2-40B4-BE49-F238E27FC236}">
                  <a16:creationId xmlns:a16="http://schemas.microsoft.com/office/drawing/2014/main" id="{818DBDEF-0382-475B-BBF8-C3B0A013AF1B}"/>
                </a:ext>
              </a:extLst>
            </p:cNvPr>
            <p:cNvSpPr>
              <a:spLocks noChangeArrowheads="1"/>
            </p:cNvSpPr>
            <p:nvPr userDrawn="1"/>
          </p:nvSpPr>
          <p:spPr bwMode="auto">
            <a:xfrm>
              <a:off x="0"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7" name="Rectangle 269">
              <a:extLst>
                <a:ext uri="{FF2B5EF4-FFF2-40B4-BE49-F238E27FC236}">
                  <a16:creationId xmlns:a16="http://schemas.microsoft.com/office/drawing/2014/main" id="{E0223BCF-720C-42C3-9C89-29E7EC634C06}"/>
                </a:ext>
              </a:extLst>
            </p:cNvPr>
            <p:cNvSpPr>
              <a:spLocks noChangeArrowheads="1"/>
            </p:cNvSpPr>
            <p:nvPr userDrawn="1"/>
          </p:nvSpPr>
          <p:spPr bwMode="auto">
            <a:xfrm>
              <a:off x="288"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8" name="Rectangle 270">
              <a:extLst>
                <a:ext uri="{FF2B5EF4-FFF2-40B4-BE49-F238E27FC236}">
                  <a16:creationId xmlns:a16="http://schemas.microsoft.com/office/drawing/2014/main" id="{1643276C-EEC8-4FA0-A748-C0789A1583E3}"/>
                </a:ext>
              </a:extLst>
            </p:cNvPr>
            <p:cNvSpPr>
              <a:spLocks noChangeArrowheads="1"/>
            </p:cNvSpPr>
            <p:nvPr userDrawn="1"/>
          </p:nvSpPr>
          <p:spPr bwMode="auto">
            <a:xfrm>
              <a:off x="576"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09" name="Rectangle 271">
              <a:extLst>
                <a:ext uri="{FF2B5EF4-FFF2-40B4-BE49-F238E27FC236}">
                  <a16:creationId xmlns:a16="http://schemas.microsoft.com/office/drawing/2014/main" id="{BF7CBEA5-9E3F-49F8-AD4A-5947D60D010E}"/>
                </a:ext>
              </a:extLst>
            </p:cNvPr>
            <p:cNvSpPr>
              <a:spLocks noChangeArrowheads="1"/>
            </p:cNvSpPr>
            <p:nvPr userDrawn="1"/>
          </p:nvSpPr>
          <p:spPr bwMode="auto">
            <a:xfrm>
              <a:off x="864"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0" name="Rectangle 272">
              <a:extLst>
                <a:ext uri="{FF2B5EF4-FFF2-40B4-BE49-F238E27FC236}">
                  <a16:creationId xmlns:a16="http://schemas.microsoft.com/office/drawing/2014/main" id="{C3EAC0C5-B8E2-4FB7-8527-3050A3648BC1}"/>
                </a:ext>
              </a:extLst>
            </p:cNvPr>
            <p:cNvSpPr>
              <a:spLocks noChangeArrowheads="1"/>
            </p:cNvSpPr>
            <p:nvPr userDrawn="1"/>
          </p:nvSpPr>
          <p:spPr bwMode="auto">
            <a:xfrm>
              <a:off x="1152"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1" name="Rectangle 273">
              <a:extLst>
                <a:ext uri="{FF2B5EF4-FFF2-40B4-BE49-F238E27FC236}">
                  <a16:creationId xmlns:a16="http://schemas.microsoft.com/office/drawing/2014/main" id="{BE3C5664-8F1F-4278-8A5F-4E57350D7222}"/>
                </a:ext>
              </a:extLst>
            </p:cNvPr>
            <p:cNvSpPr>
              <a:spLocks noChangeArrowheads="1"/>
            </p:cNvSpPr>
            <p:nvPr userDrawn="1"/>
          </p:nvSpPr>
          <p:spPr bwMode="auto">
            <a:xfrm>
              <a:off x="1440"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2" name="Rectangle 274">
              <a:extLst>
                <a:ext uri="{FF2B5EF4-FFF2-40B4-BE49-F238E27FC236}">
                  <a16:creationId xmlns:a16="http://schemas.microsoft.com/office/drawing/2014/main" id="{C4EA95C7-2D46-464B-A768-AA09817DBE2C}"/>
                </a:ext>
              </a:extLst>
            </p:cNvPr>
            <p:cNvSpPr>
              <a:spLocks noChangeArrowheads="1"/>
            </p:cNvSpPr>
            <p:nvPr userDrawn="1"/>
          </p:nvSpPr>
          <p:spPr bwMode="auto">
            <a:xfrm>
              <a:off x="1728"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3" name="Rectangle 275">
              <a:extLst>
                <a:ext uri="{FF2B5EF4-FFF2-40B4-BE49-F238E27FC236}">
                  <a16:creationId xmlns:a16="http://schemas.microsoft.com/office/drawing/2014/main" id="{D4C8F1A6-EC62-4C6D-92ED-F3CFB29E3C8A}"/>
                </a:ext>
              </a:extLst>
            </p:cNvPr>
            <p:cNvSpPr>
              <a:spLocks noChangeArrowheads="1"/>
            </p:cNvSpPr>
            <p:nvPr userDrawn="1"/>
          </p:nvSpPr>
          <p:spPr bwMode="auto">
            <a:xfrm>
              <a:off x="2016"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4" name="Rectangle 276">
              <a:extLst>
                <a:ext uri="{FF2B5EF4-FFF2-40B4-BE49-F238E27FC236}">
                  <a16:creationId xmlns:a16="http://schemas.microsoft.com/office/drawing/2014/main" id="{2EAB56FD-8F7C-4ED3-828C-6D0EC46557C7}"/>
                </a:ext>
              </a:extLst>
            </p:cNvPr>
            <p:cNvSpPr>
              <a:spLocks noChangeArrowheads="1"/>
            </p:cNvSpPr>
            <p:nvPr userDrawn="1"/>
          </p:nvSpPr>
          <p:spPr bwMode="auto">
            <a:xfrm>
              <a:off x="2304"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5" name="Rectangle 277">
              <a:extLst>
                <a:ext uri="{FF2B5EF4-FFF2-40B4-BE49-F238E27FC236}">
                  <a16:creationId xmlns:a16="http://schemas.microsoft.com/office/drawing/2014/main" id="{DCB85E5E-53BC-4C4B-A598-BC36E4A39FD8}"/>
                </a:ext>
              </a:extLst>
            </p:cNvPr>
            <p:cNvSpPr>
              <a:spLocks noChangeArrowheads="1"/>
            </p:cNvSpPr>
            <p:nvPr userDrawn="1"/>
          </p:nvSpPr>
          <p:spPr bwMode="auto">
            <a:xfrm>
              <a:off x="2592"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6" name="Rectangle 278">
              <a:extLst>
                <a:ext uri="{FF2B5EF4-FFF2-40B4-BE49-F238E27FC236}">
                  <a16:creationId xmlns:a16="http://schemas.microsoft.com/office/drawing/2014/main" id="{E3D4D957-9DDF-4EEE-867D-D1578F3429D3}"/>
                </a:ext>
              </a:extLst>
            </p:cNvPr>
            <p:cNvSpPr>
              <a:spLocks noChangeArrowheads="1"/>
            </p:cNvSpPr>
            <p:nvPr userDrawn="1"/>
          </p:nvSpPr>
          <p:spPr bwMode="auto">
            <a:xfrm>
              <a:off x="2880"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7" name="Rectangle 279">
              <a:extLst>
                <a:ext uri="{FF2B5EF4-FFF2-40B4-BE49-F238E27FC236}">
                  <a16:creationId xmlns:a16="http://schemas.microsoft.com/office/drawing/2014/main" id="{F86CD294-FE28-44BC-8F30-DC0212E9954F}"/>
                </a:ext>
              </a:extLst>
            </p:cNvPr>
            <p:cNvSpPr>
              <a:spLocks noChangeArrowheads="1"/>
            </p:cNvSpPr>
            <p:nvPr userDrawn="1"/>
          </p:nvSpPr>
          <p:spPr bwMode="auto">
            <a:xfrm>
              <a:off x="3168"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8" name="Rectangle 280">
              <a:extLst>
                <a:ext uri="{FF2B5EF4-FFF2-40B4-BE49-F238E27FC236}">
                  <a16:creationId xmlns:a16="http://schemas.microsoft.com/office/drawing/2014/main" id="{ABAE4E62-6429-48BB-8297-24FA4BFFAEF4}"/>
                </a:ext>
              </a:extLst>
            </p:cNvPr>
            <p:cNvSpPr>
              <a:spLocks noChangeArrowheads="1"/>
            </p:cNvSpPr>
            <p:nvPr userDrawn="1"/>
          </p:nvSpPr>
          <p:spPr bwMode="auto">
            <a:xfrm>
              <a:off x="3456"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19" name="Rectangle 281">
              <a:extLst>
                <a:ext uri="{FF2B5EF4-FFF2-40B4-BE49-F238E27FC236}">
                  <a16:creationId xmlns:a16="http://schemas.microsoft.com/office/drawing/2014/main" id="{53E3ED0B-8B8E-4912-9A63-1FDBF7AFF686}"/>
                </a:ext>
              </a:extLst>
            </p:cNvPr>
            <p:cNvSpPr>
              <a:spLocks noChangeArrowheads="1"/>
            </p:cNvSpPr>
            <p:nvPr userDrawn="1"/>
          </p:nvSpPr>
          <p:spPr bwMode="auto">
            <a:xfrm>
              <a:off x="3744"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0" name="Rectangle 282">
              <a:extLst>
                <a:ext uri="{FF2B5EF4-FFF2-40B4-BE49-F238E27FC236}">
                  <a16:creationId xmlns:a16="http://schemas.microsoft.com/office/drawing/2014/main" id="{28E45880-31FB-4840-B62C-39EA3FDBA085}"/>
                </a:ext>
              </a:extLst>
            </p:cNvPr>
            <p:cNvSpPr>
              <a:spLocks noChangeArrowheads="1"/>
            </p:cNvSpPr>
            <p:nvPr userDrawn="1"/>
          </p:nvSpPr>
          <p:spPr bwMode="auto">
            <a:xfrm>
              <a:off x="4032"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1" name="Rectangle 283">
              <a:extLst>
                <a:ext uri="{FF2B5EF4-FFF2-40B4-BE49-F238E27FC236}">
                  <a16:creationId xmlns:a16="http://schemas.microsoft.com/office/drawing/2014/main" id="{5896E152-29C5-4E47-B821-E00A65A0B45C}"/>
                </a:ext>
              </a:extLst>
            </p:cNvPr>
            <p:cNvSpPr>
              <a:spLocks noChangeArrowheads="1"/>
            </p:cNvSpPr>
            <p:nvPr userDrawn="1"/>
          </p:nvSpPr>
          <p:spPr bwMode="auto">
            <a:xfrm>
              <a:off x="4320"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2" name="Rectangle 284">
              <a:extLst>
                <a:ext uri="{FF2B5EF4-FFF2-40B4-BE49-F238E27FC236}">
                  <a16:creationId xmlns:a16="http://schemas.microsoft.com/office/drawing/2014/main" id="{3D12BAF2-11AE-40D9-B8F8-0774BAF5E898}"/>
                </a:ext>
              </a:extLst>
            </p:cNvPr>
            <p:cNvSpPr>
              <a:spLocks noChangeArrowheads="1"/>
            </p:cNvSpPr>
            <p:nvPr userDrawn="1"/>
          </p:nvSpPr>
          <p:spPr bwMode="auto">
            <a:xfrm>
              <a:off x="4608"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3" name="Rectangle 285">
              <a:extLst>
                <a:ext uri="{FF2B5EF4-FFF2-40B4-BE49-F238E27FC236}">
                  <a16:creationId xmlns:a16="http://schemas.microsoft.com/office/drawing/2014/main" id="{D6E341EC-1912-4FC7-91E3-18AB892DB093}"/>
                </a:ext>
              </a:extLst>
            </p:cNvPr>
            <p:cNvSpPr>
              <a:spLocks noChangeArrowheads="1"/>
            </p:cNvSpPr>
            <p:nvPr userDrawn="1"/>
          </p:nvSpPr>
          <p:spPr bwMode="auto">
            <a:xfrm>
              <a:off x="4896"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4" name="Rectangle 286">
              <a:extLst>
                <a:ext uri="{FF2B5EF4-FFF2-40B4-BE49-F238E27FC236}">
                  <a16:creationId xmlns:a16="http://schemas.microsoft.com/office/drawing/2014/main" id="{A7A6FAF7-2E72-4C00-9E16-451E8C9FC23F}"/>
                </a:ext>
              </a:extLst>
            </p:cNvPr>
            <p:cNvSpPr>
              <a:spLocks noChangeArrowheads="1"/>
            </p:cNvSpPr>
            <p:nvPr userDrawn="1"/>
          </p:nvSpPr>
          <p:spPr bwMode="auto">
            <a:xfrm>
              <a:off x="5184"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5" name="Rectangle 287">
              <a:extLst>
                <a:ext uri="{FF2B5EF4-FFF2-40B4-BE49-F238E27FC236}">
                  <a16:creationId xmlns:a16="http://schemas.microsoft.com/office/drawing/2014/main" id="{147A9E08-B316-46CE-B90D-EAE667BB57DC}"/>
                </a:ext>
              </a:extLst>
            </p:cNvPr>
            <p:cNvSpPr>
              <a:spLocks noChangeArrowheads="1"/>
            </p:cNvSpPr>
            <p:nvPr userDrawn="1"/>
          </p:nvSpPr>
          <p:spPr bwMode="auto">
            <a:xfrm>
              <a:off x="5472" y="2880"/>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6" name="Rectangle 289">
              <a:extLst>
                <a:ext uri="{FF2B5EF4-FFF2-40B4-BE49-F238E27FC236}">
                  <a16:creationId xmlns:a16="http://schemas.microsoft.com/office/drawing/2014/main" id="{9D60D78E-2B23-4A2B-A33F-99DD5D1E0004}"/>
                </a:ext>
              </a:extLst>
            </p:cNvPr>
            <p:cNvSpPr>
              <a:spLocks noChangeArrowheads="1"/>
            </p:cNvSpPr>
            <p:nvPr userDrawn="1"/>
          </p:nvSpPr>
          <p:spPr bwMode="auto">
            <a:xfrm>
              <a:off x="0"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7" name="Rectangle 290">
              <a:extLst>
                <a:ext uri="{FF2B5EF4-FFF2-40B4-BE49-F238E27FC236}">
                  <a16:creationId xmlns:a16="http://schemas.microsoft.com/office/drawing/2014/main" id="{4583C787-6431-426D-A73D-C30FF8D7248D}"/>
                </a:ext>
              </a:extLst>
            </p:cNvPr>
            <p:cNvSpPr>
              <a:spLocks noChangeArrowheads="1"/>
            </p:cNvSpPr>
            <p:nvPr userDrawn="1"/>
          </p:nvSpPr>
          <p:spPr bwMode="auto">
            <a:xfrm>
              <a:off x="288"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8" name="Rectangle 291">
              <a:extLst>
                <a:ext uri="{FF2B5EF4-FFF2-40B4-BE49-F238E27FC236}">
                  <a16:creationId xmlns:a16="http://schemas.microsoft.com/office/drawing/2014/main" id="{651CAAD0-9D45-49DA-BA9E-B9A11A2B078B}"/>
                </a:ext>
              </a:extLst>
            </p:cNvPr>
            <p:cNvSpPr>
              <a:spLocks noChangeArrowheads="1"/>
            </p:cNvSpPr>
            <p:nvPr userDrawn="1"/>
          </p:nvSpPr>
          <p:spPr bwMode="auto">
            <a:xfrm>
              <a:off x="576"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29" name="Rectangle 292">
              <a:extLst>
                <a:ext uri="{FF2B5EF4-FFF2-40B4-BE49-F238E27FC236}">
                  <a16:creationId xmlns:a16="http://schemas.microsoft.com/office/drawing/2014/main" id="{872CB008-9539-4EE9-A52E-6D51060C8517}"/>
                </a:ext>
              </a:extLst>
            </p:cNvPr>
            <p:cNvSpPr>
              <a:spLocks noChangeArrowheads="1"/>
            </p:cNvSpPr>
            <p:nvPr userDrawn="1"/>
          </p:nvSpPr>
          <p:spPr bwMode="auto">
            <a:xfrm>
              <a:off x="864"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0" name="Rectangle 293">
              <a:extLst>
                <a:ext uri="{FF2B5EF4-FFF2-40B4-BE49-F238E27FC236}">
                  <a16:creationId xmlns:a16="http://schemas.microsoft.com/office/drawing/2014/main" id="{B3ABD300-15DB-4995-9276-448F280C2C80}"/>
                </a:ext>
              </a:extLst>
            </p:cNvPr>
            <p:cNvSpPr>
              <a:spLocks noChangeArrowheads="1"/>
            </p:cNvSpPr>
            <p:nvPr userDrawn="1"/>
          </p:nvSpPr>
          <p:spPr bwMode="auto">
            <a:xfrm>
              <a:off x="1152"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1" name="Rectangle 294">
              <a:extLst>
                <a:ext uri="{FF2B5EF4-FFF2-40B4-BE49-F238E27FC236}">
                  <a16:creationId xmlns:a16="http://schemas.microsoft.com/office/drawing/2014/main" id="{59627E9C-640C-41F4-9894-8A2A980AD072}"/>
                </a:ext>
              </a:extLst>
            </p:cNvPr>
            <p:cNvSpPr>
              <a:spLocks noChangeArrowheads="1"/>
            </p:cNvSpPr>
            <p:nvPr userDrawn="1"/>
          </p:nvSpPr>
          <p:spPr bwMode="auto">
            <a:xfrm>
              <a:off x="1440"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2" name="Rectangle 295">
              <a:extLst>
                <a:ext uri="{FF2B5EF4-FFF2-40B4-BE49-F238E27FC236}">
                  <a16:creationId xmlns:a16="http://schemas.microsoft.com/office/drawing/2014/main" id="{E1B3A1DA-6D66-4C1F-B33D-07B922D92F0C}"/>
                </a:ext>
              </a:extLst>
            </p:cNvPr>
            <p:cNvSpPr>
              <a:spLocks noChangeArrowheads="1"/>
            </p:cNvSpPr>
            <p:nvPr userDrawn="1"/>
          </p:nvSpPr>
          <p:spPr bwMode="auto">
            <a:xfrm>
              <a:off x="1728"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3" name="Rectangle 296">
              <a:extLst>
                <a:ext uri="{FF2B5EF4-FFF2-40B4-BE49-F238E27FC236}">
                  <a16:creationId xmlns:a16="http://schemas.microsoft.com/office/drawing/2014/main" id="{3A70B899-B0A1-4217-9AB0-073E50685093}"/>
                </a:ext>
              </a:extLst>
            </p:cNvPr>
            <p:cNvSpPr>
              <a:spLocks noChangeArrowheads="1"/>
            </p:cNvSpPr>
            <p:nvPr userDrawn="1"/>
          </p:nvSpPr>
          <p:spPr bwMode="auto">
            <a:xfrm>
              <a:off x="2016"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4" name="Rectangle 297">
              <a:extLst>
                <a:ext uri="{FF2B5EF4-FFF2-40B4-BE49-F238E27FC236}">
                  <a16:creationId xmlns:a16="http://schemas.microsoft.com/office/drawing/2014/main" id="{03F72C52-EE31-4509-A92C-669AC81164E7}"/>
                </a:ext>
              </a:extLst>
            </p:cNvPr>
            <p:cNvSpPr>
              <a:spLocks noChangeArrowheads="1"/>
            </p:cNvSpPr>
            <p:nvPr userDrawn="1"/>
          </p:nvSpPr>
          <p:spPr bwMode="auto">
            <a:xfrm>
              <a:off x="2304"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5" name="Rectangle 298">
              <a:extLst>
                <a:ext uri="{FF2B5EF4-FFF2-40B4-BE49-F238E27FC236}">
                  <a16:creationId xmlns:a16="http://schemas.microsoft.com/office/drawing/2014/main" id="{032AC08C-87A8-4436-8C20-587289F67BD7}"/>
                </a:ext>
              </a:extLst>
            </p:cNvPr>
            <p:cNvSpPr>
              <a:spLocks noChangeArrowheads="1"/>
            </p:cNvSpPr>
            <p:nvPr userDrawn="1"/>
          </p:nvSpPr>
          <p:spPr bwMode="auto">
            <a:xfrm>
              <a:off x="2592"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6" name="Rectangle 299">
              <a:extLst>
                <a:ext uri="{FF2B5EF4-FFF2-40B4-BE49-F238E27FC236}">
                  <a16:creationId xmlns:a16="http://schemas.microsoft.com/office/drawing/2014/main" id="{D971369A-71E4-4546-9BF4-B228F84D7AD1}"/>
                </a:ext>
              </a:extLst>
            </p:cNvPr>
            <p:cNvSpPr>
              <a:spLocks noChangeArrowheads="1"/>
            </p:cNvSpPr>
            <p:nvPr userDrawn="1"/>
          </p:nvSpPr>
          <p:spPr bwMode="auto">
            <a:xfrm>
              <a:off x="2880"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7" name="Rectangle 300">
              <a:extLst>
                <a:ext uri="{FF2B5EF4-FFF2-40B4-BE49-F238E27FC236}">
                  <a16:creationId xmlns:a16="http://schemas.microsoft.com/office/drawing/2014/main" id="{07809736-1B6B-42EE-A885-3EFDC8344562}"/>
                </a:ext>
              </a:extLst>
            </p:cNvPr>
            <p:cNvSpPr>
              <a:spLocks noChangeArrowheads="1"/>
            </p:cNvSpPr>
            <p:nvPr userDrawn="1"/>
          </p:nvSpPr>
          <p:spPr bwMode="auto">
            <a:xfrm>
              <a:off x="3168"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8" name="Rectangle 301">
              <a:extLst>
                <a:ext uri="{FF2B5EF4-FFF2-40B4-BE49-F238E27FC236}">
                  <a16:creationId xmlns:a16="http://schemas.microsoft.com/office/drawing/2014/main" id="{A7BED995-F565-440F-82EA-41F8E59CB4EF}"/>
                </a:ext>
              </a:extLst>
            </p:cNvPr>
            <p:cNvSpPr>
              <a:spLocks noChangeArrowheads="1"/>
            </p:cNvSpPr>
            <p:nvPr userDrawn="1"/>
          </p:nvSpPr>
          <p:spPr bwMode="auto">
            <a:xfrm>
              <a:off x="3456"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39" name="Rectangle 302">
              <a:extLst>
                <a:ext uri="{FF2B5EF4-FFF2-40B4-BE49-F238E27FC236}">
                  <a16:creationId xmlns:a16="http://schemas.microsoft.com/office/drawing/2014/main" id="{559E3F3D-CB43-49D2-AF13-6BF2F3B53C24}"/>
                </a:ext>
              </a:extLst>
            </p:cNvPr>
            <p:cNvSpPr>
              <a:spLocks noChangeArrowheads="1"/>
            </p:cNvSpPr>
            <p:nvPr userDrawn="1"/>
          </p:nvSpPr>
          <p:spPr bwMode="auto">
            <a:xfrm>
              <a:off x="3744"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0" name="Rectangle 303">
              <a:extLst>
                <a:ext uri="{FF2B5EF4-FFF2-40B4-BE49-F238E27FC236}">
                  <a16:creationId xmlns:a16="http://schemas.microsoft.com/office/drawing/2014/main" id="{A681BD58-A687-4A90-9C11-B36950B5BADF}"/>
                </a:ext>
              </a:extLst>
            </p:cNvPr>
            <p:cNvSpPr>
              <a:spLocks noChangeArrowheads="1"/>
            </p:cNvSpPr>
            <p:nvPr userDrawn="1"/>
          </p:nvSpPr>
          <p:spPr bwMode="auto">
            <a:xfrm>
              <a:off x="4032"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1" name="Rectangle 304">
              <a:extLst>
                <a:ext uri="{FF2B5EF4-FFF2-40B4-BE49-F238E27FC236}">
                  <a16:creationId xmlns:a16="http://schemas.microsoft.com/office/drawing/2014/main" id="{5BF6A19A-0751-4558-9288-2FFD7DA34541}"/>
                </a:ext>
              </a:extLst>
            </p:cNvPr>
            <p:cNvSpPr>
              <a:spLocks noChangeArrowheads="1"/>
            </p:cNvSpPr>
            <p:nvPr userDrawn="1"/>
          </p:nvSpPr>
          <p:spPr bwMode="auto">
            <a:xfrm>
              <a:off x="4320"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2" name="Rectangle 305">
              <a:extLst>
                <a:ext uri="{FF2B5EF4-FFF2-40B4-BE49-F238E27FC236}">
                  <a16:creationId xmlns:a16="http://schemas.microsoft.com/office/drawing/2014/main" id="{40FF26FC-E86B-4264-B425-7B934D2FFCEF}"/>
                </a:ext>
              </a:extLst>
            </p:cNvPr>
            <p:cNvSpPr>
              <a:spLocks noChangeArrowheads="1"/>
            </p:cNvSpPr>
            <p:nvPr userDrawn="1"/>
          </p:nvSpPr>
          <p:spPr bwMode="auto">
            <a:xfrm>
              <a:off x="4608"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3" name="Rectangle 306">
              <a:extLst>
                <a:ext uri="{FF2B5EF4-FFF2-40B4-BE49-F238E27FC236}">
                  <a16:creationId xmlns:a16="http://schemas.microsoft.com/office/drawing/2014/main" id="{58082335-EF84-4033-8FFA-1D7B5FF24C1D}"/>
                </a:ext>
              </a:extLst>
            </p:cNvPr>
            <p:cNvSpPr>
              <a:spLocks noChangeArrowheads="1"/>
            </p:cNvSpPr>
            <p:nvPr userDrawn="1"/>
          </p:nvSpPr>
          <p:spPr bwMode="auto">
            <a:xfrm>
              <a:off x="4896"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4" name="Rectangle 307">
              <a:extLst>
                <a:ext uri="{FF2B5EF4-FFF2-40B4-BE49-F238E27FC236}">
                  <a16:creationId xmlns:a16="http://schemas.microsoft.com/office/drawing/2014/main" id="{33813C7D-AE04-420F-A110-C01949794646}"/>
                </a:ext>
              </a:extLst>
            </p:cNvPr>
            <p:cNvSpPr>
              <a:spLocks noChangeArrowheads="1"/>
            </p:cNvSpPr>
            <p:nvPr userDrawn="1"/>
          </p:nvSpPr>
          <p:spPr bwMode="auto">
            <a:xfrm>
              <a:off x="5184"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5" name="Rectangle 308">
              <a:extLst>
                <a:ext uri="{FF2B5EF4-FFF2-40B4-BE49-F238E27FC236}">
                  <a16:creationId xmlns:a16="http://schemas.microsoft.com/office/drawing/2014/main" id="{FC1E4629-0F31-4690-8EE3-0B6521A0103E}"/>
                </a:ext>
              </a:extLst>
            </p:cNvPr>
            <p:cNvSpPr>
              <a:spLocks noChangeArrowheads="1"/>
            </p:cNvSpPr>
            <p:nvPr userDrawn="1"/>
          </p:nvSpPr>
          <p:spPr bwMode="auto">
            <a:xfrm>
              <a:off x="5472" y="3168"/>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6" name="Rectangle 310">
              <a:extLst>
                <a:ext uri="{FF2B5EF4-FFF2-40B4-BE49-F238E27FC236}">
                  <a16:creationId xmlns:a16="http://schemas.microsoft.com/office/drawing/2014/main" id="{4860410E-817B-4E63-AFFD-23D9F7E64A21}"/>
                </a:ext>
              </a:extLst>
            </p:cNvPr>
            <p:cNvSpPr>
              <a:spLocks noChangeArrowheads="1"/>
            </p:cNvSpPr>
            <p:nvPr userDrawn="1"/>
          </p:nvSpPr>
          <p:spPr bwMode="auto">
            <a:xfrm>
              <a:off x="0"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7" name="Rectangle 311">
              <a:extLst>
                <a:ext uri="{FF2B5EF4-FFF2-40B4-BE49-F238E27FC236}">
                  <a16:creationId xmlns:a16="http://schemas.microsoft.com/office/drawing/2014/main" id="{2E74AEEC-555A-4D47-A595-A7CEACC784B2}"/>
                </a:ext>
              </a:extLst>
            </p:cNvPr>
            <p:cNvSpPr>
              <a:spLocks noChangeArrowheads="1"/>
            </p:cNvSpPr>
            <p:nvPr userDrawn="1"/>
          </p:nvSpPr>
          <p:spPr bwMode="auto">
            <a:xfrm>
              <a:off x="288"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8" name="Rectangle 312">
              <a:extLst>
                <a:ext uri="{FF2B5EF4-FFF2-40B4-BE49-F238E27FC236}">
                  <a16:creationId xmlns:a16="http://schemas.microsoft.com/office/drawing/2014/main" id="{96AD248C-A45D-44C7-9B88-601644F6019E}"/>
                </a:ext>
              </a:extLst>
            </p:cNvPr>
            <p:cNvSpPr>
              <a:spLocks noChangeArrowheads="1"/>
            </p:cNvSpPr>
            <p:nvPr userDrawn="1"/>
          </p:nvSpPr>
          <p:spPr bwMode="auto">
            <a:xfrm>
              <a:off x="576"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49" name="Rectangle 313">
              <a:extLst>
                <a:ext uri="{FF2B5EF4-FFF2-40B4-BE49-F238E27FC236}">
                  <a16:creationId xmlns:a16="http://schemas.microsoft.com/office/drawing/2014/main" id="{DB1D1312-6166-476B-BF88-23ABE7F35566}"/>
                </a:ext>
              </a:extLst>
            </p:cNvPr>
            <p:cNvSpPr>
              <a:spLocks noChangeArrowheads="1"/>
            </p:cNvSpPr>
            <p:nvPr userDrawn="1"/>
          </p:nvSpPr>
          <p:spPr bwMode="auto">
            <a:xfrm>
              <a:off x="864"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0" name="Rectangle 314">
              <a:extLst>
                <a:ext uri="{FF2B5EF4-FFF2-40B4-BE49-F238E27FC236}">
                  <a16:creationId xmlns:a16="http://schemas.microsoft.com/office/drawing/2014/main" id="{142DE1E5-8C6C-4B6F-A6EC-DC20D5AB754D}"/>
                </a:ext>
              </a:extLst>
            </p:cNvPr>
            <p:cNvSpPr>
              <a:spLocks noChangeArrowheads="1"/>
            </p:cNvSpPr>
            <p:nvPr userDrawn="1"/>
          </p:nvSpPr>
          <p:spPr bwMode="auto">
            <a:xfrm>
              <a:off x="1152"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1" name="Rectangle 315">
              <a:extLst>
                <a:ext uri="{FF2B5EF4-FFF2-40B4-BE49-F238E27FC236}">
                  <a16:creationId xmlns:a16="http://schemas.microsoft.com/office/drawing/2014/main" id="{D905F7B1-72C3-4B8C-BA4D-505722B9D585}"/>
                </a:ext>
              </a:extLst>
            </p:cNvPr>
            <p:cNvSpPr>
              <a:spLocks noChangeArrowheads="1"/>
            </p:cNvSpPr>
            <p:nvPr userDrawn="1"/>
          </p:nvSpPr>
          <p:spPr bwMode="auto">
            <a:xfrm>
              <a:off x="1440"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2" name="Rectangle 316">
              <a:extLst>
                <a:ext uri="{FF2B5EF4-FFF2-40B4-BE49-F238E27FC236}">
                  <a16:creationId xmlns:a16="http://schemas.microsoft.com/office/drawing/2014/main" id="{32CEA3A5-D3ED-4B6D-9EC3-AD8D19F9A9B9}"/>
                </a:ext>
              </a:extLst>
            </p:cNvPr>
            <p:cNvSpPr>
              <a:spLocks noChangeArrowheads="1"/>
            </p:cNvSpPr>
            <p:nvPr userDrawn="1"/>
          </p:nvSpPr>
          <p:spPr bwMode="auto">
            <a:xfrm>
              <a:off x="1728"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3" name="Rectangle 317">
              <a:extLst>
                <a:ext uri="{FF2B5EF4-FFF2-40B4-BE49-F238E27FC236}">
                  <a16:creationId xmlns:a16="http://schemas.microsoft.com/office/drawing/2014/main" id="{B7E9D839-21AD-4BF4-BA8A-0CD765CBC554}"/>
                </a:ext>
              </a:extLst>
            </p:cNvPr>
            <p:cNvSpPr>
              <a:spLocks noChangeArrowheads="1"/>
            </p:cNvSpPr>
            <p:nvPr userDrawn="1"/>
          </p:nvSpPr>
          <p:spPr bwMode="auto">
            <a:xfrm>
              <a:off x="2016"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4" name="Rectangle 318">
              <a:extLst>
                <a:ext uri="{FF2B5EF4-FFF2-40B4-BE49-F238E27FC236}">
                  <a16:creationId xmlns:a16="http://schemas.microsoft.com/office/drawing/2014/main" id="{9D717490-E511-4659-940F-B3CDC2835270}"/>
                </a:ext>
              </a:extLst>
            </p:cNvPr>
            <p:cNvSpPr>
              <a:spLocks noChangeArrowheads="1"/>
            </p:cNvSpPr>
            <p:nvPr userDrawn="1"/>
          </p:nvSpPr>
          <p:spPr bwMode="auto">
            <a:xfrm>
              <a:off x="2304"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5" name="Rectangle 319">
              <a:extLst>
                <a:ext uri="{FF2B5EF4-FFF2-40B4-BE49-F238E27FC236}">
                  <a16:creationId xmlns:a16="http://schemas.microsoft.com/office/drawing/2014/main" id="{CB8FB616-701A-433D-93F4-CED13AC80C46}"/>
                </a:ext>
              </a:extLst>
            </p:cNvPr>
            <p:cNvSpPr>
              <a:spLocks noChangeArrowheads="1"/>
            </p:cNvSpPr>
            <p:nvPr userDrawn="1"/>
          </p:nvSpPr>
          <p:spPr bwMode="auto">
            <a:xfrm>
              <a:off x="2592"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6" name="Rectangle 320">
              <a:extLst>
                <a:ext uri="{FF2B5EF4-FFF2-40B4-BE49-F238E27FC236}">
                  <a16:creationId xmlns:a16="http://schemas.microsoft.com/office/drawing/2014/main" id="{0773EB58-9646-4122-818A-624E695FAB84}"/>
                </a:ext>
              </a:extLst>
            </p:cNvPr>
            <p:cNvSpPr>
              <a:spLocks noChangeArrowheads="1"/>
            </p:cNvSpPr>
            <p:nvPr userDrawn="1"/>
          </p:nvSpPr>
          <p:spPr bwMode="auto">
            <a:xfrm>
              <a:off x="2880"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7" name="Rectangle 321">
              <a:extLst>
                <a:ext uri="{FF2B5EF4-FFF2-40B4-BE49-F238E27FC236}">
                  <a16:creationId xmlns:a16="http://schemas.microsoft.com/office/drawing/2014/main" id="{012DD43C-76D5-40A5-88D2-2C16A3A06607}"/>
                </a:ext>
              </a:extLst>
            </p:cNvPr>
            <p:cNvSpPr>
              <a:spLocks noChangeArrowheads="1"/>
            </p:cNvSpPr>
            <p:nvPr userDrawn="1"/>
          </p:nvSpPr>
          <p:spPr bwMode="auto">
            <a:xfrm>
              <a:off x="3168"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8" name="Rectangle 322">
              <a:extLst>
                <a:ext uri="{FF2B5EF4-FFF2-40B4-BE49-F238E27FC236}">
                  <a16:creationId xmlns:a16="http://schemas.microsoft.com/office/drawing/2014/main" id="{427ED0E8-DA84-4FEF-893A-70BBA3454B79}"/>
                </a:ext>
              </a:extLst>
            </p:cNvPr>
            <p:cNvSpPr>
              <a:spLocks noChangeArrowheads="1"/>
            </p:cNvSpPr>
            <p:nvPr userDrawn="1"/>
          </p:nvSpPr>
          <p:spPr bwMode="auto">
            <a:xfrm>
              <a:off x="3456"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59" name="Rectangle 323">
              <a:extLst>
                <a:ext uri="{FF2B5EF4-FFF2-40B4-BE49-F238E27FC236}">
                  <a16:creationId xmlns:a16="http://schemas.microsoft.com/office/drawing/2014/main" id="{99FFE425-7E3C-4F19-B077-9B1D451A4867}"/>
                </a:ext>
              </a:extLst>
            </p:cNvPr>
            <p:cNvSpPr>
              <a:spLocks noChangeArrowheads="1"/>
            </p:cNvSpPr>
            <p:nvPr userDrawn="1"/>
          </p:nvSpPr>
          <p:spPr bwMode="auto">
            <a:xfrm>
              <a:off x="3744"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0" name="Rectangle 324">
              <a:extLst>
                <a:ext uri="{FF2B5EF4-FFF2-40B4-BE49-F238E27FC236}">
                  <a16:creationId xmlns:a16="http://schemas.microsoft.com/office/drawing/2014/main" id="{67D476A9-5205-4097-90BE-39EBB6B00E5E}"/>
                </a:ext>
              </a:extLst>
            </p:cNvPr>
            <p:cNvSpPr>
              <a:spLocks noChangeArrowheads="1"/>
            </p:cNvSpPr>
            <p:nvPr userDrawn="1"/>
          </p:nvSpPr>
          <p:spPr bwMode="auto">
            <a:xfrm>
              <a:off x="4032"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1" name="Rectangle 325">
              <a:extLst>
                <a:ext uri="{FF2B5EF4-FFF2-40B4-BE49-F238E27FC236}">
                  <a16:creationId xmlns:a16="http://schemas.microsoft.com/office/drawing/2014/main" id="{C6F3A2C8-5756-4CDD-830C-4B8AB8FFFB3E}"/>
                </a:ext>
              </a:extLst>
            </p:cNvPr>
            <p:cNvSpPr>
              <a:spLocks noChangeArrowheads="1"/>
            </p:cNvSpPr>
            <p:nvPr userDrawn="1"/>
          </p:nvSpPr>
          <p:spPr bwMode="auto">
            <a:xfrm>
              <a:off x="4320"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2" name="Rectangle 326">
              <a:extLst>
                <a:ext uri="{FF2B5EF4-FFF2-40B4-BE49-F238E27FC236}">
                  <a16:creationId xmlns:a16="http://schemas.microsoft.com/office/drawing/2014/main" id="{94343D9A-0C66-4A7D-8FC2-C1C706267429}"/>
                </a:ext>
              </a:extLst>
            </p:cNvPr>
            <p:cNvSpPr>
              <a:spLocks noChangeArrowheads="1"/>
            </p:cNvSpPr>
            <p:nvPr userDrawn="1"/>
          </p:nvSpPr>
          <p:spPr bwMode="auto">
            <a:xfrm>
              <a:off x="4608"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3" name="Rectangle 327">
              <a:extLst>
                <a:ext uri="{FF2B5EF4-FFF2-40B4-BE49-F238E27FC236}">
                  <a16:creationId xmlns:a16="http://schemas.microsoft.com/office/drawing/2014/main" id="{037911ED-8584-48D4-9190-A0500F95DC7A}"/>
                </a:ext>
              </a:extLst>
            </p:cNvPr>
            <p:cNvSpPr>
              <a:spLocks noChangeArrowheads="1"/>
            </p:cNvSpPr>
            <p:nvPr userDrawn="1"/>
          </p:nvSpPr>
          <p:spPr bwMode="auto">
            <a:xfrm>
              <a:off x="4896"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4" name="Rectangle 328">
              <a:extLst>
                <a:ext uri="{FF2B5EF4-FFF2-40B4-BE49-F238E27FC236}">
                  <a16:creationId xmlns:a16="http://schemas.microsoft.com/office/drawing/2014/main" id="{15F95228-B995-4A96-AD9A-1DBD183F888F}"/>
                </a:ext>
              </a:extLst>
            </p:cNvPr>
            <p:cNvSpPr>
              <a:spLocks noChangeArrowheads="1"/>
            </p:cNvSpPr>
            <p:nvPr userDrawn="1"/>
          </p:nvSpPr>
          <p:spPr bwMode="auto">
            <a:xfrm>
              <a:off x="5184"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5" name="Rectangle 329">
              <a:extLst>
                <a:ext uri="{FF2B5EF4-FFF2-40B4-BE49-F238E27FC236}">
                  <a16:creationId xmlns:a16="http://schemas.microsoft.com/office/drawing/2014/main" id="{D5025191-0EA7-4719-8236-3C39A592F7AE}"/>
                </a:ext>
              </a:extLst>
            </p:cNvPr>
            <p:cNvSpPr>
              <a:spLocks noChangeArrowheads="1"/>
            </p:cNvSpPr>
            <p:nvPr userDrawn="1"/>
          </p:nvSpPr>
          <p:spPr bwMode="auto">
            <a:xfrm>
              <a:off x="5472" y="3456"/>
              <a:ext cx="288" cy="288"/>
            </a:xfrm>
            <a:prstGeom prst="rect">
              <a:avLst/>
            </a:prstGeom>
            <a:noFill/>
            <a:ln w="3175">
              <a:solidFill>
                <a:srgbClr val="29539B"/>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266" name="Rectangle 371">
              <a:extLst>
                <a:ext uri="{FF2B5EF4-FFF2-40B4-BE49-F238E27FC236}">
                  <a16:creationId xmlns:a16="http://schemas.microsoft.com/office/drawing/2014/main" id="{FADBA513-89CC-4077-8AB8-A0F46F4B578B}"/>
                </a:ext>
              </a:extLst>
            </p:cNvPr>
            <p:cNvSpPr>
              <a:spLocks noChangeArrowheads="1"/>
            </p:cNvSpPr>
            <p:nvPr userDrawn="1"/>
          </p:nvSpPr>
          <p:spPr bwMode="auto">
            <a:xfrm>
              <a:off x="0" y="0"/>
              <a:ext cx="1728" cy="2016"/>
            </a:xfrm>
            <a:prstGeom prst="rect">
              <a:avLst/>
            </a:prstGeom>
            <a:solidFill>
              <a:srgbClr val="29539B"/>
            </a:soli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grpSp>
      <p:sp>
        <p:nvSpPr>
          <p:cNvPr id="267" name="Oval 385">
            <a:extLst>
              <a:ext uri="{FF2B5EF4-FFF2-40B4-BE49-F238E27FC236}">
                <a16:creationId xmlns:a16="http://schemas.microsoft.com/office/drawing/2014/main" id="{2F1926CD-4B8F-42AC-80BD-224D7B691FF7}"/>
              </a:ext>
            </a:extLst>
          </p:cNvPr>
          <p:cNvSpPr>
            <a:spLocks noChangeArrowheads="1"/>
          </p:cNvSpPr>
          <p:nvPr/>
        </p:nvSpPr>
        <p:spPr bwMode="auto">
          <a:xfrm>
            <a:off x="-533400" y="0"/>
            <a:ext cx="6096000" cy="6096000"/>
          </a:xfrm>
          <a:prstGeom prst="ellipse">
            <a:avLst/>
          </a:prstGeom>
          <a:solidFill>
            <a:schemeClr val="bg1"/>
          </a:solidFill>
          <a:ln w="9525">
            <a:solidFill>
              <a:srgbClr val="29539B"/>
            </a:solidFill>
            <a:round/>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lgn="ctr">
              <a:defRPr/>
            </a:pPr>
            <a:endParaRPr lang="en-US" altLang="en-US"/>
          </a:p>
        </p:txBody>
      </p:sp>
      <p:sp>
        <p:nvSpPr>
          <p:cNvPr id="30082" name="Rectangle 386"/>
          <p:cNvSpPr>
            <a:spLocks noGrp="1" noChangeArrowheads="1"/>
          </p:cNvSpPr>
          <p:nvPr>
            <p:ph type="ctrTitle"/>
          </p:nvPr>
        </p:nvSpPr>
        <p:spPr>
          <a:xfrm>
            <a:off x="381001" y="1981200"/>
            <a:ext cx="4876800" cy="1143000"/>
          </a:xfrm>
        </p:spPr>
        <p:txBody>
          <a:bodyPr anchor="t"/>
          <a:lstStyle>
            <a:lvl1pPr>
              <a:lnSpc>
                <a:spcPct val="90000"/>
              </a:lnSpc>
              <a:defRPr sz="3800">
                <a:solidFill>
                  <a:schemeClr val="accent2"/>
                </a:solidFill>
              </a:defRPr>
            </a:lvl1pPr>
          </a:lstStyle>
          <a:p>
            <a:r>
              <a:rPr lang="en-US"/>
              <a:t>Click to edit Master title style</a:t>
            </a:r>
          </a:p>
        </p:txBody>
      </p:sp>
      <p:sp>
        <p:nvSpPr>
          <p:cNvPr id="30083" name="Rectangle 387"/>
          <p:cNvSpPr>
            <a:spLocks noGrp="1" noChangeArrowheads="1"/>
          </p:cNvSpPr>
          <p:nvPr>
            <p:ph type="subTitle" idx="1"/>
          </p:nvPr>
        </p:nvSpPr>
        <p:spPr>
          <a:xfrm>
            <a:off x="381000" y="3200400"/>
            <a:ext cx="5257800" cy="1066800"/>
          </a:xfrm>
        </p:spPr>
        <p:txBody>
          <a:bodyPr/>
          <a:lstStyle>
            <a:lvl1pPr marL="0" indent="0">
              <a:buFont typeface="Wingdings" pitchFamily="2" charset="2"/>
              <a:buNone/>
              <a:defRPr sz="1400" b="1">
                <a:solidFill>
                  <a:schemeClr val="folHlink"/>
                </a:solidFill>
              </a:defRPr>
            </a:lvl1pPr>
          </a:lstStyle>
          <a:p>
            <a:r>
              <a:rPr lang="en-US"/>
              <a:t>Click to edit Master subtitle style</a:t>
            </a:r>
          </a:p>
        </p:txBody>
      </p:sp>
    </p:spTree>
    <p:extLst>
      <p:ext uri="{BB962C8B-B14F-4D97-AF65-F5344CB8AC3E}">
        <p14:creationId xmlns:p14="http://schemas.microsoft.com/office/powerpoint/2010/main" val="2286586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7809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559" y="152909"/>
            <a:ext cx="2076451" cy="57451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5" y="152909"/>
            <a:ext cx="6076951" cy="57451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3163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81001" y="152400"/>
            <a:ext cx="6477000" cy="685800"/>
          </a:xfrm>
        </p:spPr>
        <p:txBody>
          <a:bodyPr/>
          <a:lstStyle/>
          <a:p>
            <a:r>
              <a:rPr lang="en-US"/>
              <a:t>Click to edit Master title style</a:t>
            </a:r>
          </a:p>
        </p:txBody>
      </p:sp>
      <p:sp>
        <p:nvSpPr>
          <p:cNvPr id="3" name="Content Placeholder 2"/>
          <p:cNvSpPr>
            <a:spLocks noGrp="1"/>
          </p:cNvSpPr>
          <p:nvPr>
            <p:ph sz="quarter" idx="1"/>
          </p:nvPr>
        </p:nvSpPr>
        <p:spPr>
          <a:xfrm>
            <a:off x="457405" y="1371601"/>
            <a:ext cx="4038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371601"/>
            <a:ext cx="40386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57405" y="3710497"/>
            <a:ext cx="4038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710497"/>
            <a:ext cx="40386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2553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81001" y="152400"/>
            <a:ext cx="6477000" cy="685800"/>
          </a:xfrm>
        </p:spPr>
        <p:txBody>
          <a:bodyPr/>
          <a:lstStyle/>
          <a:p>
            <a:r>
              <a:rPr lang="en-US"/>
              <a:t>Click to edit Master title style</a:t>
            </a:r>
          </a:p>
        </p:txBody>
      </p:sp>
      <p:sp>
        <p:nvSpPr>
          <p:cNvPr id="3" name="Table Placeholder 2"/>
          <p:cNvSpPr>
            <a:spLocks noGrp="1"/>
          </p:cNvSpPr>
          <p:nvPr>
            <p:ph type="tbl" idx="1"/>
          </p:nvPr>
        </p:nvSpPr>
        <p:spPr>
          <a:xfrm>
            <a:off x="457405" y="1371607"/>
            <a:ext cx="8229600" cy="4525963"/>
          </a:xfrm>
        </p:spPr>
        <p:txBody>
          <a:bodyPr/>
          <a:lstStyle/>
          <a:p>
            <a:pPr lvl="0"/>
            <a:endParaRPr lang="en-US" noProof="0"/>
          </a:p>
        </p:txBody>
      </p:sp>
    </p:spTree>
    <p:extLst>
      <p:ext uri="{BB962C8B-B14F-4D97-AF65-F5344CB8AC3E}">
        <p14:creationId xmlns:p14="http://schemas.microsoft.com/office/powerpoint/2010/main" val="23516899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67D84916-3666-B548-ADFA-6C25B332E85D}"/>
              </a:ext>
            </a:extLst>
          </p:cNvPr>
          <p:cNvSpPr>
            <a:spLocks noGrp="1"/>
          </p:cNvSpPr>
          <p:nvPr>
            <p:ph type="pic" sz="quarter" idx="10"/>
          </p:nvPr>
        </p:nvSpPr>
        <p:spPr>
          <a:xfrm>
            <a:off x="-3317" y="0"/>
            <a:ext cx="5370910" cy="6858000"/>
          </a:xfrm>
          <a:prstGeom prst="rect">
            <a:avLst/>
          </a:prstGeom>
          <a:solidFill>
            <a:schemeClr val="accent6"/>
          </a:solidFill>
        </p:spPr>
        <p:txBody>
          <a:bodyPr anchor="ctr" anchorCtr="1"/>
          <a:lstStyle>
            <a:lvl1pPr marL="0" indent="0">
              <a:buNone/>
              <a:defRPr b="0" i="0">
                <a:solidFill>
                  <a:schemeClr val="bg1"/>
                </a:solidFill>
                <a:latin typeface="Apercu Pro Medium" panose="020B0503050601040103" pitchFamily="34" charset="0"/>
              </a:defRPr>
            </a:lvl1pPr>
          </a:lstStyle>
          <a:p>
            <a:pPr lvl="0"/>
            <a:r>
              <a:rPr lang="en-US" noProof="0"/>
              <a:t>Click icon to add picture</a:t>
            </a:r>
            <a:endParaRPr lang="en-US" noProof="0" dirty="0"/>
          </a:p>
        </p:txBody>
      </p:sp>
      <p:sp>
        <p:nvSpPr>
          <p:cNvPr id="9" name="Text Placeholder 8">
            <a:extLst>
              <a:ext uri="{FF2B5EF4-FFF2-40B4-BE49-F238E27FC236}">
                <a16:creationId xmlns:a16="http://schemas.microsoft.com/office/drawing/2014/main" id="{F4D91641-E1EB-2A41-BD57-7A4CED6AF10D}"/>
              </a:ext>
            </a:extLst>
          </p:cNvPr>
          <p:cNvSpPr>
            <a:spLocks noGrp="1"/>
          </p:cNvSpPr>
          <p:nvPr>
            <p:ph type="body" sz="quarter" idx="11"/>
          </p:nvPr>
        </p:nvSpPr>
        <p:spPr>
          <a:xfrm>
            <a:off x="76486" y="4343684"/>
            <a:ext cx="4248150" cy="646332"/>
          </a:xfrm>
          <a:prstGeom prst="rect">
            <a:avLst/>
          </a:prstGeom>
        </p:spPr>
        <p:txBody>
          <a:bodyPr/>
          <a:lstStyle>
            <a:lvl1pPr marL="0" indent="0">
              <a:buNone/>
              <a:defRPr sz="2700" b="0" i="0">
                <a:solidFill>
                  <a:schemeClr val="bg1"/>
                </a:solidFill>
                <a:latin typeface="Apercu Pro Light" panose="020B0303050601040103" pitchFamily="34" charset="0"/>
              </a:defRPr>
            </a:lvl1pPr>
          </a:lstStyle>
          <a:p>
            <a:pPr lvl="0"/>
            <a:r>
              <a:rPr lang="en-US"/>
              <a:t>Edit Master text styles</a:t>
            </a:r>
          </a:p>
        </p:txBody>
      </p:sp>
      <p:sp>
        <p:nvSpPr>
          <p:cNvPr id="10" name="Text Placeholder 8">
            <a:extLst>
              <a:ext uri="{FF2B5EF4-FFF2-40B4-BE49-F238E27FC236}">
                <a16:creationId xmlns:a16="http://schemas.microsoft.com/office/drawing/2014/main" id="{AFA31B57-9C38-0740-AC1D-ABF5CCEDF8B1}"/>
              </a:ext>
            </a:extLst>
          </p:cNvPr>
          <p:cNvSpPr>
            <a:spLocks noGrp="1"/>
          </p:cNvSpPr>
          <p:nvPr>
            <p:ph type="body" sz="quarter" idx="12"/>
          </p:nvPr>
        </p:nvSpPr>
        <p:spPr>
          <a:xfrm>
            <a:off x="63563" y="4856186"/>
            <a:ext cx="4248150" cy="646332"/>
          </a:xfrm>
          <a:prstGeom prst="rect">
            <a:avLst/>
          </a:prstGeom>
        </p:spPr>
        <p:txBody>
          <a:bodyPr/>
          <a:lstStyle>
            <a:lvl1pPr marL="0" indent="0">
              <a:buNone/>
              <a:defRPr sz="4050" b="0" i="0" cap="all" baseline="0">
                <a:solidFill>
                  <a:schemeClr val="bg1"/>
                </a:solidFill>
                <a:latin typeface="Apercu Pro Medium" panose="020B0503050601040103" pitchFamily="34" charset="0"/>
              </a:defRPr>
            </a:lvl1pPr>
          </a:lstStyle>
          <a:p>
            <a:pPr lvl="0"/>
            <a:r>
              <a:rPr lang="en-US"/>
              <a:t>Edit Master text styles</a:t>
            </a:r>
          </a:p>
        </p:txBody>
      </p:sp>
      <p:sp>
        <p:nvSpPr>
          <p:cNvPr id="11" name="Text Placeholder 8">
            <a:extLst>
              <a:ext uri="{FF2B5EF4-FFF2-40B4-BE49-F238E27FC236}">
                <a16:creationId xmlns:a16="http://schemas.microsoft.com/office/drawing/2014/main" id="{3F7B5F6B-318F-714E-B956-29CD224D4DD2}"/>
              </a:ext>
            </a:extLst>
          </p:cNvPr>
          <p:cNvSpPr>
            <a:spLocks noGrp="1"/>
          </p:cNvSpPr>
          <p:nvPr>
            <p:ph type="body" sz="quarter" idx="13"/>
          </p:nvPr>
        </p:nvSpPr>
        <p:spPr>
          <a:xfrm>
            <a:off x="90282" y="5653238"/>
            <a:ext cx="4252167" cy="361782"/>
          </a:xfrm>
          <a:prstGeom prst="rect">
            <a:avLst/>
          </a:prstGeom>
        </p:spPr>
        <p:txBody>
          <a:bodyPr/>
          <a:lstStyle>
            <a:lvl1pPr marL="0" indent="0">
              <a:buNone/>
              <a:defRPr sz="1200" b="0" i="0">
                <a:solidFill>
                  <a:schemeClr val="bg1"/>
                </a:solidFill>
                <a:latin typeface="Apercu Pro Light" panose="020B0303050601040103" pitchFamily="34" charset="0"/>
              </a:defRPr>
            </a:lvl1pPr>
          </a:lstStyle>
          <a:p>
            <a:pPr lvl="0"/>
            <a:r>
              <a:rPr lang="en-US"/>
              <a:t>Edit Master text styles</a:t>
            </a:r>
          </a:p>
        </p:txBody>
      </p:sp>
    </p:spTree>
    <p:extLst>
      <p:ext uri="{BB962C8B-B14F-4D97-AF65-F5344CB8AC3E}">
        <p14:creationId xmlns:p14="http://schemas.microsoft.com/office/powerpoint/2010/main" val="4203341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7" name="bg object 17"/>
          <p:cNvSpPr/>
          <p:nvPr/>
        </p:nvSpPr>
        <p:spPr>
          <a:xfrm>
            <a:off x="7590262" y="6307195"/>
            <a:ext cx="1072296" cy="83974"/>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8" name="bg object 18"/>
          <p:cNvSpPr/>
          <p:nvPr/>
        </p:nvSpPr>
        <p:spPr>
          <a:xfrm>
            <a:off x="7587995" y="6425004"/>
            <a:ext cx="1083141" cy="314164"/>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19" name="bg object 19"/>
          <p:cNvSpPr/>
          <p:nvPr/>
        </p:nvSpPr>
        <p:spPr>
          <a:xfrm>
            <a:off x="8722793" y="6306583"/>
            <a:ext cx="323215" cy="430530"/>
          </a:xfrm>
          <a:custGeom>
            <a:avLst/>
            <a:gdLst/>
            <a:ahLst/>
            <a:cxnLst/>
            <a:rect l="l" t="t" r="r" b="b"/>
            <a:pathLst>
              <a:path w="323215" h="430529">
                <a:moveTo>
                  <a:pt x="323166" y="0"/>
                </a:moveTo>
                <a:lnTo>
                  <a:pt x="0" y="0"/>
                </a:lnTo>
                <a:lnTo>
                  <a:pt x="0" y="430168"/>
                </a:lnTo>
                <a:lnTo>
                  <a:pt x="323166" y="430168"/>
                </a:lnTo>
                <a:lnTo>
                  <a:pt x="323166" y="375793"/>
                </a:lnTo>
                <a:lnTo>
                  <a:pt x="96545" y="375793"/>
                </a:lnTo>
                <a:lnTo>
                  <a:pt x="96545" y="335312"/>
                </a:lnTo>
                <a:lnTo>
                  <a:pt x="97028" y="335312"/>
                </a:lnTo>
                <a:lnTo>
                  <a:pt x="111489" y="331186"/>
                </a:lnTo>
                <a:lnTo>
                  <a:pt x="123452" y="319981"/>
                </a:lnTo>
                <a:lnTo>
                  <a:pt x="131598" y="303452"/>
                </a:lnTo>
                <a:lnTo>
                  <a:pt x="134607" y="283353"/>
                </a:lnTo>
                <a:lnTo>
                  <a:pt x="134607" y="162527"/>
                </a:lnTo>
                <a:lnTo>
                  <a:pt x="40841" y="162527"/>
                </a:lnTo>
                <a:lnTo>
                  <a:pt x="40841" y="53776"/>
                </a:lnTo>
                <a:lnTo>
                  <a:pt x="323166" y="53776"/>
                </a:lnTo>
                <a:lnTo>
                  <a:pt x="323166" y="0"/>
                </a:lnTo>
                <a:close/>
              </a:path>
              <a:path w="323215" h="430529">
                <a:moveTo>
                  <a:pt x="218948" y="126271"/>
                </a:moveTo>
                <a:lnTo>
                  <a:pt x="209229" y="127877"/>
                </a:lnTo>
                <a:lnTo>
                  <a:pt x="200695" y="132315"/>
                </a:lnTo>
                <a:lnTo>
                  <a:pt x="193689" y="139018"/>
                </a:lnTo>
                <a:lnTo>
                  <a:pt x="188558" y="147420"/>
                </a:lnTo>
                <a:lnTo>
                  <a:pt x="188558" y="283353"/>
                </a:lnTo>
                <a:lnTo>
                  <a:pt x="191568" y="303452"/>
                </a:lnTo>
                <a:lnTo>
                  <a:pt x="199720" y="319981"/>
                </a:lnTo>
                <a:lnTo>
                  <a:pt x="211702" y="331186"/>
                </a:lnTo>
                <a:lnTo>
                  <a:pt x="226198" y="335312"/>
                </a:lnTo>
                <a:lnTo>
                  <a:pt x="226621" y="335312"/>
                </a:lnTo>
                <a:lnTo>
                  <a:pt x="226621" y="375793"/>
                </a:lnTo>
                <a:lnTo>
                  <a:pt x="323166" y="375793"/>
                </a:lnTo>
                <a:lnTo>
                  <a:pt x="323166" y="162527"/>
                </a:lnTo>
                <a:lnTo>
                  <a:pt x="251995" y="162527"/>
                </a:lnTo>
                <a:lnTo>
                  <a:pt x="249381" y="148449"/>
                </a:lnTo>
                <a:lnTo>
                  <a:pt x="242268" y="136921"/>
                </a:lnTo>
                <a:lnTo>
                  <a:pt x="231758" y="129132"/>
                </a:lnTo>
                <a:lnTo>
                  <a:pt x="218948" y="126271"/>
                </a:lnTo>
                <a:close/>
              </a:path>
              <a:path w="323215" h="430529">
                <a:moveTo>
                  <a:pt x="104278" y="126271"/>
                </a:moveTo>
                <a:lnTo>
                  <a:pt x="91458" y="129132"/>
                </a:lnTo>
                <a:lnTo>
                  <a:pt x="80927" y="136921"/>
                </a:lnTo>
                <a:lnTo>
                  <a:pt x="73794" y="148449"/>
                </a:lnTo>
                <a:lnTo>
                  <a:pt x="71170" y="162527"/>
                </a:lnTo>
                <a:lnTo>
                  <a:pt x="134607" y="162527"/>
                </a:lnTo>
                <a:lnTo>
                  <a:pt x="134607" y="147420"/>
                </a:lnTo>
                <a:lnTo>
                  <a:pt x="129486" y="139018"/>
                </a:lnTo>
                <a:lnTo>
                  <a:pt x="122501" y="132315"/>
                </a:lnTo>
                <a:lnTo>
                  <a:pt x="113987" y="127877"/>
                </a:lnTo>
                <a:lnTo>
                  <a:pt x="104278" y="126271"/>
                </a:lnTo>
                <a:close/>
              </a:path>
              <a:path w="323215" h="430529">
                <a:moveTo>
                  <a:pt x="323166" y="53776"/>
                </a:moveTo>
                <a:lnTo>
                  <a:pt x="282385" y="53776"/>
                </a:lnTo>
                <a:lnTo>
                  <a:pt x="282385" y="162527"/>
                </a:lnTo>
                <a:lnTo>
                  <a:pt x="323166" y="162527"/>
                </a:lnTo>
                <a:lnTo>
                  <a:pt x="323166" y="53776"/>
                </a:lnTo>
                <a:close/>
              </a:path>
            </a:pathLst>
          </a:custGeom>
          <a:solidFill>
            <a:srgbClr val="FDFDFD"/>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5400" b="1" i="0">
                <a:solidFill>
                  <a:schemeClr val="bg1"/>
                </a:solidFill>
                <a:latin typeface="Garamond"/>
                <a:cs typeface="Garamond"/>
              </a:defRPr>
            </a:lvl1pPr>
          </a:lstStyle>
          <a:p>
            <a:endParaRPr/>
          </a:p>
        </p:txBody>
      </p:sp>
      <p:sp>
        <p:nvSpPr>
          <p:cNvPr id="3" name="Holder 3"/>
          <p:cNvSpPr>
            <a:spLocks noGrp="1"/>
          </p:cNvSpPr>
          <p:nvPr>
            <p:ph type="body" idx="1"/>
          </p:nvPr>
        </p:nvSpPr>
        <p:spPr/>
        <p:txBody>
          <a:bodyPr lIns="0" tIns="0" rIns="0" bIns="0"/>
          <a:lstStyle>
            <a:lvl1pPr>
              <a:defRPr sz="1800" b="0" i="0">
                <a:solidFill>
                  <a:schemeClr val="bg1"/>
                </a:solidFill>
                <a:latin typeface="Baskerville Old Face"/>
                <a:cs typeface="Baskerville Old Fac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US"/>
              <a:t>Industrial Sector</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777F8651-DD26-7A48-BE5C-A61971241736}" type="datetime1">
              <a:rPr lang="en-US" smtClean="0"/>
              <a:t>7/1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917B7-9424-46A5-B3D2-25FC48602F4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D938CE0-577E-4373-B711-6FADD89EC3DB}"/>
              </a:ext>
            </a:extLst>
          </p:cNvPr>
          <p:cNvSpPr>
            <a:spLocks noGrp="1"/>
          </p:cNvSpPr>
          <p:nvPr>
            <p:ph idx="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pic>
        <p:nvPicPr>
          <p:cNvPr id="7" name="Picture 6">
            <a:extLst>
              <a:ext uri="{FF2B5EF4-FFF2-40B4-BE49-F238E27FC236}">
                <a16:creationId xmlns:a16="http://schemas.microsoft.com/office/drawing/2014/main" id="{BE20928F-7B24-435B-99C8-0284AB767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353" y="6543012"/>
            <a:ext cx="2483698" cy="219553"/>
          </a:xfrm>
          <a:prstGeom prst="rect">
            <a:avLst/>
          </a:prstGeom>
        </p:spPr>
      </p:pic>
      <p:sp>
        <p:nvSpPr>
          <p:cNvPr id="6" name="Date Placeholder 5">
            <a:extLst>
              <a:ext uri="{FF2B5EF4-FFF2-40B4-BE49-F238E27FC236}">
                <a16:creationId xmlns:a16="http://schemas.microsoft.com/office/drawing/2014/main" id="{3B9B2F65-1158-4BC0-9CEA-80ECA244B5FE}"/>
              </a:ext>
            </a:extLst>
          </p:cNvPr>
          <p:cNvSpPr>
            <a:spLocks noGrp="1"/>
          </p:cNvSpPr>
          <p:nvPr>
            <p:ph type="dt" sz="half" idx="10"/>
          </p:nvPr>
        </p:nvSpPr>
        <p:spPr/>
        <p:txBody>
          <a:bodyPr/>
          <a:lstStyle/>
          <a:p>
            <a:pPr defTabSz="685800" eaLnBrk="1" fontAlgn="auto" hangingPunct="1">
              <a:spcBef>
                <a:spcPts val="0"/>
              </a:spcBef>
              <a:spcAft>
                <a:spcPts val="0"/>
              </a:spcAft>
            </a:pPr>
            <a:fld id="{13F54AF6-5BA3-4B9B-9E5C-5AD3EAFD3D83}" type="datetime1">
              <a:rPr lang="en-CA" smtClean="0">
                <a:solidFill>
                  <a:prstClr val="black">
                    <a:tint val="75000"/>
                  </a:prstClr>
                </a:solidFill>
                <a:latin typeface="Open Sans"/>
              </a:rPr>
              <a:pPr defTabSz="685800" eaLnBrk="1" fontAlgn="auto" hangingPunct="1">
                <a:spcBef>
                  <a:spcPts val="0"/>
                </a:spcBef>
                <a:spcAft>
                  <a:spcPts val="0"/>
                </a:spcAft>
              </a:pPr>
              <a:t>2023-07-18</a:t>
            </a:fld>
            <a:endParaRPr lang="en-CA">
              <a:solidFill>
                <a:prstClr val="black">
                  <a:tint val="75000"/>
                </a:prstClr>
              </a:solidFill>
              <a:latin typeface="Open Sans"/>
            </a:endParaRPr>
          </a:p>
        </p:txBody>
      </p:sp>
      <p:sp>
        <p:nvSpPr>
          <p:cNvPr id="23" name="Footer Placeholder 22">
            <a:extLst>
              <a:ext uri="{FF2B5EF4-FFF2-40B4-BE49-F238E27FC236}">
                <a16:creationId xmlns:a16="http://schemas.microsoft.com/office/drawing/2014/main" id="{AB228025-7DDC-4C10-9A1C-94CA8147A715}"/>
              </a:ext>
            </a:extLst>
          </p:cNvPr>
          <p:cNvSpPr>
            <a:spLocks noGrp="1"/>
          </p:cNvSpPr>
          <p:nvPr>
            <p:ph type="ftr" sz="quarter" idx="11"/>
          </p:nvPr>
        </p:nvSpPr>
        <p:spPr/>
        <p:txBody>
          <a:bodyPr/>
          <a:lstStyle/>
          <a:p>
            <a:pPr defTabSz="685800" eaLnBrk="1" fontAlgn="auto" hangingPunct="1">
              <a:spcBef>
                <a:spcPts val="0"/>
              </a:spcBef>
              <a:spcAft>
                <a:spcPts val="0"/>
              </a:spcAft>
            </a:pPr>
            <a:endParaRPr lang="en-CA">
              <a:solidFill>
                <a:prstClr val="black">
                  <a:tint val="75000"/>
                </a:prstClr>
              </a:solidFill>
              <a:latin typeface="Open Sans"/>
            </a:endParaRPr>
          </a:p>
        </p:txBody>
      </p:sp>
      <p:sp>
        <p:nvSpPr>
          <p:cNvPr id="8" name="Slide Number Placeholder 2">
            <a:extLst>
              <a:ext uri="{FF2B5EF4-FFF2-40B4-BE49-F238E27FC236}">
                <a16:creationId xmlns:a16="http://schemas.microsoft.com/office/drawing/2014/main" id="{46B7E961-42D4-46BE-88FC-B12D5DE472D0}"/>
              </a:ext>
            </a:extLst>
          </p:cNvPr>
          <p:cNvSpPr>
            <a:spLocks noGrp="1"/>
          </p:cNvSpPr>
          <p:nvPr>
            <p:ph type="sldNum" sz="quarter" idx="12"/>
          </p:nvPr>
        </p:nvSpPr>
        <p:spPr>
          <a:xfrm>
            <a:off x="6457950" y="6356357"/>
            <a:ext cx="2057400" cy="365125"/>
          </a:xfrm>
          <a:prstGeom prst="rect">
            <a:avLst/>
          </a:prstGeom>
        </p:spPr>
        <p:txBody>
          <a:bodyPr/>
          <a:lstStyle/>
          <a:p>
            <a:pPr defTabSz="685800" eaLnBrk="1" fontAlgn="auto" hangingPunct="1">
              <a:spcBef>
                <a:spcPts val="0"/>
              </a:spcBef>
              <a:spcAft>
                <a:spcPts val="0"/>
              </a:spcAft>
            </a:pPr>
            <a:fld id="{602F7A02-EF0D-4D82-9BFD-3DDF074AABBD}" type="slidenum">
              <a:rPr lang="en-CA" smtClean="0">
                <a:solidFill>
                  <a:prstClr val="black">
                    <a:tint val="75000"/>
                  </a:prstClr>
                </a:solidFill>
                <a:latin typeface="Open Sans"/>
              </a:rPr>
              <a:pPr defTabSz="685800" eaLnBrk="1" fontAlgn="auto" hangingPunct="1">
                <a:spcBef>
                  <a:spcPts val="0"/>
                </a:spcBef>
                <a:spcAft>
                  <a:spcPts val="0"/>
                </a:spcAft>
              </a:pPr>
              <a:t>‹#›</a:t>
            </a:fld>
            <a:endParaRPr lang="en-CA" dirty="0">
              <a:solidFill>
                <a:prstClr val="black">
                  <a:tint val="75000"/>
                </a:prstClr>
              </a:solidFill>
              <a:latin typeface="Open Sans"/>
            </a:endParaRPr>
          </a:p>
        </p:txBody>
      </p:sp>
    </p:spTree>
    <p:extLst>
      <p:ext uri="{BB962C8B-B14F-4D97-AF65-F5344CB8AC3E}">
        <p14:creationId xmlns:p14="http://schemas.microsoft.com/office/powerpoint/2010/main" val="20506254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917B7-9424-46A5-B3D2-25FC48602F4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D938CE0-577E-4373-B711-6FADD89EC3DB}"/>
              </a:ext>
            </a:extLst>
          </p:cNvPr>
          <p:cNvSpPr>
            <a:spLocks noGrp="1"/>
          </p:cNvSpPr>
          <p:nvPr>
            <p:ph idx="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pic>
        <p:nvPicPr>
          <p:cNvPr id="7" name="Picture 6">
            <a:extLst>
              <a:ext uri="{FF2B5EF4-FFF2-40B4-BE49-F238E27FC236}">
                <a16:creationId xmlns:a16="http://schemas.microsoft.com/office/drawing/2014/main" id="{BE20928F-7B24-435B-99C8-0284AB767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353" y="6543006"/>
            <a:ext cx="2483698" cy="219553"/>
          </a:xfrm>
          <a:prstGeom prst="rect">
            <a:avLst/>
          </a:prstGeom>
        </p:spPr>
      </p:pic>
      <p:sp>
        <p:nvSpPr>
          <p:cNvPr id="6" name="Date Placeholder 5">
            <a:extLst>
              <a:ext uri="{FF2B5EF4-FFF2-40B4-BE49-F238E27FC236}">
                <a16:creationId xmlns:a16="http://schemas.microsoft.com/office/drawing/2014/main" id="{3B9B2F65-1158-4BC0-9CEA-80ECA244B5FE}"/>
              </a:ext>
            </a:extLst>
          </p:cNvPr>
          <p:cNvSpPr>
            <a:spLocks noGrp="1"/>
          </p:cNvSpPr>
          <p:nvPr>
            <p:ph type="dt" sz="half" idx="10"/>
          </p:nvPr>
        </p:nvSpPr>
        <p:spPr/>
        <p:txBody>
          <a:bodyPr/>
          <a:lstStyle/>
          <a:p>
            <a:fld id="{13F54AF6-5BA3-4B9B-9E5C-5AD3EAFD3D83}" type="datetime1">
              <a:rPr lang="en-CA" smtClean="0"/>
              <a:t>2023-07-17</a:t>
            </a:fld>
            <a:endParaRPr lang="en-CA"/>
          </a:p>
        </p:txBody>
      </p:sp>
      <p:sp>
        <p:nvSpPr>
          <p:cNvPr id="23" name="Footer Placeholder 22">
            <a:extLst>
              <a:ext uri="{FF2B5EF4-FFF2-40B4-BE49-F238E27FC236}">
                <a16:creationId xmlns:a16="http://schemas.microsoft.com/office/drawing/2014/main" id="{AB228025-7DDC-4C10-9A1C-94CA8147A715}"/>
              </a:ext>
            </a:extLst>
          </p:cNvPr>
          <p:cNvSpPr>
            <a:spLocks noGrp="1"/>
          </p:cNvSpPr>
          <p:nvPr>
            <p:ph type="ftr" sz="quarter" idx="11"/>
          </p:nvPr>
        </p:nvSpPr>
        <p:spPr/>
        <p:txBody>
          <a:bodyPr/>
          <a:lstStyle/>
          <a:p>
            <a:endParaRPr lang="en-CA"/>
          </a:p>
        </p:txBody>
      </p:sp>
      <p:sp>
        <p:nvSpPr>
          <p:cNvPr id="8" name="Slide Number Placeholder 2">
            <a:extLst>
              <a:ext uri="{FF2B5EF4-FFF2-40B4-BE49-F238E27FC236}">
                <a16:creationId xmlns:a16="http://schemas.microsoft.com/office/drawing/2014/main" id="{46B7E961-42D4-46BE-88FC-B12D5DE472D0}"/>
              </a:ext>
            </a:extLst>
          </p:cNvPr>
          <p:cNvSpPr>
            <a:spLocks noGrp="1"/>
          </p:cNvSpPr>
          <p:nvPr>
            <p:ph type="sldNum" sz="quarter" idx="12"/>
          </p:nvPr>
        </p:nvSpPr>
        <p:spPr>
          <a:xfrm>
            <a:off x="6457950" y="6356351"/>
            <a:ext cx="2057400" cy="365125"/>
          </a:xfrm>
          <a:prstGeom prst="rect">
            <a:avLst/>
          </a:prstGeom>
        </p:spPr>
        <p:txBody>
          <a:bodyPr/>
          <a:lstStyle/>
          <a:p>
            <a:fld id="{602F7A02-EF0D-4D82-9BFD-3DDF074AABBD}" type="slidenum">
              <a:rPr lang="en-CA" smtClean="0"/>
              <a:t>‹#›</a:t>
            </a:fld>
            <a:endParaRPr lang="en-CA" dirty="0"/>
          </a:p>
        </p:txBody>
      </p:sp>
    </p:spTree>
    <p:extLst>
      <p:ext uri="{BB962C8B-B14F-4D97-AF65-F5344CB8AC3E}">
        <p14:creationId xmlns:p14="http://schemas.microsoft.com/office/powerpoint/2010/main" val="41047285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DE8D5-3B02-461B-BCA0-C2D1DA7D0B9B}"/>
              </a:ext>
            </a:extLst>
          </p:cNvPr>
          <p:cNvSpPr>
            <a:spLocks noGrp="1"/>
          </p:cNvSpPr>
          <p:nvPr>
            <p:ph type="title"/>
          </p:nvPr>
        </p:nvSpPr>
        <p:spPr>
          <a:xfrm>
            <a:off x="179744" y="-203432"/>
            <a:ext cx="78867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79B4B996-CE2A-49BD-81A7-277C20864525}"/>
              </a:ext>
            </a:extLst>
          </p:cNvPr>
          <p:cNvSpPr>
            <a:spLocks noGrp="1"/>
          </p:cNvSpPr>
          <p:nvPr>
            <p:ph type="body" idx="1"/>
          </p:nvPr>
        </p:nvSpPr>
        <p:spPr>
          <a:xfrm>
            <a:off x="629842" y="1681163"/>
            <a:ext cx="3868340" cy="823912"/>
          </a:xfrm>
        </p:spPr>
        <p:txBody>
          <a:bodyPr anchor="b">
            <a:normAutofit/>
          </a:bodyPr>
          <a:lstStyle>
            <a:lvl1pPr marL="0" indent="0">
              <a:buNone/>
              <a:defRPr sz="1350" b="1">
                <a:latin typeface="Open Sans" panose="020B0606030504020204" pitchFamily="34" charset="0"/>
                <a:ea typeface="Open Sans" panose="020B0606030504020204" pitchFamily="34" charset="0"/>
                <a:cs typeface="Open Sans" panose="020B0606030504020204" pitchFamily="34" charset="0"/>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Edit Master text styles</a:t>
            </a:r>
          </a:p>
        </p:txBody>
      </p:sp>
      <p:sp>
        <p:nvSpPr>
          <p:cNvPr id="4" name="Content Placeholder 3">
            <a:extLst>
              <a:ext uri="{FF2B5EF4-FFF2-40B4-BE49-F238E27FC236}">
                <a16:creationId xmlns:a16="http://schemas.microsoft.com/office/drawing/2014/main" id="{45940E5F-4BEE-4B0B-8D84-710DF5916FDF}"/>
              </a:ext>
            </a:extLst>
          </p:cNvPr>
          <p:cNvSpPr>
            <a:spLocks noGrp="1"/>
          </p:cNvSpPr>
          <p:nvPr>
            <p:ph sz="half" idx="2"/>
          </p:nvPr>
        </p:nvSpPr>
        <p:spPr>
          <a:xfrm>
            <a:off x="629842" y="2505075"/>
            <a:ext cx="3868340" cy="3684588"/>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D930CDA5-F502-44CE-A8E4-BC47A133A94E}"/>
              </a:ext>
            </a:extLst>
          </p:cNvPr>
          <p:cNvSpPr>
            <a:spLocks noGrp="1"/>
          </p:cNvSpPr>
          <p:nvPr>
            <p:ph type="body" sz="quarter" idx="3"/>
          </p:nvPr>
        </p:nvSpPr>
        <p:spPr>
          <a:xfrm>
            <a:off x="4629152" y="1681163"/>
            <a:ext cx="3887391" cy="823912"/>
          </a:xfrm>
        </p:spPr>
        <p:txBody>
          <a:bodyPr anchor="b">
            <a:normAutofit/>
          </a:bodyPr>
          <a:lstStyle>
            <a:lvl1pPr marL="0" indent="0">
              <a:buNone/>
              <a:defRPr sz="1350" b="1">
                <a:latin typeface="Open Sans" panose="020B0606030504020204" pitchFamily="34" charset="0"/>
                <a:ea typeface="Open Sans" panose="020B0606030504020204" pitchFamily="34" charset="0"/>
                <a:cs typeface="Open Sans" panose="020B0606030504020204" pitchFamily="34" charset="0"/>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FB45F41-FF13-440E-BA5A-CC2AB6C74225}"/>
              </a:ext>
            </a:extLst>
          </p:cNvPr>
          <p:cNvSpPr>
            <a:spLocks noGrp="1"/>
          </p:cNvSpPr>
          <p:nvPr>
            <p:ph sz="quarter" idx="4"/>
          </p:nvPr>
        </p:nvSpPr>
        <p:spPr>
          <a:xfrm>
            <a:off x="4629152" y="2505075"/>
            <a:ext cx="3887391" cy="3684588"/>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E3A5FF66-A473-4781-ACA0-8C0CB511D6BA}"/>
              </a:ext>
            </a:extLst>
          </p:cNvPr>
          <p:cNvSpPr>
            <a:spLocks noGrp="1"/>
          </p:cNvSpPr>
          <p:nvPr>
            <p:ph type="dt" sz="half" idx="10"/>
          </p:nvPr>
        </p:nvSpPr>
        <p:spPr/>
        <p:txBody>
          <a:bodyPr/>
          <a:lstStyle/>
          <a:p>
            <a:fld id="{34680329-36DC-4304-BF94-A8D62B09FB29}" type="datetime1">
              <a:rPr lang="en-CA" smtClean="0"/>
              <a:t>2023-07-17</a:t>
            </a:fld>
            <a:endParaRPr lang="en-CA"/>
          </a:p>
        </p:txBody>
      </p:sp>
      <p:sp>
        <p:nvSpPr>
          <p:cNvPr id="8" name="Footer Placeholder 7">
            <a:extLst>
              <a:ext uri="{FF2B5EF4-FFF2-40B4-BE49-F238E27FC236}">
                <a16:creationId xmlns:a16="http://schemas.microsoft.com/office/drawing/2014/main" id="{972D3629-0E74-4959-A86E-B84F1A048D76}"/>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E6F20DB6-BB03-40E9-996F-AD7B2CAA1FD3}"/>
              </a:ext>
            </a:extLst>
          </p:cNvPr>
          <p:cNvSpPr>
            <a:spLocks noGrp="1"/>
          </p:cNvSpPr>
          <p:nvPr>
            <p:ph type="sldNum" sz="quarter" idx="12"/>
          </p:nvPr>
        </p:nvSpPr>
        <p:spPr>
          <a:xfrm>
            <a:off x="6457950" y="6356357"/>
            <a:ext cx="2057400" cy="365125"/>
          </a:xfrm>
          <a:prstGeom prst="rect">
            <a:avLst/>
          </a:prstGeom>
        </p:spPr>
        <p:txBody>
          <a:bodyPr/>
          <a:lstStyle/>
          <a:p>
            <a:fld id="{B1F560D5-53A7-4969-B8DF-E1F637D39903}" type="slidenum">
              <a:rPr lang="en-CA" smtClean="0"/>
              <a:t>‹#›</a:t>
            </a:fld>
            <a:endParaRPr lang="en-CA"/>
          </a:p>
        </p:txBody>
      </p:sp>
      <p:pic>
        <p:nvPicPr>
          <p:cNvPr id="10" name="Picture 9">
            <a:extLst>
              <a:ext uri="{FF2B5EF4-FFF2-40B4-BE49-F238E27FC236}">
                <a16:creationId xmlns:a16="http://schemas.microsoft.com/office/drawing/2014/main" id="{7FF0A0B3-06F8-4FA1-9B4C-A42F3E144C3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2353" y="6543012"/>
            <a:ext cx="2483698" cy="219553"/>
          </a:xfrm>
          <a:prstGeom prst="rect">
            <a:avLst/>
          </a:prstGeom>
        </p:spPr>
      </p:pic>
    </p:spTree>
    <p:extLst>
      <p:ext uri="{BB962C8B-B14F-4D97-AF65-F5344CB8AC3E}">
        <p14:creationId xmlns:p14="http://schemas.microsoft.com/office/powerpoint/2010/main" val="17652304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69332"/>
          </a:xfrm>
        </p:spPr>
        <p:txBody>
          <a:bodyPr lIns="0" tIns="0" rIns="0" bIns="0"/>
          <a:lstStyle>
            <a:lvl1pPr algn="ctr">
              <a:defRPr>
                <a:solidFill>
                  <a:schemeClr val="tx1">
                    <a:tint val="75000"/>
                  </a:schemeClr>
                </a:solidFill>
              </a:defRPr>
            </a:lvl1pPr>
          </a:lstStyle>
          <a:p>
            <a:pPr defTabSz="685800">
              <a:defRPr/>
            </a:pPr>
            <a:r>
              <a:rPr lang="en-US" sz="1800">
                <a:solidFill>
                  <a:prstClr val="black">
                    <a:tint val="75000"/>
                  </a:prstClr>
                </a:solidFill>
              </a:rPr>
              <a:t>Industrial Sector</a:t>
            </a:r>
          </a:p>
        </p:txBody>
      </p:sp>
      <p:sp>
        <p:nvSpPr>
          <p:cNvPr id="3" name="Holder 3"/>
          <p:cNvSpPr>
            <a:spLocks noGrp="1"/>
          </p:cNvSpPr>
          <p:nvPr>
            <p:ph type="dt" sz="half" idx="6"/>
          </p:nvPr>
        </p:nvSpPr>
        <p:spPr>
          <a:xfrm>
            <a:off x="609600" y="6377940"/>
            <a:ext cx="2804160" cy="369332"/>
          </a:xfrm>
        </p:spPr>
        <p:txBody>
          <a:bodyPr lIns="0" tIns="0" rIns="0" bIns="0"/>
          <a:lstStyle>
            <a:lvl1pPr algn="l">
              <a:defRPr>
                <a:solidFill>
                  <a:schemeClr val="tx1">
                    <a:tint val="75000"/>
                  </a:schemeClr>
                </a:solidFill>
              </a:defRPr>
            </a:lvl1pPr>
          </a:lstStyle>
          <a:p>
            <a:pPr defTabSz="685800">
              <a:defRPr/>
            </a:pPr>
            <a:fld id="{AD2EDA2D-7472-6E4D-8406-00271FC809EA}" type="datetime1">
              <a:rPr lang="en-US" sz="1800" smtClean="0">
                <a:solidFill>
                  <a:prstClr val="black">
                    <a:tint val="75000"/>
                  </a:prstClr>
                </a:solidFill>
              </a:rPr>
              <a:pPr defTabSz="685800">
                <a:defRPr/>
              </a:pPr>
              <a:t>7/17/2023</a:t>
            </a:fld>
            <a:endParaRPr lang="en-US" sz="1800">
              <a:solidFill>
                <a:prstClr val="black">
                  <a:tint val="75000"/>
                </a:prstClr>
              </a:solidFill>
            </a:endParaRPr>
          </a:p>
        </p:txBody>
      </p:sp>
      <p:sp>
        <p:nvSpPr>
          <p:cNvPr id="4" name="Holder 4"/>
          <p:cNvSpPr>
            <a:spLocks noGrp="1"/>
          </p:cNvSpPr>
          <p:nvPr>
            <p:ph type="sldNum" sz="quarter" idx="7"/>
          </p:nvPr>
        </p:nvSpPr>
        <p:spPr>
          <a:xfrm>
            <a:off x="8778240" y="6377940"/>
            <a:ext cx="2804160" cy="369332"/>
          </a:xfrm>
        </p:spPr>
        <p:txBody>
          <a:bodyPr lIns="0" tIns="0" rIns="0" bIns="0"/>
          <a:lstStyle>
            <a:lvl1pPr algn="r">
              <a:defRPr>
                <a:solidFill>
                  <a:schemeClr val="tx1">
                    <a:tint val="75000"/>
                  </a:schemeClr>
                </a:solidFill>
              </a:defRPr>
            </a:lvl1pPr>
          </a:lstStyle>
          <a:p>
            <a:pPr defTabSz="685800">
              <a:defRPr/>
            </a:pPr>
            <a:fld id="{B6F15528-21DE-4FAA-801E-634DDDAF4B2B}" type="slidenum">
              <a:rPr lang="en-US" sz="1800" smtClean="0">
                <a:solidFill>
                  <a:prstClr val="black">
                    <a:tint val="75000"/>
                  </a:prstClr>
                </a:solidFill>
              </a:rPr>
              <a:pPr defTabSz="685800">
                <a:defRPr/>
              </a:pPr>
              <a:t>‹#›</a:t>
            </a:fld>
            <a:endParaRPr lang="en-US" sz="1800">
              <a:solidFill>
                <a:prstClr val="black">
                  <a:tint val="75000"/>
                </a:prstClr>
              </a:solidFill>
            </a:endParaRPr>
          </a:p>
        </p:txBody>
      </p:sp>
    </p:spTree>
    <p:extLst>
      <p:ext uri="{BB962C8B-B14F-4D97-AF65-F5344CB8AC3E}">
        <p14:creationId xmlns:p14="http://schemas.microsoft.com/office/powerpoint/2010/main" val="2977040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8799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917B7-9424-46A5-B3D2-25FC48602F4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D938CE0-577E-4373-B711-6FADD89EC3DB}"/>
              </a:ext>
            </a:extLst>
          </p:cNvPr>
          <p:cNvSpPr>
            <a:spLocks noGrp="1"/>
          </p:cNvSpPr>
          <p:nvPr>
            <p:ph idx="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Date Placeholder 5">
            <a:extLst>
              <a:ext uri="{FF2B5EF4-FFF2-40B4-BE49-F238E27FC236}">
                <a16:creationId xmlns:a16="http://schemas.microsoft.com/office/drawing/2014/main" id="{3B9B2F65-1158-4BC0-9CEA-80ECA244B5FE}"/>
              </a:ext>
            </a:extLst>
          </p:cNvPr>
          <p:cNvSpPr>
            <a:spLocks noGrp="1"/>
          </p:cNvSpPr>
          <p:nvPr>
            <p:ph type="dt" sz="half" idx="10"/>
          </p:nvPr>
        </p:nvSpPr>
        <p:spPr/>
        <p:txBody>
          <a:bodyPr/>
          <a:lstStyle/>
          <a:p>
            <a:fld id="{13F54AF6-5BA3-4B9B-9E5C-5AD3EAFD3D83}" type="datetime1">
              <a:rPr lang="en-CA" smtClean="0"/>
              <a:t>2023-07-17</a:t>
            </a:fld>
            <a:endParaRPr lang="en-CA"/>
          </a:p>
        </p:txBody>
      </p:sp>
      <p:sp>
        <p:nvSpPr>
          <p:cNvPr id="23" name="Footer Placeholder 22">
            <a:extLst>
              <a:ext uri="{FF2B5EF4-FFF2-40B4-BE49-F238E27FC236}">
                <a16:creationId xmlns:a16="http://schemas.microsoft.com/office/drawing/2014/main" id="{AB228025-7DDC-4C10-9A1C-94CA8147A715}"/>
              </a:ext>
            </a:extLst>
          </p:cNvPr>
          <p:cNvSpPr>
            <a:spLocks noGrp="1"/>
          </p:cNvSpPr>
          <p:nvPr>
            <p:ph type="ftr" sz="quarter" idx="11"/>
          </p:nvPr>
        </p:nvSpPr>
        <p:spPr/>
        <p:txBody>
          <a:bodyPr/>
          <a:lstStyle/>
          <a:p>
            <a:endParaRPr lang="en-CA"/>
          </a:p>
        </p:txBody>
      </p:sp>
      <p:sp>
        <p:nvSpPr>
          <p:cNvPr id="8" name="Slide Number Placeholder 2">
            <a:extLst>
              <a:ext uri="{FF2B5EF4-FFF2-40B4-BE49-F238E27FC236}">
                <a16:creationId xmlns:a16="http://schemas.microsoft.com/office/drawing/2014/main" id="{46B7E961-42D4-46BE-88FC-B12D5DE472D0}"/>
              </a:ext>
            </a:extLst>
          </p:cNvPr>
          <p:cNvSpPr>
            <a:spLocks noGrp="1"/>
          </p:cNvSpPr>
          <p:nvPr>
            <p:ph type="sldNum" sz="quarter" idx="12"/>
          </p:nvPr>
        </p:nvSpPr>
        <p:spPr>
          <a:xfrm>
            <a:off x="6457950" y="6356357"/>
            <a:ext cx="2057400" cy="365125"/>
          </a:xfrm>
          <a:prstGeom prst="rect">
            <a:avLst/>
          </a:prstGeom>
        </p:spPr>
        <p:txBody>
          <a:bodyPr/>
          <a:lstStyle/>
          <a:p>
            <a:fld id="{602F7A02-EF0D-4D82-9BFD-3DDF074AABBD}" type="slidenum">
              <a:rPr lang="en-CA" smtClean="0"/>
              <a:t>‹#›</a:t>
            </a:fld>
            <a:endParaRPr lang="en-CA" dirty="0"/>
          </a:p>
        </p:txBody>
      </p:sp>
    </p:spTree>
    <p:extLst>
      <p:ext uri="{BB962C8B-B14F-4D97-AF65-F5344CB8AC3E}">
        <p14:creationId xmlns:p14="http://schemas.microsoft.com/office/powerpoint/2010/main" val="14894616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DE8D5-3B02-461B-BCA0-C2D1DA7D0B9B}"/>
              </a:ext>
            </a:extLst>
          </p:cNvPr>
          <p:cNvSpPr>
            <a:spLocks noGrp="1"/>
          </p:cNvSpPr>
          <p:nvPr>
            <p:ph type="title"/>
          </p:nvPr>
        </p:nvSpPr>
        <p:spPr>
          <a:xfrm>
            <a:off x="179744" y="-203432"/>
            <a:ext cx="78867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79B4B996-CE2A-49BD-81A7-277C20864525}"/>
              </a:ext>
            </a:extLst>
          </p:cNvPr>
          <p:cNvSpPr>
            <a:spLocks noGrp="1"/>
          </p:cNvSpPr>
          <p:nvPr>
            <p:ph type="body" idx="1"/>
          </p:nvPr>
        </p:nvSpPr>
        <p:spPr>
          <a:xfrm>
            <a:off x="629842" y="1681163"/>
            <a:ext cx="3868340" cy="823912"/>
          </a:xfrm>
        </p:spPr>
        <p:txBody>
          <a:bodyPr anchor="b">
            <a:normAutofit/>
          </a:bodyPr>
          <a:lstStyle>
            <a:lvl1pPr marL="0" indent="0">
              <a:buNone/>
              <a:defRPr sz="1350" b="1">
                <a:latin typeface="Open Sans" panose="020B0606030504020204" pitchFamily="34" charset="0"/>
                <a:ea typeface="Open Sans" panose="020B0606030504020204" pitchFamily="34" charset="0"/>
                <a:cs typeface="Open Sans" panose="020B0606030504020204" pitchFamily="34" charset="0"/>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Edit Master text styles</a:t>
            </a:r>
          </a:p>
        </p:txBody>
      </p:sp>
      <p:sp>
        <p:nvSpPr>
          <p:cNvPr id="4" name="Content Placeholder 3">
            <a:extLst>
              <a:ext uri="{FF2B5EF4-FFF2-40B4-BE49-F238E27FC236}">
                <a16:creationId xmlns:a16="http://schemas.microsoft.com/office/drawing/2014/main" id="{45940E5F-4BEE-4B0B-8D84-710DF5916FDF}"/>
              </a:ext>
            </a:extLst>
          </p:cNvPr>
          <p:cNvSpPr>
            <a:spLocks noGrp="1"/>
          </p:cNvSpPr>
          <p:nvPr>
            <p:ph sz="half" idx="2"/>
          </p:nvPr>
        </p:nvSpPr>
        <p:spPr>
          <a:xfrm>
            <a:off x="629842" y="2505075"/>
            <a:ext cx="3868340" cy="3684588"/>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D930CDA5-F502-44CE-A8E4-BC47A133A94E}"/>
              </a:ext>
            </a:extLst>
          </p:cNvPr>
          <p:cNvSpPr>
            <a:spLocks noGrp="1"/>
          </p:cNvSpPr>
          <p:nvPr>
            <p:ph type="body" sz="quarter" idx="3"/>
          </p:nvPr>
        </p:nvSpPr>
        <p:spPr>
          <a:xfrm>
            <a:off x="4629152" y="1681163"/>
            <a:ext cx="3887391" cy="823912"/>
          </a:xfrm>
        </p:spPr>
        <p:txBody>
          <a:bodyPr anchor="b">
            <a:normAutofit/>
          </a:bodyPr>
          <a:lstStyle>
            <a:lvl1pPr marL="0" indent="0">
              <a:buNone/>
              <a:defRPr sz="1350" b="1">
                <a:latin typeface="Open Sans" panose="020B0606030504020204" pitchFamily="34" charset="0"/>
                <a:ea typeface="Open Sans" panose="020B0606030504020204" pitchFamily="34" charset="0"/>
                <a:cs typeface="Open Sans" panose="020B0606030504020204" pitchFamily="34" charset="0"/>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FB45F41-FF13-440E-BA5A-CC2AB6C74225}"/>
              </a:ext>
            </a:extLst>
          </p:cNvPr>
          <p:cNvSpPr>
            <a:spLocks noGrp="1"/>
          </p:cNvSpPr>
          <p:nvPr>
            <p:ph sz="quarter" idx="4"/>
          </p:nvPr>
        </p:nvSpPr>
        <p:spPr>
          <a:xfrm>
            <a:off x="4629152" y="2505075"/>
            <a:ext cx="3887391" cy="3684588"/>
          </a:xfrm>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E3A5FF66-A473-4781-ACA0-8C0CB511D6BA}"/>
              </a:ext>
            </a:extLst>
          </p:cNvPr>
          <p:cNvSpPr>
            <a:spLocks noGrp="1"/>
          </p:cNvSpPr>
          <p:nvPr>
            <p:ph type="dt" sz="half" idx="10"/>
          </p:nvPr>
        </p:nvSpPr>
        <p:spPr/>
        <p:txBody>
          <a:bodyPr/>
          <a:lstStyle/>
          <a:p>
            <a:fld id="{34680329-36DC-4304-BF94-A8D62B09FB29}" type="datetime1">
              <a:rPr lang="en-CA" smtClean="0"/>
              <a:t>2023-07-17</a:t>
            </a:fld>
            <a:endParaRPr lang="en-CA"/>
          </a:p>
        </p:txBody>
      </p:sp>
      <p:sp>
        <p:nvSpPr>
          <p:cNvPr id="8" name="Footer Placeholder 7">
            <a:extLst>
              <a:ext uri="{FF2B5EF4-FFF2-40B4-BE49-F238E27FC236}">
                <a16:creationId xmlns:a16="http://schemas.microsoft.com/office/drawing/2014/main" id="{972D3629-0E74-4959-A86E-B84F1A048D76}"/>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E6F20DB6-BB03-40E9-996F-AD7B2CAA1FD3}"/>
              </a:ext>
            </a:extLst>
          </p:cNvPr>
          <p:cNvSpPr>
            <a:spLocks noGrp="1"/>
          </p:cNvSpPr>
          <p:nvPr>
            <p:ph type="sldNum" sz="quarter" idx="12"/>
          </p:nvPr>
        </p:nvSpPr>
        <p:spPr>
          <a:xfrm>
            <a:off x="6457950" y="6356357"/>
            <a:ext cx="2057400" cy="365125"/>
          </a:xfrm>
          <a:prstGeom prst="rect">
            <a:avLst/>
          </a:prstGeom>
        </p:spPr>
        <p:txBody>
          <a:bodyPr/>
          <a:lstStyle/>
          <a:p>
            <a:fld id="{B1F560D5-53A7-4969-B8DF-E1F637D39903}" type="slidenum">
              <a:rPr lang="en-CA" smtClean="0"/>
              <a:t>‹#›</a:t>
            </a:fld>
            <a:endParaRPr lang="en-CA"/>
          </a:p>
        </p:txBody>
      </p:sp>
      <p:pic>
        <p:nvPicPr>
          <p:cNvPr id="10" name="Picture 9">
            <a:extLst>
              <a:ext uri="{FF2B5EF4-FFF2-40B4-BE49-F238E27FC236}">
                <a16:creationId xmlns:a16="http://schemas.microsoft.com/office/drawing/2014/main" id="{7FF0A0B3-06F8-4FA1-9B4C-A42F3E144C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353" y="6543012"/>
            <a:ext cx="2483698" cy="219553"/>
          </a:xfrm>
          <a:prstGeom prst="rect">
            <a:avLst/>
          </a:prstGeom>
        </p:spPr>
      </p:pic>
    </p:spTree>
    <p:extLst>
      <p:ext uri="{BB962C8B-B14F-4D97-AF65-F5344CB8AC3E}">
        <p14:creationId xmlns:p14="http://schemas.microsoft.com/office/powerpoint/2010/main" val="6253590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13D747-EEDB-4752-8A0E-D667F0E00B57}" type="datetime1">
              <a:rPr lang="en-US" smtClean="0"/>
              <a:t>7/17/2023</a:t>
            </a:fld>
            <a:endParaRPr lang="en-US"/>
          </a:p>
        </p:txBody>
      </p:sp>
      <p:sp>
        <p:nvSpPr>
          <p:cNvPr id="6" name="Footer Placeholder 5"/>
          <p:cNvSpPr>
            <a:spLocks noGrp="1"/>
          </p:cNvSpPr>
          <p:nvPr>
            <p:ph type="ftr" sz="quarter" idx="11"/>
          </p:nvPr>
        </p:nvSpPr>
        <p:spPr/>
        <p:txBody>
          <a:bodyPr/>
          <a:lstStyle/>
          <a:p>
            <a:r>
              <a:rPr lang="en-US"/>
              <a:t>S. Cunningham;  Intel Corporation; 2013</a:t>
            </a:r>
          </a:p>
        </p:txBody>
      </p:sp>
      <p:sp>
        <p:nvSpPr>
          <p:cNvPr id="7" name="Slide Number Placeholder 6"/>
          <p:cNvSpPr>
            <a:spLocks noGrp="1"/>
          </p:cNvSpPr>
          <p:nvPr>
            <p:ph type="sldNum" sz="quarter" idx="12"/>
          </p:nvPr>
        </p:nvSpPr>
        <p:spPr/>
        <p:txBody>
          <a:bodyPr/>
          <a:lstStyle/>
          <a:p>
            <a:fld id="{778D0224-7849-4939-A284-59648356A652}" type="slidenum">
              <a:rPr lang="en-US" smtClean="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B47EF2-9A3F-4C1C-A66D-DA41C3B8537F}" type="datetime1">
              <a:rPr lang="en-US" smtClean="0"/>
              <a:t>7/17/2023</a:t>
            </a:fld>
            <a:endParaRPr lang="en-US"/>
          </a:p>
        </p:txBody>
      </p:sp>
      <p:sp>
        <p:nvSpPr>
          <p:cNvPr id="5" name="Footer Placeholder 4"/>
          <p:cNvSpPr>
            <a:spLocks noGrp="1"/>
          </p:cNvSpPr>
          <p:nvPr>
            <p:ph type="ftr" sz="quarter" idx="11"/>
          </p:nvPr>
        </p:nvSpPr>
        <p:spPr/>
        <p:txBody>
          <a:bodyPr/>
          <a:lstStyle/>
          <a:p>
            <a:r>
              <a:rPr lang="en-US"/>
              <a:t>S. Cunningham;  Intel Corporation; 2013</a:t>
            </a:r>
          </a:p>
        </p:txBody>
      </p:sp>
      <p:sp>
        <p:nvSpPr>
          <p:cNvPr id="6" name="Slide Number Placeholder 5"/>
          <p:cNvSpPr>
            <a:spLocks noGrp="1"/>
          </p:cNvSpPr>
          <p:nvPr>
            <p:ph type="sldNum" sz="quarter" idx="12"/>
          </p:nvPr>
        </p:nvSpPr>
        <p:spPr/>
        <p:txBody>
          <a:bodyPr/>
          <a:lstStyle/>
          <a:p>
            <a:fld id="{778D0224-7849-4939-A284-59648356A652}"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7" name="bg object 17"/>
          <p:cNvSpPr/>
          <p:nvPr/>
        </p:nvSpPr>
        <p:spPr>
          <a:xfrm>
            <a:off x="7590262" y="6307195"/>
            <a:ext cx="1072296" cy="83974"/>
          </a:xfrm>
          <a:prstGeom prst="rect">
            <a:avLst/>
          </a:prstGeom>
          <a:blipFill>
            <a:blip r:embed="rId2" cstate="print"/>
            <a:stretch>
              <a:fillRect/>
            </a:stretch>
          </a:blipFill>
        </p:spPr>
        <p:txBody>
          <a:bodyPr wrap="square" lIns="0" tIns="0" rIns="0" bIns="0" rtlCol="0"/>
          <a:lstStyle/>
          <a:p>
            <a:endParaRPr/>
          </a:p>
        </p:txBody>
      </p:sp>
      <p:sp>
        <p:nvSpPr>
          <p:cNvPr id="18" name="bg object 18"/>
          <p:cNvSpPr/>
          <p:nvPr/>
        </p:nvSpPr>
        <p:spPr>
          <a:xfrm>
            <a:off x="7587995" y="6425004"/>
            <a:ext cx="1083141" cy="314164"/>
          </a:xfrm>
          <a:prstGeom prst="rect">
            <a:avLst/>
          </a:prstGeom>
          <a:blipFill>
            <a:blip r:embed="rId3" cstate="print"/>
            <a:stretch>
              <a:fillRect/>
            </a:stretch>
          </a:blipFill>
        </p:spPr>
        <p:txBody>
          <a:bodyPr wrap="square" lIns="0" tIns="0" rIns="0" bIns="0" rtlCol="0"/>
          <a:lstStyle/>
          <a:p>
            <a:endParaRPr/>
          </a:p>
        </p:txBody>
      </p:sp>
      <p:sp>
        <p:nvSpPr>
          <p:cNvPr id="19" name="bg object 19"/>
          <p:cNvSpPr/>
          <p:nvPr/>
        </p:nvSpPr>
        <p:spPr>
          <a:xfrm>
            <a:off x="8722793" y="6306583"/>
            <a:ext cx="323215" cy="430530"/>
          </a:xfrm>
          <a:custGeom>
            <a:avLst/>
            <a:gdLst/>
            <a:ahLst/>
            <a:cxnLst/>
            <a:rect l="l" t="t" r="r" b="b"/>
            <a:pathLst>
              <a:path w="323215" h="430529">
                <a:moveTo>
                  <a:pt x="323166" y="0"/>
                </a:moveTo>
                <a:lnTo>
                  <a:pt x="0" y="0"/>
                </a:lnTo>
                <a:lnTo>
                  <a:pt x="0" y="430168"/>
                </a:lnTo>
                <a:lnTo>
                  <a:pt x="323166" y="430168"/>
                </a:lnTo>
                <a:lnTo>
                  <a:pt x="323166" y="375793"/>
                </a:lnTo>
                <a:lnTo>
                  <a:pt x="96545" y="375793"/>
                </a:lnTo>
                <a:lnTo>
                  <a:pt x="96545" y="335312"/>
                </a:lnTo>
                <a:lnTo>
                  <a:pt x="97028" y="335312"/>
                </a:lnTo>
                <a:lnTo>
                  <a:pt x="111489" y="331186"/>
                </a:lnTo>
                <a:lnTo>
                  <a:pt x="123452" y="319981"/>
                </a:lnTo>
                <a:lnTo>
                  <a:pt x="131598" y="303452"/>
                </a:lnTo>
                <a:lnTo>
                  <a:pt x="134607" y="283353"/>
                </a:lnTo>
                <a:lnTo>
                  <a:pt x="134607" y="162527"/>
                </a:lnTo>
                <a:lnTo>
                  <a:pt x="40841" y="162527"/>
                </a:lnTo>
                <a:lnTo>
                  <a:pt x="40841" y="53776"/>
                </a:lnTo>
                <a:lnTo>
                  <a:pt x="323166" y="53776"/>
                </a:lnTo>
                <a:lnTo>
                  <a:pt x="323166" y="0"/>
                </a:lnTo>
                <a:close/>
              </a:path>
              <a:path w="323215" h="430529">
                <a:moveTo>
                  <a:pt x="218948" y="126271"/>
                </a:moveTo>
                <a:lnTo>
                  <a:pt x="209229" y="127877"/>
                </a:lnTo>
                <a:lnTo>
                  <a:pt x="200695" y="132315"/>
                </a:lnTo>
                <a:lnTo>
                  <a:pt x="193689" y="139018"/>
                </a:lnTo>
                <a:lnTo>
                  <a:pt x="188558" y="147420"/>
                </a:lnTo>
                <a:lnTo>
                  <a:pt x="188558" y="283353"/>
                </a:lnTo>
                <a:lnTo>
                  <a:pt x="191568" y="303452"/>
                </a:lnTo>
                <a:lnTo>
                  <a:pt x="199720" y="319981"/>
                </a:lnTo>
                <a:lnTo>
                  <a:pt x="211702" y="331186"/>
                </a:lnTo>
                <a:lnTo>
                  <a:pt x="226198" y="335312"/>
                </a:lnTo>
                <a:lnTo>
                  <a:pt x="226621" y="335312"/>
                </a:lnTo>
                <a:lnTo>
                  <a:pt x="226621" y="375793"/>
                </a:lnTo>
                <a:lnTo>
                  <a:pt x="323166" y="375793"/>
                </a:lnTo>
                <a:lnTo>
                  <a:pt x="323166" y="162527"/>
                </a:lnTo>
                <a:lnTo>
                  <a:pt x="251995" y="162527"/>
                </a:lnTo>
                <a:lnTo>
                  <a:pt x="249381" y="148449"/>
                </a:lnTo>
                <a:lnTo>
                  <a:pt x="242268" y="136921"/>
                </a:lnTo>
                <a:lnTo>
                  <a:pt x="231758" y="129132"/>
                </a:lnTo>
                <a:lnTo>
                  <a:pt x="218948" y="126271"/>
                </a:lnTo>
                <a:close/>
              </a:path>
              <a:path w="323215" h="430529">
                <a:moveTo>
                  <a:pt x="104278" y="126271"/>
                </a:moveTo>
                <a:lnTo>
                  <a:pt x="91458" y="129132"/>
                </a:lnTo>
                <a:lnTo>
                  <a:pt x="80927" y="136921"/>
                </a:lnTo>
                <a:lnTo>
                  <a:pt x="73794" y="148449"/>
                </a:lnTo>
                <a:lnTo>
                  <a:pt x="71170" y="162527"/>
                </a:lnTo>
                <a:lnTo>
                  <a:pt x="134607" y="162527"/>
                </a:lnTo>
                <a:lnTo>
                  <a:pt x="134607" y="147420"/>
                </a:lnTo>
                <a:lnTo>
                  <a:pt x="129486" y="139018"/>
                </a:lnTo>
                <a:lnTo>
                  <a:pt x="122501" y="132315"/>
                </a:lnTo>
                <a:lnTo>
                  <a:pt x="113987" y="127877"/>
                </a:lnTo>
                <a:lnTo>
                  <a:pt x="104278" y="126271"/>
                </a:lnTo>
                <a:close/>
              </a:path>
              <a:path w="323215" h="430529">
                <a:moveTo>
                  <a:pt x="323166" y="53776"/>
                </a:moveTo>
                <a:lnTo>
                  <a:pt x="282385" y="53776"/>
                </a:lnTo>
                <a:lnTo>
                  <a:pt x="282385" y="162527"/>
                </a:lnTo>
                <a:lnTo>
                  <a:pt x="323166" y="162527"/>
                </a:lnTo>
                <a:lnTo>
                  <a:pt x="323166" y="53776"/>
                </a:lnTo>
                <a:close/>
              </a:path>
            </a:pathLst>
          </a:custGeom>
          <a:solidFill>
            <a:srgbClr val="FDFDFD"/>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5400" b="1" i="0">
                <a:solidFill>
                  <a:schemeClr val="bg1"/>
                </a:solidFill>
                <a:latin typeface="Garamond"/>
                <a:cs typeface="Garamond"/>
              </a:defRPr>
            </a:lvl1pPr>
          </a:lstStyle>
          <a:p>
            <a:endParaRPr/>
          </a:p>
        </p:txBody>
      </p:sp>
      <p:sp>
        <p:nvSpPr>
          <p:cNvPr id="3" name="Holder 3"/>
          <p:cNvSpPr>
            <a:spLocks noGrp="1"/>
          </p:cNvSpPr>
          <p:nvPr>
            <p:ph type="body" idx="1"/>
          </p:nvPr>
        </p:nvSpPr>
        <p:spPr/>
        <p:txBody>
          <a:bodyPr lIns="0" tIns="0" rIns="0" bIns="0"/>
          <a:lstStyle>
            <a:lvl1pPr>
              <a:defRPr sz="1800" b="0" i="0">
                <a:solidFill>
                  <a:schemeClr val="bg1"/>
                </a:solidFill>
                <a:latin typeface="Baskerville Old Face"/>
                <a:cs typeface="Baskerville Old Fac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27" y="274638"/>
            <a:ext cx="7162799" cy="944562"/>
          </a:xfrm>
        </p:spPr>
        <p:txBody>
          <a:bodyPr/>
          <a:lstStyle>
            <a:lvl1pPr algn="l">
              <a:defRPr b="0">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D3156AF-5727-4BA0-BEA0-8CDC6E0900A5}"/>
              </a:ext>
            </a:extLst>
          </p:cNvPr>
          <p:cNvSpPr>
            <a:spLocks noGrp="1"/>
          </p:cNvSpPr>
          <p:nvPr>
            <p:ph type="dt" sz="half" idx="10"/>
          </p:nvPr>
        </p:nvSpPr>
        <p:spPr/>
        <p:txBody>
          <a:bodyPr/>
          <a:lstStyle>
            <a:lvl1pPr fontAlgn="base">
              <a:spcBef>
                <a:spcPct val="0"/>
              </a:spcBef>
              <a:spcAft>
                <a:spcPct val="0"/>
              </a:spcAft>
              <a:defRPr>
                <a:latin typeface="Arial" pitchFamily="34" charset="0"/>
              </a:defRPr>
            </a:lvl1pPr>
          </a:lstStyle>
          <a:p>
            <a:pPr>
              <a:defRPr/>
            </a:pPr>
            <a:fld id="{EE7FEC01-41D7-4F29-9D4C-E91690C6C9BD}" type="datetime1">
              <a:rPr lang="en-US"/>
              <a:pPr>
                <a:defRPr/>
              </a:pPr>
              <a:t>7/17/2023</a:t>
            </a:fld>
            <a:endParaRPr lang="en-US" dirty="0"/>
          </a:p>
        </p:txBody>
      </p:sp>
      <p:sp>
        <p:nvSpPr>
          <p:cNvPr id="5" name="Footer Placeholder 4">
            <a:extLst>
              <a:ext uri="{FF2B5EF4-FFF2-40B4-BE49-F238E27FC236}">
                <a16:creationId xmlns:a16="http://schemas.microsoft.com/office/drawing/2014/main" id="{6E2B325B-0310-460E-A5D6-1E66A4F01400}"/>
              </a:ext>
            </a:extLst>
          </p:cNvPr>
          <p:cNvSpPr>
            <a:spLocks noGrp="1"/>
          </p:cNvSpPr>
          <p:nvPr>
            <p:ph type="ftr" sz="quarter" idx="11"/>
          </p:nvPr>
        </p:nvSpPr>
        <p:spPr/>
        <p:txBody>
          <a:bodyPr/>
          <a:lstStyle>
            <a:lvl1pPr fontAlgn="base">
              <a:spcBef>
                <a:spcPct val="0"/>
              </a:spcBef>
              <a:spcAft>
                <a:spcPct val="0"/>
              </a:spcAft>
              <a:defRPr>
                <a:latin typeface="Arial" pitchFamily="34" charset="0"/>
              </a:defRPr>
            </a:lvl1pPr>
          </a:lstStyle>
          <a:p>
            <a:pPr>
              <a:defRPr/>
            </a:pPr>
            <a:endParaRPr lang="en-US"/>
          </a:p>
        </p:txBody>
      </p:sp>
    </p:spTree>
    <p:extLst>
      <p:ext uri="{BB962C8B-B14F-4D97-AF65-F5344CB8AC3E}">
        <p14:creationId xmlns:p14="http://schemas.microsoft.com/office/powerpoint/2010/main" val="37238017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1"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F13D747-EEDB-4752-8A0E-D667F0E00B57}" type="datetime1">
              <a:rPr lang="en-US" smtClean="0">
                <a:solidFill>
                  <a:prstClr val="black">
                    <a:tint val="75000"/>
                  </a:prstClr>
                </a:solidFill>
              </a:rPr>
              <a:pPr/>
              <a:t>7/17/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S. Cunningham;  Intel Corporation; 2013</a:t>
            </a:r>
          </a:p>
        </p:txBody>
      </p:sp>
      <p:sp>
        <p:nvSpPr>
          <p:cNvPr id="7" name="Slide Number Placeholder 6"/>
          <p:cNvSpPr>
            <a:spLocks noGrp="1"/>
          </p:cNvSpPr>
          <p:nvPr>
            <p:ph type="sldNum" sz="quarter" idx="12"/>
          </p:nvPr>
        </p:nvSpPr>
        <p:spPr/>
        <p:txBody>
          <a:bodyPr/>
          <a:lstStyle/>
          <a:p>
            <a:fld id="{778D0224-7849-4939-A284-59648356A652}"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3991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4AD190BC-E08B-4EE5-A8F1-D579F087DC40}" type="slidenum">
              <a:rPr lang="en-CA" smtClean="0"/>
              <a:t>‹#›</a:t>
            </a:fld>
            <a:endParaRPr lang="en-CA" dirty="0"/>
          </a:p>
        </p:txBody>
      </p:sp>
    </p:spTree>
    <p:extLst>
      <p:ext uri="{BB962C8B-B14F-4D97-AF65-F5344CB8AC3E}">
        <p14:creationId xmlns:p14="http://schemas.microsoft.com/office/powerpoint/2010/main" val="2434317192"/>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917B7-9424-46A5-B3D2-25FC48602F4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D938CE0-577E-4373-B711-6FADD89EC3DB}"/>
              </a:ext>
            </a:extLst>
          </p:cNvPr>
          <p:cNvSpPr>
            <a:spLocks noGrp="1"/>
          </p:cNvSpPr>
          <p:nvPr>
            <p:ph idx="1"/>
          </p:nvPr>
        </p:nvSpPr>
        <p:spPr/>
        <p:txBody>
          <a:bodyPr/>
          <a:lstStyle>
            <a:lvl1pPr>
              <a:defRPr>
                <a:latin typeface="Open Sans" panose="020B0606030504020204" pitchFamily="34" charset="0"/>
                <a:ea typeface="Open Sans" panose="020B0606030504020204" pitchFamily="34" charset="0"/>
                <a:cs typeface="Open Sans" panose="020B0606030504020204" pitchFamily="34" charset="0"/>
              </a:defRPr>
            </a:lvl1pPr>
            <a:lvl2pPr>
              <a:defRPr>
                <a:latin typeface="Open Sans" panose="020B0606030504020204" pitchFamily="34" charset="0"/>
                <a:ea typeface="Open Sans" panose="020B0606030504020204" pitchFamily="34" charset="0"/>
                <a:cs typeface="Open Sans" panose="020B0606030504020204" pitchFamily="34" charset="0"/>
              </a:defRPr>
            </a:lvl2pPr>
            <a:lvl3pPr>
              <a:defRPr>
                <a:latin typeface="Open Sans" panose="020B0606030504020204" pitchFamily="34" charset="0"/>
                <a:ea typeface="Open Sans" panose="020B0606030504020204" pitchFamily="34" charset="0"/>
                <a:cs typeface="Open Sans" panose="020B0606030504020204" pitchFamily="34" charset="0"/>
              </a:defRPr>
            </a:lvl3pPr>
            <a:lvl4pPr>
              <a:defRPr>
                <a:latin typeface="Open Sans" panose="020B0606030504020204" pitchFamily="34" charset="0"/>
                <a:ea typeface="Open Sans" panose="020B0606030504020204" pitchFamily="34" charset="0"/>
                <a:cs typeface="Open Sans" panose="020B0606030504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pic>
        <p:nvPicPr>
          <p:cNvPr id="7" name="Picture 6">
            <a:extLst>
              <a:ext uri="{FF2B5EF4-FFF2-40B4-BE49-F238E27FC236}">
                <a16:creationId xmlns:a16="http://schemas.microsoft.com/office/drawing/2014/main" id="{BE20928F-7B24-435B-99C8-0284AB767C4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353" y="6543006"/>
            <a:ext cx="2483698" cy="219553"/>
          </a:xfrm>
          <a:prstGeom prst="rect">
            <a:avLst/>
          </a:prstGeom>
        </p:spPr>
      </p:pic>
      <p:sp>
        <p:nvSpPr>
          <p:cNvPr id="6" name="Date Placeholder 5">
            <a:extLst>
              <a:ext uri="{FF2B5EF4-FFF2-40B4-BE49-F238E27FC236}">
                <a16:creationId xmlns:a16="http://schemas.microsoft.com/office/drawing/2014/main" id="{3B9B2F65-1158-4BC0-9CEA-80ECA244B5FE}"/>
              </a:ext>
            </a:extLst>
          </p:cNvPr>
          <p:cNvSpPr>
            <a:spLocks noGrp="1"/>
          </p:cNvSpPr>
          <p:nvPr>
            <p:ph type="dt" sz="half" idx="10"/>
          </p:nvPr>
        </p:nvSpPr>
        <p:spPr/>
        <p:txBody>
          <a:bodyPr/>
          <a:lstStyle/>
          <a:p>
            <a:fld id="{13F54AF6-5BA3-4B9B-9E5C-5AD3EAFD3D83}" type="datetime1">
              <a:rPr lang="en-CA" smtClean="0"/>
              <a:t>2023-07-17</a:t>
            </a:fld>
            <a:endParaRPr lang="en-CA"/>
          </a:p>
        </p:txBody>
      </p:sp>
      <p:sp>
        <p:nvSpPr>
          <p:cNvPr id="23" name="Footer Placeholder 22">
            <a:extLst>
              <a:ext uri="{FF2B5EF4-FFF2-40B4-BE49-F238E27FC236}">
                <a16:creationId xmlns:a16="http://schemas.microsoft.com/office/drawing/2014/main" id="{AB228025-7DDC-4C10-9A1C-94CA8147A715}"/>
              </a:ext>
            </a:extLst>
          </p:cNvPr>
          <p:cNvSpPr>
            <a:spLocks noGrp="1"/>
          </p:cNvSpPr>
          <p:nvPr>
            <p:ph type="ftr" sz="quarter" idx="11"/>
          </p:nvPr>
        </p:nvSpPr>
        <p:spPr/>
        <p:txBody>
          <a:bodyPr/>
          <a:lstStyle/>
          <a:p>
            <a:endParaRPr lang="en-CA"/>
          </a:p>
        </p:txBody>
      </p:sp>
      <p:sp>
        <p:nvSpPr>
          <p:cNvPr id="8" name="Slide Number Placeholder 2">
            <a:extLst>
              <a:ext uri="{FF2B5EF4-FFF2-40B4-BE49-F238E27FC236}">
                <a16:creationId xmlns:a16="http://schemas.microsoft.com/office/drawing/2014/main" id="{46B7E961-42D4-46BE-88FC-B12D5DE472D0}"/>
              </a:ext>
            </a:extLst>
          </p:cNvPr>
          <p:cNvSpPr>
            <a:spLocks noGrp="1"/>
          </p:cNvSpPr>
          <p:nvPr>
            <p:ph type="sldNum" sz="quarter" idx="12"/>
          </p:nvPr>
        </p:nvSpPr>
        <p:spPr>
          <a:xfrm>
            <a:off x="6457950" y="6356351"/>
            <a:ext cx="2057400" cy="365125"/>
          </a:xfrm>
          <a:prstGeom prst="rect">
            <a:avLst/>
          </a:prstGeom>
        </p:spPr>
        <p:txBody>
          <a:bodyPr/>
          <a:lstStyle/>
          <a:p>
            <a:fld id="{602F7A02-EF0D-4D82-9BFD-3DDF074AABBD}" type="slidenum">
              <a:rPr lang="en-CA" smtClean="0"/>
              <a:t>‹#›</a:t>
            </a:fld>
            <a:endParaRPr lang="en-CA" dirty="0"/>
          </a:p>
        </p:txBody>
      </p:sp>
    </p:spTree>
    <p:extLst>
      <p:ext uri="{BB962C8B-B14F-4D97-AF65-F5344CB8AC3E}">
        <p14:creationId xmlns:p14="http://schemas.microsoft.com/office/powerpoint/2010/main" val="4104728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7409"/>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2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843436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72EE94-3B56-4DF0-93A4-5CBF4C9E8CFC}"/>
              </a:ext>
            </a:extLst>
          </p:cNvPr>
          <p:cNvSpPr>
            <a:spLocks noGrp="1"/>
          </p:cNvSpPr>
          <p:nvPr>
            <p:ph type="dt" sz="half" idx="10"/>
          </p:nvPr>
        </p:nvSpPr>
        <p:spPr/>
        <p:txBody>
          <a:bodyPr/>
          <a:lstStyle/>
          <a:p>
            <a:fld id="{25C6B4B3-7F54-45F3-991E-973A1E34EA1C}" type="datetime1">
              <a:rPr lang="en-CA" smtClean="0"/>
              <a:t>2023-07-17</a:t>
            </a:fld>
            <a:endParaRPr lang="en-CA"/>
          </a:p>
        </p:txBody>
      </p:sp>
      <p:sp>
        <p:nvSpPr>
          <p:cNvPr id="3" name="Footer Placeholder 2">
            <a:extLst>
              <a:ext uri="{FF2B5EF4-FFF2-40B4-BE49-F238E27FC236}">
                <a16:creationId xmlns:a16="http://schemas.microsoft.com/office/drawing/2014/main" id="{AB3798EF-C20F-499C-9576-7F474B3627A8}"/>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F6CFDAD6-D466-4FFD-8E51-BCDAA8E72EC5}"/>
              </a:ext>
            </a:extLst>
          </p:cNvPr>
          <p:cNvSpPr>
            <a:spLocks noGrp="1"/>
          </p:cNvSpPr>
          <p:nvPr>
            <p:ph type="sldNum" sz="quarter" idx="12"/>
          </p:nvPr>
        </p:nvSpPr>
        <p:spPr>
          <a:xfrm>
            <a:off x="6457950" y="6356351"/>
            <a:ext cx="2057400" cy="365125"/>
          </a:xfrm>
          <a:prstGeom prst="rect">
            <a:avLst/>
          </a:prstGeom>
        </p:spPr>
        <p:txBody>
          <a:bodyPr/>
          <a:lstStyle/>
          <a:p>
            <a:fld id="{B1F560D5-53A7-4969-B8DF-E1F637D39903}" type="slidenum">
              <a:rPr lang="en-CA" smtClean="0"/>
              <a:t>‹#›</a:t>
            </a:fld>
            <a:endParaRPr lang="en-CA"/>
          </a:p>
        </p:txBody>
      </p:sp>
    </p:spTree>
    <p:extLst>
      <p:ext uri="{BB962C8B-B14F-4D97-AF65-F5344CB8AC3E}">
        <p14:creationId xmlns:p14="http://schemas.microsoft.com/office/powerpoint/2010/main" val="20175732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BC748-5FFD-4997-B315-48B3DB90DD4E}"/>
              </a:ext>
            </a:extLst>
          </p:cNvPr>
          <p:cNvSpPr>
            <a:spLocks noGrp="1"/>
          </p:cNvSpPr>
          <p:nvPr>
            <p:ph type="title"/>
          </p:nvPr>
        </p:nvSpPr>
        <p:spPr>
          <a:xfrm>
            <a:off x="316266" y="1"/>
            <a:ext cx="7793485" cy="847171"/>
          </a:xfrm>
        </p:spPr>
        <p:txBody>
          <a:bodyPr anchor="ctr">
            <a:normAutofit/>
          </a:bodyPr>
          <a:lstStyle>
            <a:lvl1pPr>
              <a:defRPr sz="2700">
                <a:solidFill>
                  <a:schemeClr val="tx1"/>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9086DCD9-02E9-41C6-A3B0-C83597FC0633}"/>
              </a:ext>
            </a:extLst>
          </p:cNvPr>
          <p:cNvSpPr>
            <a:spLocks noGrp="1"/>
          </p:cNvSpPr>
          <p:nvPr>
            <p:ph idx="1"/>
          </p:nvPr>
        </p:nvSpPr>
        <p:spPr>
          <a:xfrm>
            <a:off x="316267" y="1460500"/>
            <a:ext cx="7793485" cy="44076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77B5B28-D5DD-4164-A221-62BC40EB330C}"/>
              </a:ext>
            </a:extLst>
          </p:cNvPr>
          <p:cNvSpPr>
            <a:spLocks noGrp="1"/>
          </p:cNvSpPr>
          <p:nvPr>
            <p:ph type="ftr" sz="quarter" idx="11"/>
          </p:nvPr>
        </p:nvSpPr>
        <p:spPr>
          <a:xfrm>
            <a:off x="316267" y="6338534"/>
            <a:ext cx="3086100" cy="365125"/>
          </a:xfrm>
        </p:spPr>
        <p:txBody>
          <a:bodyPr/>
          <a:lstStyle/>
          <a:p>
            <a:endParaRPr lang="en-US" dirty="0"/>
          </a:p>
        </p:txBody>
      </p:sp>
      <p:sp>
        <p:nvSpPr>
          <p:cNvPr id="7" name="Rectangle 6">
            <a:extLst>
              <a:ext uri="{FF2B5EF4-FFF2-40B4-BE49-F238E27FC236}">
                <a16:creationId xmlns:a16="http://schemas.microsoft.com/office/drawing/2014/main" id="{E6905D8C-DD24-4D43-8C0B-61502C19D72B}"/>
              </a:ext>
            </a:extLst>
          </p:cNvPr>
          <p:cNvSpPr/>
          <p:nvPr userDrawn="1"/>
        </p:nvSpPr>
        <p:spPr>
          <a:xfrm>
            <a:off x="0" y="0"/>
            <a:ext cx="119849" cy="6858000"/>
          </a:xfrm>
          <a:prstGeom prst="rect">
            <a:avLst/>
          </a:prstGeom>
          <a:solidFill>
            <a:srgbClr val="BB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6" name="Straight Connector 5">
            <a:extLst>
              <a:ext uri="{FF2B5EF4-FFF2-40B4-BE49-F238E27FC236}">
                <a16:creationId xmlns:a16="http://schemas.microsoft.com/office/drawing/2014/main" id="{B6A57D11-065A-4E8A-9A96-AFBC868762DA}"/>
              </a:ext>
            </a:extLst>
          </p:cNvPr>
          <p:cNvCxnSpPr>
            <a:cxnSpLocks/>
          </p:cNvCxnSpPr>
          <p:nvPr userDrawn="1"/>
        </p:nvCxnSpPr>
        <p:spPr>
          <a:xfrm>
            <a:off x="242280" y="847185"/>
            <a:ext cx="8776360" cy="0"/>
          </a:xfrm>
          <a:prstGeom prst="line">
            <a:avLst/>
          </a:prstGeom>
          <a:ln w="38100">
            <a:solidFill>
              <a:srgbClr val="BB0000"/>
            </a:solidFill>
          </a:ln>
          <a:effectLst>
            <a:softEdge rad="0"/>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97602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5B47EF2-9A3F-4C1C-A66D-DA41C3B8537F}" type="datetime1">
              <a:rPr lang="en-US" smtClean="0"/>
              <a:t>7/17/2023</a:t>
            </a:fld>
            <a:endParaRPr lang="en-US"/>
          </a:p>
        </p:txBody>
      </p:sp>
      <p:sp>
        <p:nvSpPr>
          <p:cNvPr id="5" name="Footer Placeholder 4"/>
          <p:cNvSpPr>
            <a:spLocks noGrp="1"/>
          </p:cNvSpPr>
          <p:nvPr>
            <p:ph type="ftr" sz="quarter" idx="11"/>
          </p:nvPr>
        </p:nvSpPr>
        <p:spPr/>
        <p:txBody>
          <a:bodyPr/>
          <a:lstStyle/>
          <a:p>
            <a:r>
              <a:rPr lang="en-US"/>
              <a:t>S. Cunningham;  Intel Corporation; 2013</a:t>
            </a:r>
          </a:p>
        </p:txBody>
      </p:sp>
      <p:sp>
        <p:nvSpPr>
          <p:cNvPr id="6" name="Slide Number Placeholder 5"/>
          <p:cNvSpPr>
            <a:spLocks noGrp="1"/>
          </p:cNvSpPr>
          <p:nvPr>
            <p:ph type="sldNum" sz="quarter" idx="12"/>
          </p:nvPr>
        </p:nvSpPr>
        <p:spPr/>
        <p:txBody>
          <a:bodyPr/>
          <a:lstStyle/>
          <a:p>
            <a:fld id="{778D0224-7849-4939-A284-59648356A652}" type="slidenum">
              <a:rPr lang="en-US" smtClean="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Title and Subtitle">
    <p:spTree>
      <p:nvGrpSpPr>
        <p:cNvPr id="1" name=""/>
        <p:cNvGrpSpPr/>
        <p:nvPr/>
      </p:nvGrpSpPr>
      <p:grpSpPr>
        <a:xfrm>
          <a:off x="0" y="0"/>
          <a:ext cx="0" cy="0"/>
          <a:chOff x="0" y="0"/>
          <a:chExt cx="0" cy="0"/>
        </a:xfrm>
      </p:grpSpPr>
      <p:sp>
        <p:nvSpPr>
          <p:cNvPr id="131" name="Rectangle 6"/>
          <p:cNvSpPr/>
          <p:nvPr/>
        </p:nvSpPr>
        <p:spPr>
          <a:xfrm>
            <a:off x="0" y="0"/>
            <a:ext cx="171450" cy="6858000"/>
          </a:xfrm>
          <a:prstGeom prst="rect">
            <a:avLst/>
          </a:prstGeom>
          <a:solidFill>
            <a:schemeClr val="accent1"/>
          </a:solidFill>
          <a:ln w="12700">
            <a:miter lim="400000"/>
          </a:ln>
        </p:spPr>
        <p:txBody>
          <a:bodyPr lIns="34289" tIns="34289" rIns="34289" bIns="34289"/>
          <a:lstStyle/>
          <a:p>
            <a:pPr defTabSz="514350">
              <a:defRPr>
                <a:solidFill>
                  <a:srgbClr val="3848A3"/>
                </a:solidFill>
                <a:latin typeface="Times New Roman"/>
                <a:ea typeface="Times New Roman"/>
                <a:cs typeface="Times New Roman"/>
                <a:sym typeface="Times New Roman"/>
              </a:defRPr>
            </a:pPr>
            <a:endParaRPr sz="1350"/>
          </a:p>
        </p:txBody>
      </p:sp>
      <p:sp>
        <p:nvSpPr>
          <p:cNvPr id="132" name="Rectangle 7"/>
          <p:cNvSpPr/>
          <p:nvPr/>
        </p:nvSpPr>
        <p:spPr>
          <a:xfrm>
            <a:off x="501523" y="808522"/>
            <a:ext cx="838201" cy="76202"/>
          </a:xfrm>
          <a:prstGeom prst="rect">
            <a:avLst/>
          </a:prstGeom>
          <a:solidFill>
            <a:schemeClr val="accent2"/>
          </a:solidFill>
          <a:ln w="12700">
            <a:miter lim="400000"/>
          </a:ln>
        </p:spPr>
        <p:txBody>
          <a:bodyPr lIns="34289" tIns="34289" rIns="34289" bIns="34289"/>
          <a:lstStyle/>
          <a:p>
            <a:pPr>
              <a:defRPr sz="2400">
                <a:solidFill>
                  <a:srgbClr val="3848A3"/>
                </a:solidFill>
                <a:latin typeface="Times New Roman"/>
                <a:ea typeface="Times New Roman"/>
                <a:cs typeface="Times New Roman"/>
                <a:sym typeface="Times New Roman"/>
              </a:defRPr>
            </a:pPr>
            <a:endParaRPr sz="1800"/>
          </a:p>
        </p:txBody>
      </p:sp>
      <p:sp>
        <p:nvSpPr>
          <p:cNvPr id="133" name="Title Text"/>
          <p:cNvSpPr txBox="1">
            <a:spLocks noGrp="1"/>
          </p:cNvSpPr>
          <p:nvPr>
            <p:ph type="title"/>
          </p:nvPr>
        </p:nvSpPr>
        <p:spPr>
          <a:xfrm>
            <a:off x="501523" y="361705"/>
            <a:ext cx="8428317" cy="427568"/>
          </a:xfrm>
          <a:prstGeom prst="rect">
            <a:avLst/>
          </a:prstGeom>
        </p:spPr>
        <p:txBody>
          <a:bodyPr lIns="45718" tIns="45718" rIns="45718" bIns="45718"/>
          <a:lstStyle/>
          <a:p>
            <a:r>
              <a:t>Title Text</a:t>
            </a:r>
          </a:p>
        </p:txBody>
      </p:sp>
      <p:sp>
        <p:nvSpPr>
          <p:cNvPr id="134" name="Body Level One…"/>
          <p:cNvSpPr txBox="1">
            <a:spLocks noGrp="1"/>
          </p:cNvSpPr>
          <p:nvPr>
            <p:ph type="body" sz="quarter" idx="1"/>
          </p:nvPr>
        </p:nvSpPr>
        <p:spPr>
          <a:xfrm>
            <a:off x="501253" y="950974"/>
            <a:ext cx="8428586" cy="381038"/>
          </a:xfrm>
          <a:prstGeom prst="rect">
            <a:avLst/>
          </a:prstGeom>
        </p:spPr>
        <p:txBody>
          <a:bodyPr lIns="45718" tIns="45718" rIns="45718" bIns="45718"/>
          <a:lstStyle>
            <a:lvl1pPr marL="0" indent="0">
              <a:lnSpc>
                <a:spcPct val="90000"/>
              </a:lnSpc>
              <a:buSzTx/>
              <a:buFontTx/>
              <a:buNone/>
              <a:defRPr sz="1500">
                <a:solidFill>
                  <a:schemeClr val="accent2"/>
                </a:solidFill>
              </a:defRPr>
            </a:lvl1pPr>
            <a:lvl2pPr marL="400050" indent="-142875">
              <a:lnSpc>
                <a:spcPct val="90000"/>
              </a:lnSpc>
              <a:buFontTx/>
              <a:buChar char="•"/>
              <a:defRPr sz="1500">
                <a:solidFill>
                  <a:schemeClr val="accent2"/>
                </a:solidFill>
              </a:defRPr>
            </a:lvl2pPr>
            <a:lvl3pPr marL="685800" indent="-171450">
              <a:lnSpc>
                <a:spcPct val="90000"/>
              </a:lnSpc>
              <a:buFontTx/>
              <a:buChar char="•"/>
              <a:defRPr sz="1500">
                <a:solidFill>
                  <a:schemeClr val="accent2"/>
                </a:solidFill>
              </a:defRPr>
            </a:lvl3pPr>
            <a:lvl4pPr marL="969351" indent="-197826">
              <a:lnSpc>
                <a:spcPct val="90000"/>
              </a:lnSpc>
              <a:buFontTx/>
              <a:defRPr sz="1500">
                <a:solidFill>
                  <a:schemeClr val="accent2"/>
                </a:solidFill>
              </a:defRPr>
            </a:lvl4pPr>
            <a:lvl5pPr marL="1226526" indent="-197826">
              <a:lnSpc>
                <a:spcPct val="90000"/>
              </a:lnSpc>
              <a:buFontTx/>
              <a:defRPr sz="15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sp>
        <p:nvSpPr>
          <p:cNvPr id="135" name="Slide Number"/>
          <p:cNvSpPr txBox="1">
            <a:spLocks noGrp="1"/>
          </p:cNvSpPr>
          <p:nvPr>
            <p:ph type="sldNum" sz="quarter" idx="2"/>
          </p:nvPr>
        </p:nvSpPr>
        <p:spPr>
          <a:xfrm>
            <a:off x="8832980" y="6432871"/>
            <a:ext cx="173259" cy="212089"/>
          </a:xfrm>
          <a:prstGeom prst="rect">
            <a:avLst/>
          </a:prstGeom>
        </p:spPr>
        <p:txBody>
          <a:bodyPr lIns="45718" tIns="45718" rIns="45718" bIns="45718"/>
          <a:lstStyle/>
          <a:p>
            <a:fld id="{86CB4B4D-7CA3-9044-876B-883B54F8677D}" type="slidenum">
              <a:t>‹#›</a:t>
            </a:fld>
            <a:endParaRPr/>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6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68" name="Title Text"/>
          <p:cNvSpPr txBox="1">
            <a:spLocks noGrp="1"/>
          </p:cNvSpPr>
          <p:nvPr>
            <p:ph type="title"/>
          </p:nvPr>
        </p:nvSpPr>
        <p:spPr>
          <a:prstGeom prst="rect">
            <a:avLst/>
          </a:prstGeom>
        </p:spPr>
        <p:txBody>
          <a:bodyPr/>
          <a:lstStyle/>
          <a:p>
            <a:r>
              <a:t>Title Text</a:t>
            </a:r>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cSld name="Title Slide Option 1">
    <p:spTree>
      <p:nvGrpSpPr>
        <p:cNvPr id="1" name=""/>
        <p:cNvGrpSpPr/>
        <p:nvPr/>
      </p:nvGrpSpPr>
      <p:grpSpPr>
        <a:xfrm>
          <a:off x="0" y="0"/>
          <a:ext cx="0" cy="0"/>
          <a:chOff x="0" y="0"/>
          <a:chExt cx="0" cy="0"/>
        </a:xfrm>
      </p:grpSpPr>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4" name="Title Text"/>
          <p:cNvSpPr txBox="1">
            <a:spLocks noGrp="1"/>
          </p:cNvSpPr>
          <p:nvPr>
            <p:ph type="title"/>
          </p:nvPr>
        </p:nvSpPr>
        <p:spPr>
          <a:xfrm>
            <a:off x="402534" y="1307790"/>
            <a:ext cx="8166502" cy="1470026"/>
          </a:xfrm>
          <a:prstGeom prst="rect">
            <a:avLst/>
          </a:prstGeom>
        </p:spPr>
        <p:txBody>
          <a:bodyPr anchor="b"/>
          <a:lstStyle>
            <a:lvl1pPr>
              <a:defRPr sz="4050">
                <a:solidFill>
                  <a:schemeClr val="accent1"/>
                </a:solidFill>
              </a:defRPr>
            </a:lvl1pPr>
          </a:lstStyle>
          <a:p>
            <a:r>
              <a:t>Title Text</a:t>
            </a:r>
          </a:p>
        </p:txBody>
      </p:sp>
      <p:sp>
        <p:nvSpPr>
          <p:cNvPr id="15" name="Body Level One…"/>
          <p:cNvSpPr txBox="1">
            <a:spLocks noGrp="1"/>
          </p:cNvSpPr>
          <p:nvPr>
            <p:ph type="body" sz="half" idx="1"/>
          </p:nvPr>
        </p:nvSpPr>
        <p:spPr>
          <a:xfrm>
            <a:off x="402534" y="2777813"/>
            <a:ext cx="8166502" cy="1644958"/>
          </a:xfrm>
          <a:prstGeom prst="rect">
            <a:avLst/>
          </a:prstGeom>
        </p:spPr>
        <p:txBody>
          <a:bodyPr/>
          <a:lstStyle>
            <a:lvl1pPr marL="0" indent="0">
              <a:lnSpc>
                <a:spcPct val="90000"/>
              </a:lnSpc>
              <a:buSzTx/>
              <a:buFontTx/>
              <a:buNone/>
              <a:defRPr sz="3300">
                <a:solidFill>
                  <a:schemeClr val="accent2"/>
                </a:solidFill>
              </a:defRPr>
            </a:lvl1pPr>
            <a:lvl2pPr marL="0" indent="342900">
              <a:lnSpc>
                <a:spcPct val="90000"/>
              </a:lnSpc>
              <a:buSzTx/>
              <a:buFontTx/>
              <a:buNone/>
              <a:defRPr sz="3300">
                <a:solidFill>
                  <a:schemeClr val="accent2"/>
                </a:solidFill>
              </a:defRPr>
            </a:lvl2pPr>
            <a:lvl3pPr marL="0" indent="685800">
              <a:lnSpc>
                <a:spcPct val="90000"/>
              </a:lnSpc>
              <a:buSzTx/>
              <a:buFontTx/>
              <a:buNone/>
              <a:defRPr sz="3300">
                <a:solidFill>
                  <a:schemeClr val="accent2"/>
                </a:solidFill>
              </a:defRPr>
            </a:lvl3pPr>
            <a:lvl4pPr marL="0" indent="1028700">
              <a:lnSpc>
                <a:spcPct val="90000"/>
              </a:lnSpc>
              <a:buSzTx/>
              <a:buFontTx/>
              <a:buNone/>
              <a:defRPr sz="3300">
                <a:solidFill>
                  <a:schemeClr val="accent2"/>
                </a:solidFill>
              </a:defRPr>
            </a:lvl4pPr>
            <a:lvl5pPr marL="0" indent="1371600">
              <a:lnSpc>
                <a:spcPct val="90000"/>
              </a:lnSpc>
              <a:buSzTx/>
              <a:buFontTx/>
              <a:buNone/>
              <a:defRPr sz="3300">
                <a:solidFill>
                  <a:schemeClr val="accent2"/>
                </a:solidFill>
              </a:defRPr>
            </a:lvl5pPr>
          </a:lstStyle>
          <a:p>
            <a:r>
              <a:t>Body Level One</a:t>
            </a:r>
          </a:p>
          <a:p>
            <a:pPr lvl="1"/>
            <a:r>
              <a:t>Body Level Two</a:t>
            </a:r>
          </a:p>
          <a:p>
            <a:pPr lvl="2"/>
            <a:r>
              <a:t>Body Level Three</a:t>
            </a:r>
          </a:p>
          <a:p>
            <a:pPr lvl="3"/>
            <a:r>
              <a:t>Body Level Four</a:t>
            </a:r>
          </a:p>
          <a:p>
            <a:pPr lvl="4"/>
            <a:r>
              <a:t>Body Level Five</a:t>
            </a:r>
          </a:p>
        </p:txBody>
      </p:sp>
      <p:pic>
        <p:nvPicPr>
          <p:cNvPr id="16" name="Picture 3" descr="Picture 3"/>
          <p:cNvPicPr>
            <a:picLocks noChangeAspect="1"/>
          </p:cNvPicPr>
          <p:nvPr/>
        </p:nvPicPr>
        <p:blipFill>
          <a:blip r:embed="rId2"/>
          <a:stretch>
            <a:fillRect/>
          </a:stretch>
        </p:blipFill>
        <p:spPr>
          <a:xfrm>
            <a:off x="1854400" y="6231265"/>
            <a:ext cx="824507" cy="452389"/>
          </a:xfrm>
          <a:prstGeom prst="rect">
            <a:avLst/>
          </a:prstGeom>
          <a:ln w="12700">
            <a:miter lim="400000"/>
          </a:ln>
        </p:spPr>
      </p:pic>
      <p:pic>
        <p:nvPicPr>
          <p:cNvPr id="17" name="Picture 4" descr="Picture 4"/>
          <p:cNvPicPr>
            <a:picLocks noChangeAspect="1"/>
          </p:cNvPicPr>
          <p:nvPr/>
        </p:nvPicPr>
        <p:blipFill>
          <a:blip r:embed="rId3"/>
          <a:stretch>
            <a:fillRect/>
          </a:stretch>
        </p:blipFill>
        <p:spPr>
          <a:xfrm>
            <a:off x="200026" y="6254336"/>
            <a:ext cx="1516262" cy="400444"/>
          </a:xfrm>
          <a:prstGeom prst="rect">
            <a:avLst/>
          </a:prstGeom>
          <a:ln w="12700">
            <a:miter lim="400000"/>
          </a:ln>
        </p:spPr>
      </p:pic>
      <p:pic>
        <p:nvPicPr>
          <p:cNvPr id="18" name="Picture 15" descr="Picture 15"/>
          <p:cNvPicPr>
            <a:picLocks noChangeAspect="1"/>
          </p:cNvPicPr>
          <p:nvPr/>
        </p:nvPicPr>
        <p:blipFill>
          <a:blip r:embed="rId4"/>
          <a:stretch>
            <a:fillRect/>
          </a:stretch>
        </p:blipFill>
        <p:spPr>
          <a:xfrm>
            <a:off x="2286000" y="9525"/>
            <a:ext cx="6858000" cy="6858000"/>
          </a:xfrm>
          <a:prstGeom prst="rect">
            <a:avLst/>
          </a:prstGeom>
          <a:ln w="12700">
            <a:miter lim="400000"/>
          </a:ln>
        </p:spPr>
      </p:pic>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76" name="Rectangle 6"/>
          <p:cNvSpPr/>
          <p:nvPr/>
        </p:nvSpPr>
        <p:spPr>
          <a:xfrm>
            <a:off x="0" y="0"/>
            <a:ext cx="171450" cy="6858000"/>
          </a:xfrm>
          <a:prstGeom prst="rect">
            <a:avLst/>
          </a:prstGeom>
          <a:solidFill>
            <a:schemeClr val="accent1"/>
          </a:solidFill>
          <a:ln w="12700">
            <a:miter lim="400000"/>
          </a:ln>
        </p:spPr>
        <p:txBody>
          <a:bodyPr lIns="34289" rIns="34289"/>
          <a:lstStyle/>
          <a:p>
            <a:pPr defTabSz="514350">
              <a:defRPr>
                <a:solidFill>
                  <a:srgbClr val="3848A3"/>
                </a:solidFill>
                <a:latin typeface="Times New Roman"/>
                <a:ea typeface="Times New Roman"/>
                <a:cs typeface="Times New Roman"/>
                <a:sym typeface="Times New Roman"/>
              </a:defRPr>
            </a:pPr>
            <a:endParaRPr sz="1350"/>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85800" eaLnBrk="1" fontAlgn="auto" hangingPunct="1">
              <a:spcBef>
                <a:spcPts val="0"/>
              </a:spcBef>
              <a:spcAft>
                <a:spcPts val="0"/>
              </a:spcAft>
              <a:defRPr/>
            </a:pPr>
            <a:fld id="{85A18CF1-6F6D-4240-9741-FF1DC36A0EBC}" type="datetime1">
              <a:rPr lang="en-US" smtClean="0">
                <a:solidFill>
                  <a:srgbClr val="46464A">
                    <a:lumMod val="20000"/>
                    <a:lumOff val="80000"/>
                  </a:srgbClr>
                </a:solidFill>
                <a:latin typeface="Century Schoolbook" panose="02040604050505020304"/>
              </a:rPr>
              <a:pPr defTabSz="685800" eaLnBrk="1" fontAlgn="auto" hangingPunct="1">
                <a:spcBef>
                  <a:spcPts val="0"/>
                </a:spcBef>
                <a:spcAft>
                  <a:spcPts val="0"/>
                </a:spcAft>
                <a:defRPr/>
              </a:pPr>
              <a:t>7/17/2023</a:t>
            </a:fld>
            <a:endParaRPr lang="en-US">
              <a:solidFill>
                <a:srgbClr val="46464A">
                  <a:lumMod val="20000"/>
                  <a:lumOff val="80000"/>
                </a:srgbClr>
              </a:solidFill>
              <a:latin typeface="Century Schoolbook" panose="02040604050505020304"/>
            </a:endParaRPr>
          </a:p>
        </p:txBody>
      </p:sp>
      <p:sp>
        <p:nvSpPr>
          <p:cNvPr id="5" name="Footer Placeholder 4"/>
          <p:cNvSpPr>
            <a:spLocks noGrp="1"/>
          </p:cNvSpPr>
          <p:nvPr>
            <p:ph type="ftr" sz="quarter" idx="11"/>
          </p:nvPr>
        </p:nvSpPr>
        <p:spPr/>
        <p:txBody>
          <a:bodyPr/>
          <a:lstStyle/>
          <a:p>
            <a:pPr defTabSz="685800" eaLnBrk="1" fontAlgn="auto" hangingPunct="1">
              <a:spcBef>
                <a:spcPts val="0"/>
              </a:spcBef>
              <a:spcAft>
                <a:spcPts val="0"/>
              </a:spcAft>
              <a:defRPr/>
            </a:pPr>
            <a:endParaRPr lang="en-US">
              <a:solidFill>
                <a:srgbClr val="46464A">
                  <a:lumMod val="20000"/>
                  <a:lumOff val="80000"/>
                </a:srgbClr>
              </a:solidFill>
              <a:latin typeface="Century Schoolbook" panose="02040604050505020304"/>
            </a:endParaRPr>
          </a:p>
        </p:txBody>
      </p:sp>
      <p:sp>
        <p:nvSpPr>
          <p:cNvPr id="6" name="Slide Number Placeholder 5"/>
          <p:cNvSpPr>
            <a:spLocks noGrp="1"/>
          </p:cNvSpPr>
          <p:nvPr>
            <p:ph type="sldNum" sz="quarter" idx="12"/>
          </p:nvPr>
        </p:nvSpPr>
        <p:spPr/>
        <p:txBody>
          <a:bodyPr/>
          <a:lstStyle>
            <a:lvl1pPr>
              <a:defRPr sz="1500"/>
            </a:lvl1pPr>
          </a:lstStyle>
          <a:p>
            <a:pPr defTabSz="685800" eaLnBrk="1" fontAlgn="auto" hangingPunct="1">
              <a:spcBef>
                <a:spcPts val="0"/>
              </a:spcBef>
              <a:spcAft>
                <a:spcPts val="0"/>
              </a:spcAft>
              <a:defRPr/>
            </a:pPr>
            <a:fld id="{916F7459-FC5A-42D3-A687-25DF543000E5}" type="slidenum">
              <a:rPr lang="en-US" smtClean="0">
                <a:solidFill>
                  <a:srgbClr val="46464A">
                    <a:lumMod val="60000"/>
                    <a:lumOff val="40000"/>
                  </a:srgbClr>
                </a:solidFill>
                <a:latin typeface="Century Schoolbook" panose="02040604050505020304"/>
              </a:rPr>
              <a:pPr defTabSz="685800" eaLnBrk="1" fontAlgn="auto" hangingPunct="1">
                <a:spcBef>
                  <a:spcPts val="0"/>
                </a:spcBef>
                <a:spcAft>
                  <a:spcPts val="0"/>
                </a:spcAft>
                <a:defRPr/>
              </a:pPr>
              <a:t>‹#›</a:t>
            </a:fld>
            <a:endParaRPr lang="en-US" dirty="0">
              <a:solidFill>
                <a:srgbClr val="46464A">
                  <a:lumMod val="60000"/>
                  <a:lumOff val="40000"/>
                </a:srgbClr>
              </a:solidFill>
              <a:latin typeface="Century Schoolbook" panose="02040604050505020304"/>
            </a:endParaRPr>
          </a:p>
        </p:txBody>
      </p:sp>
    </p:spTree>
    <p:extLst>
      <p:ext uri="{BB962C8B-B14F-4D97-AF65-F5344CB8AC3E}">
        <p14:creationId xmlns:p14="http://schemas.microsoft.com/office/powerpoint/2010/main" val="21081261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
          <p:cNvSpPr>
            <a:spLocks noGrp="1" noChangeArrowheads="1"/>
          </p:cNvSpPr>
          <p:nvPr>
            <p:ph type="dt" sz="half" idx="10"/>
          </p:nvPr>
        </p:nvSpPr>
        <p:spPr>
          <a:ln/>
        </p:spPr>
        <p:txBody>
          <a:bodyPr/>
          <a:lstStyle>
            <a:lvl1pPr>
              <a:defRPr/>
            </a:lvl1pPr>
          </a:lstStyle>
          <a:p>
            <a:pPr>
              <a:defRPr/>
            </a:pPr>
            <a:fld id="{D580E5C5-2A09-41AC-B062-B6611A1C9C51}" type="datetime1">
              <a:rPr lang="de-DE">
                <a:solidFill>
                  <a:srgbClr val="000000"/>
                </a:solidFill>
              </a:rPr>
              <a:pPr>
                <a:defRPr/>
              </a:pPr>
              <a:t>17.07.2023</a:t>
            </a:fld>
            <a:endParaRPr lang="en-US">
              <a:solidFill>
                <a:srgbClr val="000000"/>
              </a:solidFill>
            </a:endParaRPr>
          </a:p>
        </p:txBody>
      </p:sp>
      <p:sp>
        <p:nvSpPr>
          <p:cNvPr id="5" name="Rectangle 18"/>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19"/>
          <p:cNvSpPr>
            <a:spLocks noGrp="1" noChangeArrowheads="1"/>
          </p:cNvSpPr>
          <p:nvPr>
            <p:ph type="sldNum" sz="quarter" idx="12"/>
          </p:nvPr>
        </p:nvSpPr>
        <p:spPr>
          <a:ln/>
        </p:spPr>
        <p:txBody>
          <a:bodyPr/>
          <a:lstStyle>
            <a:lvl1pPr>
              <a:defRPr/>
            </a:lvl1pPr>
          </a:lstStyle>
          <a:p>
            <a:pPr>
              <a:defRPr/>
            </a:pPr>
            <a:fld id="{A10AE3B3-1E64-4EAA-A37F-B93575D4EC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610750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CE602C9E-A961-495C-8366-EDCF114DFFBF}"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585945822"/>
      </p:ext>
    </p:extLst>
  </p:cSld>
  <p:clrMapOvr>
    <a:masterClrMapping/>
  </p:clrMapOvr>
  <p:transition>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405" y="13716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71607"/>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88398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5222" y="44624"/>
            <a:ext cx="8229758" cy="648072"/>
          </a:xfrm>
        </p:spPr>
        <p:txBody>
          <a:bodyPr/>
          <a:lstStyle>
            <a:lvl1pPr>
              <a:defRPr b="1"/>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noChangeArrowheads="1"/>
          </p:cNvSpPr>
          <p:nvPr>
            <p:ph type="sldNum" sz="quarter" idx="10"/>
          </p:nvPr>
        </p:nvSpPr>
        <p:spPr>
          <a:xfrm>
            <a:off x="4356016" y="6356176"/>
            <a:ext cx="504737" cy="457200"/>
          </a:xfrm>
          <a:prstGeom prst="rect">
            <a:avLst/>
          </a:prstGeom>
        </p:spPr>
        <p:txBody>
          <a:bodyPr/>
          <a:lstStyle>
            <a:lvl1pPr algn="l">
              <a:defRPr/>
            </a:lvl1pPr>
          </a:lstStyle>
          <a:p>
            <a:pPr>
              <a:defRPr/>
            </a:pPr>
            <a:fld id="{E48D7D60-526A-44CE-AB22-345BDD8D121C}" type="slidenum">
              <a:rPr lang="en-US"/>
              <a:pPr>
                <a:defRPr/>
              </a:pPr>
              <a:t>‹#›</a:t>
            </a:fld>
            <a:endParaRPr lang="en-US"/>
          </a:p>
        </p:txBody>
      </p:sp>
      <p:sp>
        <p:nvSpPr>
          <p:cNvPr id="6" name="Rectangle 2"/>
          <p:cNvSpPr>
            <a:spLocks noGrp="1" noChangeArrowheads="1"/>
          </p:cNvSpPr>
          <p:nvPr>
            <p:ph type="ftr" sz="quarter" idx="11"/>
          </p:nvPr>
        </p:nvSpPr>
        <p:spPr bwMode="auto">
          <a:xfrm>
            <a:off x="3052235" y="6214794"/>
            <a:ext cx="3091913" cy="310555"/>
          </a:xfrm>
          <a:prstGeom prst="rect">
            <a:avLst/>
          </a:prstGeom>
          <a:ln>
            <a:miter lim="800000"/>
            <a:headEnd/>
            <a:tailEnd/>
          </a:ln>
        </p:spPr>
        <p:txBody>
          <a:bodyPr vert="horz" wrap="square" lIns="91440" tIns="45720" rIns="91440" bIns="45720" numCol="1" anchor="b" anchorCtr="0" compatLnSpc="1">
            <a:prstTxWarp prst="textNoShape">
              <a:avLst/>
            </a:prstTxWarp>
          </a:bodyPr>
          <a:lstStyle>
            <a:lvl1pPr algn="ctr" eaLnBrk="1" hangingPunct="1">
              <a:defRPr sz="900">
                <a:cs typeface="+mn-cs"/>
              </a:defRPr>
            </a:lvl1pPr>
          </a:lstStyle>
          <a:p>
            <a:pPr fontAlgn="base">
              <a:spcBef>
                <a:spcPct val="0"/>
              </a:spcBef>
              <a:spcAft>
                <a:spcPct val="0"/>
              </a:spcAft>
              <a:defRPr/>
            </a:pPr>
            <a:r>
              <a:rPr lang="en-US" dirty="0">
                <a:solidFill>
                  <a:srgbClr val="3333FF"/>
                </a:solidFill>
                <a:latin typeface="Arial" charset="0"/>
              </a:rPr>
              <a:t>All rights reserved The Poirier Group 2012</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F4A91-0807-48CE-F0F4-280FFACFE22E}"/>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CA"/>
          </a:p>
        </p:txBody>
      </p:sp>
      <p:sp>
        <p:nvSpPr>
          <p:cNvPr id="3" name="Subtitle 2">
            <a:extLst>
              <a:ext uri="{FF2B5EF4-FFF2-40B4-BE49-F238E27FC236}">
                <a16:creationId xmlns:a16="http://schemas.microsoft.com/office/drawing/2014/main" id="{935BDC54-12C6-80AA-396F-75B152EE68C6}"/>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5BDF5B60-6D2D-D2BE-B4EB-12EC68122DE8}"/>
              </a:ext>
            </a:extLst>
          </p:cNvPr>
          <p:cNvSpPr>
            <a:spLocks noGrp="1"/>
          </p:cNvSpPr>
          <p:nvPr>
            <p:ph type="dt" sz="half" idx="10"/>
          </p:nvPr>
        </p:nvSpPr>
        <p:spPr/>
        <p:txBody>
          <a:bodyPr/>
          <a:lstStyle/>
          <a:p>
            <a:fld id="{02807535-B1D9-4CB9-B9E6-63040B20C20D}" type="datetimeFigureOut">
              <a:rPr lang="en-CA" smtClean="0"/>
              <a:t>2023-07-18</a:t>
            </a:fld>
            <a:endParaRPr lang="en-CA"/>
          </a:p>
        </p:txBody>
      </p:sp>
      <p:sp>
        <p:nvSpPr>
          <p:cNvPr id="5" name="Footer Placeholder 4">
            <a:extLst>
              <a:ext uri="{FF2B5EF4-FFF2-40B4-BE49-F238E27FC236}">
                <a16:creationId xmlns:a16="http://schemas.microsoft.com/office/drawing/2014/main" id="{BC02856D-B791-7C24-0FF2-F5D3285C219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EE9535A-F54D-FF27-079A-902B2AA25781}"/>
              </a:ext>
            </a:extLst>
          </p:cNvPr>
          <p:cNvSpPr>
            <a:spLocks noGrp="1"/>
          </p:cNvSpPr>
          <p:nvPr>
            <p:ph type="sldNum" sz="quarter" idx="12"/>
          </p:nvPr>
        </p:nvSpPr>
        <p:spPr/>
        <p:txBody>
          <a:bodyPr/>
          <a:lstStyle/>
          <a:p>
            <a:fld id="{F85C4085-DF20-41CF-944E-78EE79EC7BF2}" type="slidenum">
              <a:rPr lang="en-CA" smtClean="0"/>
              <a:t>‹#›</a:t>
            </a:fld>
            <a:endParaRPr lang="en-CA"/>
          </a:p>
        </p:txBody>
      </p:sp>
    </p:spTree>
    <p:extLst>
      <p:ext uri="{BB962C8B-B14F-4D97-AF65-F5344CB8AC3E}">
        <p14:creationId xmlns:p14="http://schemas.microsoft.com/office/powerpoint/2010/main" val="39507668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alphaModFix amt="90000"/>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151363" y="2125973"/>
            <a:ext cx="6858000" cy="2387600"/>
          </a:xfrm>
          <a:prstGeom prst="rect">
            <a:avLst/>
          </a:prstGeom>
          <a:solidFill>
            <a:schemeClr val="bg1"/>
          </a:solidFill>
          <a:ln w="28575">
            <a:solidFill>
              <a:srgbClr val="002060"/>
            </a:solidFill>
          </a:ln>
        </p:spPr>
        <p:txBody>
          <a:bodyPr anchor="ctr" anchorCtr="0">
            <a:noAutofit/>
          </a:bodyPr>
          <a:lstStyle>
            <a:lvl1pPr algn="ctr">
              <a:defRPr sz="4500">
                <a:solidFill>
                  <a:srgbClr val="002060"/>
                </a:solidFill>
              </a:defRPr>
            </a:lvl1pPr>
          </a:lstStyle>
          <a:p>
            <a:r>
              <a:rPr lang="en-US"/>
              <a:t>Click to edit Master title style</a:t>
            </a:r>
          </a:p>
        </p:txBody>
      </p:sp>
      <p:sp>
        <p:nvSpPr>
          <p:cNvPr id="4" name="Text Placeholder 3"/>
          <p:cNvSpPr>
            <a:spLocks noGrp="1"/>
          </p:cNvSpPr>
          <p:nvPr>
            <p:ph type="body" sz="quarter" idx="10"/>
          </p:nvPr>
        </p:nvSpPr>
        <p:spPr>
          <a:xfrm>
            <a:off x="8715376" y="6419850"/>
            <a:ext cx="314325" cy="304800"/>
          </a:xfrm>
          <a:prstGeom prst="rect">
            <a:avLst/>
          </a:prstGeom>
        </p:spPr>
        <p:txBody>
          <a:bodyPr>
            <a:noAutofit/>
          </a:bodyPr>
          <a:lstStyle>
            <a:lvl1pPr marL="0" indent="0">
              <a:buNone/>
              <a:defRPr sz="750">
                <a:solidFill>
                  <a:schemeClr val="tx1"/>
                </a:solidFill>
              </a:defRPr>
            </a:lvl1pPr>
            <a:lvl2pPr marL="342900" indent="0">
              <a:buNone/>
              <a:defRPr sz="750"/>
            </a:lvl2pPr>
            <a:lvl3pPr marL="685800" indent="0">
              <a:buNone/>
              <a:defRPr sz="750"/>
            </a:lvl3pPr>
            <a:lvl4pPr marL="1028700" indent="0">
              <a:buNone/>
              <a:defRPr sz="750"/>
            </a:lvl4pPr>
            <a:lvl5pPr marL="1371600" indent="0">
              <a:buNone/>
              <a:defRPr sz="750"/>
            </a:lvl5pPr>
          </a:lstStyle>
          <a:p>
            <a:pPr lvl="0"/>
            <a:endParaRPr lang="en-US"/>
          </a:p>
        </p:txBody>
      </p:sp>
    </p:spTree>
    <p:extLst>
      <p:ext uri="{BB962C8B-B14F-4D97-AF65-F5344CB8AC3E}">
        <p14:creationId xmlns:p14="http://schemas.microsoft.com/office/powerpoint/2010/main" val="2853465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59822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6" name="Title 5"/>
          <p:cNvSpPr>
            <a:spLocks noGrp="1"/>
          </p:cNvSpPr>
          <p:nvPr>
            <p:ph type="title"/>
          </p:nvPr>
        </p:nvSpPr>
        <p:spPr>
          <a:xfrm>
            <a:off x="457200" y="401389"/>
            <a:ext cx="8229600" cy="457200"/>
          </a:xfrm>
        </p:spPr>
        <p:txBody>
          <a:bodyPr>
            <a:noAutofit/>
          </a:bodyPr>
          <a:lstStyle>
            <a:lvl1pPr algn="l">
              <a:defRPr sz="2800"/>
            </a:lvl1pPr>
          </a:lstStyle>
          <a:p>
            <a:r>
              <a:rPr lang="en-US" dirty="0"/>
              <a:t>Click to edit Master title style</a:t>
            </a:r>
          </a:p>
        </p:txBody>
      </p:sp>
      <p:sp>
        <p:nvSpPr>
          <p:cNvPr id="8" name="Content Placeholder 7"/>
          <p:cNvSpPr>
            <a:spLocks noGrp="1"/>
          </p:cNvSpPr>
          <p:nvPr>
            <p:ph sz="quarter" idx="10"/>
          </p:nvPr>
        </p:nvSpPr>
        <p:spPr>
          <a:xfrm>
            <a:off x="457200" y="895352"/>
            <a:ext cx="8229600" cy="5332659"/>
          </a:xfrm>
        </p:spPr>
        <p:txBody>
          <a:bodyPr/>
          <a:lstStyle>
            <a:lvl2pPr>
              <a:defRPr sz="2200"/>
            </a:lvl2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171102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235096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29380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
          <p:cNvSpPr>
            <a:spLocks noGrp="1" noChangeArrowheads="1"/>
          </p:cNvSpPr>
          <p:nvPr>
            <p:ph type="dt" sz="half" idx="10"/>
          </p:nvPr>
        </p:nvSpPr>
        <p:spPr/>
        <p:txBody>
          <a:bodyPr/>
          <a:lstStyle>
            <a:lvl1pPr eaLnBrk="1" hangingPunct="1">
              <a:defRPr>
                <a:cs typeface="Arial" pitchFamily="34" charset="0"/>
              </a:defRPr>
            </a:lvl1pPr>
          </a:lstStyle>
          <a:p>
            <a:pPr>
              <a:defRPr/>
            </a:pPr>
            <a:endParaRPr lang="en-US"/>
          </a:p>
        </p:txBody>
      </p:sp>
      <p:sp>
        <p:nvSpPr>
          <p:cNvPr id="5" name="Rectangle 18"/>
          <p:cNvSpPr>
            <a:spLocks noGrp="1" noChangeArrowheads="1"/>
          </p:cNvSpPr>
          <p:nvPr>
            <p:ph type="ftr" sz="quarter" idx="11"/>
          </p:nvPr>
        </p:nvSpPr>
        <p:spPr/>
        <p:txBody>
          <a:bodyPr/>
          <a:lstStyle>
            <a:lvl1pPr eaLnBrk="1" hangingPunct="1">
              <a:defRPr>
                <a:cs typeface="Arial" pitchFamily="34" charset="0"/>
              </a:defRPr>
            </a:lvl1pPr>
          </a:lstStyle>
          <a:p>
            <a:pPr>
              <a:defRPr/>
            </a:pPr>
            <a:endParaRPr lang="en-US"/>
          </a:p>
        </p:txBody>
      </p:sp>
      <p:sp>
        <p:nvSpPr>
          <p:cNvPr id="6" name="Rectangle 19"/>
          <p:cNvSpPr>
            <a:spLocks noGrp="1" noChangeArrowheads="1"/>
          </p:cNvSpPr>
          <p:nvPr>
            <p:ph type="sldNum" sz="quarter" idx="12"/>
          </p:nvPr>
        </p:nvSpPr>
        <p:spPr/>
        <p:txBody>
          <a:bodyPr/>
          <a:lstStyle>
            <a:lvl1pPr eaLnBrk="1" hangingPunct="1">
              <a:defRPr>
                <a:cs typeface="Arial" pitchFamily="34" charset="0"/>
              </a:defRPr>
            </a:lvl1pPr>
          </a:lstStyle>
          <a:p>
            <a:pPr>
              <a:defRPr/>
            </a:pPr>
            <a:fld id="{6994F053-75DB-46ED-B57B-33B14A12546F}" type="slidenum">
              <a:rPr lang="en-US"/>
              <a:pPr>
                <a:defRPr/>
              </a:pPr>
              <a:t>‹#›</a:t>
            </a:fld>
            <a:endParaRPr lang="en-US"/>
          </a:p>
        </p:txBody>
      </p:sp>
    </p:spTree>
    <p:extLst>
      <p:ext uri="{BB962C8B-B14F-4D97-AF65-F5344CB8AC3E}">
        <p14:creationId xmlns:p14="http://schemas.microsoft.com/office/powerpoint/2010/main" val="3919436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05"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23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23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4998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68706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251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5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1" y="273559"/>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454"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47433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0699411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10.xml"/><Relationship Id="rId1" Type="http://schemas.openxmlformats.org/officeDocument/2006/relationships/slideLayout" Target="../slideLayouts/slideLayout27.xml"/></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1.xml"/><Relationship Id="rId1" Type="http://schemas.openxmlformats.org/officeDocument/2006/relationships/slideLayout" Target="../slideLayouts/slideLayout2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5" Type="http://schemas.openxmlformats.org/officeDocument/2006/relationships/image" Target="../media/image9.png"/><Relationship Id="rId4" Type="http://schemas.openxmlformats.org/officeDocument/2006/relationships/image" Target="../media/image4.png"/></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31.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32.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5" Type="http://schemas.openxmlformats.org/officeDocument/2006/relationships/theme" Target="../theme/theme15.xml"/><Relationship Id="rId4" Type="http://schemas.openxmlformats.org/officeDocument/2006/relationships/slideLayout" Target="../slideLayouts/slideLayout36.xml"/></Relationships>
</file>

<file path=ppt/slideMasters/_rels/slideMaster16.xml.rels><?xml version="1.0" encoding="UTF-8" standalone="yes"?>
<Relationships xmlns="http://schemas.openxmlformats.org/package/2006/relationships"><Relationship Id="rId2" Type="http://schemas.openxmlformats.org/officeDocument/2006/relationships/theme" Target="../theme/theme16.xml"/><Relationship Id="rId1" Type="http://schemas.openxmlformats.org/officeDocument/2006/relationships/slideLayout" Target="../slideLayouts/slideLayout37.xml"/></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17.xml"/><Relationship Id="rId1" Type="http://schemas.openxmlformats.org/officeDocument/2006/relationships/slideLayout" Target="../slideLayouts/slideLayout38.xml"/></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theme" Target="../theme/theme18.xml"/><Relationship Id="rId1" Type="http://schemas.openxmlformats.org/officeDocument/2006/relationships/slideLayout" Target="../slideLayouts/slideLayout39.xml"/></Relationships>
</file>

<file path=ppt/slideMasters/_rels/slideMaster19.xml.rels><?xml version="1.0" encoding="UTF-8" standalone="yes"?>
<Relationships xmlns="http://schemas.openxmlformats.org/package/2006/relationships"><Relationship Id="rId3" Type="http://schemas.openxmlformats.org/officeDocument/2006/relationships/hyperlink" Target="http://www.osu.edu/" TargetMode="External"/><Relationship Id="rId2" Type="http://schemas.openxmlformats.org/officeDocument/2006/relationships/theme" Target="../theme/theme19.xml"/><Relationship Id="rId1" Type="http://schemas.openxmlformats.org/officeDocument/2006/relationships/slideLayout" Target="../slideLayouts/slideLayout40.xml"/><Relationship Id="rId4" Type="http://schemas.openxmlformats.org/officeDocument/2006/relationships/image" Target="../media/image15.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4.xml"/></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20.xml"/><Relationship Id="rId1" Type="http://schemas.openxmlformats.org/officeDocument/2006/relationships/slideLayout" Target="../slideLayouts/slideLayout41.xml"/><Relationship Id="rId4" Type="http://schemas.openxmlformats.org/officeDocument/2006/relationships/image" Target="../media/image17.png"/></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42.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image" Target="../media/image19.png"/><Relationship Id="rId5" Type="http://schemas.openxmlformats.org/officeDocument/2006/relationships/theme" Target="../theme/theme22.xml"/><Relationship Id="rId4" Type="http://schemas.openxmlformats.org/officeDocument/2006/relationships/slideLayout" Target="../slideLayouts/slideLayout46.xml"/></Relationships>
</file>

<file path=ppt/slideMasters/_rels/slideMaster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23.xml"/><Relationship Id="rId1"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5.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theme" Target="../theme/theme5.xml"/><Relationship Id="rId4"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3.xml"/><Relationship Id="rId1"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4.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5.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34">
            <a:extLst>
              <a:ext uri="{FF2B5EF4-FFF2-40B4-BE49-F238E27FC236}">
                <a16:creationId xmlns:a16="http://schemas.microsoft.com/office/drawing/2014/main" id="{17E61B6E-DE6E-4FCB-95D9-DB1AD425A5CD}"/>
              </a:ext>
            </a:extLst>
          </p:cNvPr>
          <p:cNvSpPr>
            <a:spLocks noChangeArrowheads="1"/>
          </p:cNvSpPr>
          <p:nvPr/>
        </p:nvSpPr>
        <p:spPr bwMode="auto">
          <a:xfrm>
            <a:off x="0" y="6705600"/>
            <a:ext cx="9144000" cy="161925"/>
          </a:xfrm>
          <a:prstGeom prst="rect">
            <a:avLst/>
          </a:prstGeom>
          <a:solidFill>
            <a:srgbClr val="29539B"/>
          </a:soli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27" name="Rectangle 144">
            <a:extLst>
              <a:ext uri="{FF2B5EF4-FFF2-40B4-BE49-F238E27FC236}">
                <a16:creationId xmlns:a16="http://schemas.microsoft.com/office/drawing/2014/main" id="{26D9DF7B-CAF8-4E60-9E5F-B37FF0CE24E6}"/>
              </a:ext>
            </a:extLst>
          </p:cNvPr>
          <p:cNvSpPr>
            <a:spLocks noChangeArrowheads="1"/>
          </p:cNvSpPr>
          <p:nvPr/>
        </p:nvSpPr>
        <p:spPr bwMode="auto">
          <a:xfrm>
            <a:off x="5257800" y="6705600"/>
            <a:ext cx="3886200" cy="161925"/>
          </a:xfrm>
          <a:prstGeom prst="rect">
            <a:avLst/>
          </a:prstGeom>
          <a:gradFill rotWithShape="0">
            <a:gsLst>
              <a:gs pos="0">
                <a:srgbClr val="29539B"/>
              </a:gs>
              <a:gs pos="100000">
                <a:schemeClr val="bg1"/>
              </a:gs>
            </a:gsLst>
            <a:lin ang="0" scaled="1"/>
          </a:gra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28" name="Rectangle 120">
            <a:extLst>
              <a:ext uri="{FF2B5EF4-FFF2-40B4-BE49-F238E27FC236}">
                <a16:creationId xmlns:a16="http://schemas.microsoft.com/office/drawing/2014/main" id="{C240BDF2-08F1-42B8-8829-9397BF7F9603}"/>
              </a:ext>
            </a:extLst>
          </p:cNvPr>
          <p:cNvSpPr>
            <a:spLocks noChangeArrowheads="1"/>
          </p:cNvSpPr>
          <p:nvPr/>
        </p:nvSpPr>
        <p:spPr bwMode="auto">
          <a:xfrm>
            <a:off x="0" y="0"/>
            <a:ext cx="9144000" cy="914400"/>
          </a:xfrm>
          <a:prstGeom prst="rect">
            <a:avLst/>
          </a:prstGeom>
          <a:solidFill>
            <a:srgbClr val="29539B"/>
          </a:soli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29" name="Rectangle 121">
            <a:extLst>
              <a:ext uri="{FF2B5EF4-FFF2-40B4-BE49-F238E27FC236}">
                <a16:creationId xmlns:a16="http://schemas.microsoft.com/office/drawing/2014/main" id="{1B73220D-9BCC-48DC-8CD0-71A4FBE97455}"/>
              </a:ext>
            </a:extLst>
          </p:cNvPr>
          <p:cNvSpPr>
            <a:spLocks noChangeArrowheads="1"/>
          </p:cNvSpPr>
          <p:nvPr/>
        </p:nvSpPr>
        <p:spPr bwMode="auto">
          <a:xfrm>
            <a:off x="5257800" y="0"/>
            <a:ext cx="3886200" cy="914400"/>
          </a:xfrm>
          <a:prstGeom prst="rect">
            <a:avLst/>
          </a:prstGeom>
          <a:gradFill rotWithShape="0">
            <a:gsLst>
              <a:gs pos="0">
                <a:srgbClr val="29539B"/>
              </a:gs>
              <a:gs pos="100000">
                <a:schemeClr val="bg1"/>
              </a:gs>
            </a:gsLst>
            <a:lin ang="0" scaled="1"/>
          </a:gradFill>
          <a:ln>
            <a:noFill/>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0" name="Rectangle 122">
            <a:extLst>
              <a:ext uri="{FF2B5EF4-FFF2-40B4-BE49-F238E27FC236}">
                <a16:creationId xmlns:a16="http://schemas.microsoft.com/office/drawing/2014/main" id="{EA1331FB-7DB0-4600-902B-5677C56AD861}"/>
              </a:ext>
            </a:extLst>
          </p:cNvPr>
          <p:cNvSpPr>
            <a:spLocks noChangeArrowheads="1"/>
          </p:cNvSpPr>
          <p:nvPr/>
        </p:nvSpPr>
        <p:spPr bwMode="auto">
          <a:xfrm>
            <a:off x="7315200" y="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1" name="Rectangle 123">
            <a:extLst>
              <a:ext uri="{FF2B5EF4-FFF2-40B4-BE49-F238E27FC236}">
                <a16:creationId xmlns:a16="http://schemas.microsoft.com/office/drawing/2014/main" id="{636C94BA-D168-4D2F-AE76-0C306BB4E435}"/>
              </a:ext>
            </a:extLst>
          </p:cNvPr>
          <p:cNvSpPr>
            <a:spLocks noChangeArrowheads="1"/>
          </p:cNvSpPr>
          <p:nvPr/>
        </p:nvSpPr>
        <p:spPr bwMode="auto">
          <a:xfrm>
            <a:off x="7772400" y="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2" name="Rectangle 124">
            <a:extLst>
              <a:ext uri="{FF2B5EF4-FFF2-40B4-BE49-F238E27FC236}">
                <a16:creationId xmlns:a16="http://schemas.microsoft.com/office/drawing/2014/main" id="{3CBABE5E-7B12-4B8E-93E4-6E79D592C6B9}"/>
              </a:ext>
            </a:extLst>
          </p:cNvPr>
          <p:cNvSpPr>
            <a:spLocks noChangeArrowheads="1"/>
          </p:cNvSpPr>
          <p:nvPr/>
        </p:nvSpPr>
        <p:spPr bwMode="auto">
          <a:xfrm>
            <a:off x="8229600" y="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3" name="Rectangle 125">
            <a:extLst>
              <a:ext uri="{FF2B5EF4-FFF2-40B4-BE49-F238E27FC236}">
                <a16:creationId xmlns:a16="http://schemas.microsoft.com/office/drawing/2014/main" id="{976BE5A0-C8A8-4052-AFBB-15335AC688E3}"/>
              </a:ext>
            </a:extLst>
          </p:cNvPr>
          <p:cNvSpPr>
            <a:spLocks noChangeArrowheads="1"/>
          </p:cNvSpPr>
          <p:nvPr/>
        </p:nvSpPr>
        <p:spPr bwMode="auto">
          <a:xfrm>
            <a:off x="8686800" y="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4" name="Rectangle 126">
            <a:extLst>
              <a:ext uri="{FF2B5EF4-FFF2-40B4-BE49-F238E27FC236}">
                <a16:creationId xmlns:a16="http://schemas.microsoft.com/office/drawing/2014/main" id="{C0985F2E-6F08-4FD3-8A75-3192715342B6}"/>
              </a:ext>
            </a:extLst>
          </p:cNvPr>
          <p:cNvSpPr>
            <a:spLocks noChangeArrowheads="1"/>
          </p:cNvSpPr>
          <p:nvPr/>
        </p:nvSpPr>
        <p:spPr bwMode="auto">
          <a:xfrm>
            <a:off x="68580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5" name="Rectangle 127">
            <a:extLst>
              <a:ext uri="{FF2B5EF4-FFF2-40B4-BE49-F238E27FC236}">
                <a16:creationId xmlns:a16="http://schemas.microsoft.com/office/drawing/2014/main" id="{FA0705C9-ACF8-47B2-86F5-F8648FA88CCF}"/>
              </a:ext>
            </a:extLst>
          </p:cNvPr>
          <p:cNvSpPr>
            <a:spLocks noChangeArrowheads="1"/>
          </p:cNvSpPr>
          <p:nvPr/>
        </p:nvSpPr>
        <p:spPr bwMode="auto">
          <a:xfrm>
            <a:off x="73152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6" name="Rectangle 128">
            <a:extLst>
              <a:ext uri="{FF2B5EF4-FFF2-40B4-BE49-F238E27FC236}">
                <a16:creationId xmlns:a16="http://schemas.microsoft.com/office/drawing/2014/main" id="{07C329CF-C39F-4923-9915-A1338F719ACF}"/>
              </a:ext>
            </a:extLst>
          </p:cNvPr>
          <p:cNvSpPr>
            <a:spLocks noChangeArrowheads="1"/>
          </p:cNvSpPr>
          <p:nvPr/>
        </p:nvSpPr>
        <p:spPr bwMode="auto">
          <a:xfrm>
            <a:off x="77724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7" name="Rectangle 129">
            <a:extLst>
              <a:ext uri="{FF2B5EF4-FFF2-40B4-BE49-F238E27FC236}">
                <a16:creationId xmlns:a16="http://schemas.microsoft.com/office/drawing/2014/main" id="{AB21303E-C21B-49DD-B204-D750831227D9}"/>
              </a:ext>
            </a:extLst>
          </p:cNvPr>
          <p:cNvSpPr>
            <a:spLocks noChangeArrowheads="1"/>
          </p:cNvSpPr>
          <p:nvPr/>
        </p:nvSpPr>
        <p:spPr bwMode="auto">
          <a:xfrm>
            <a:off x="82296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8" name="Rectangle 130">
            <a:extLst>
              <a:ext uri="{FF2B5EF4-FFF2-40B4-BE49-F238E27FC236}">
                <a16:creationId xmlns:a16="http://schemas.microsoft.com/office/drawing/2014/main" id="{A693250D-40E5-4B94-8F7C-6ECCD06415A2}"/>
              </a:ext>
            </a:extLst>
          </p:cNvPr>
          <p:cNvSpPr>
            <a:spLocks noChangeArrowheads="1"/>
          </p:cNvSpPr>
          <p:nvPr/>
        </p:nvSpPr>
        <p:spPr bwMode="auto">
          <a:xfrm>
            <a:off x="8686800" y="457200"/>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39" name="Line 131">
            <a:extLst>
              <a:ext uri="{FF2B5EF4-FFF2-40B4-BE49-F238E27FC236}">
                <a16:creationId xmlns:a16="http://schemas.microsoft.com/office/drawing/2014/main" id="{C94BFBE8-8EC4-4316-9248-70CA39C75056}"/>
              </a:ext>
            </a:extLst>
          </p:cNvPr>
          <p:cNvSpPr>
            <a:spLocks noChangeShapeType="1"/>
          </p:cNvSpPr>
          <p:nvPr/>
        </p:nvSpPr>
        <p:spPr bwMode="auto">
          <a:xfrm flipH="1">
            <a:off x="0" y="990600"/>
            <a:ext cx="9144000"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0" name="Rectangle 118">
            <a:extLst>
              <a:ext uri="{FF2B5EF4-FFF2-40B4-BE49-F238E27FC236}">
                <a16:creationId xmlns:a16="http://schemas.microsoft.com/office/drawing/2014/main" id="{1FD56899-2742-4E64-865C-9E2A9DB4E3A3}"/>
              </a:ext>
            </a:extLst>
          </p:cNvPr>
          <p:cNvSpPr>
            <a:spLocks noGrp="1" noChangeArrowheads="1"/>
          </p:cNvSpPr>
          <p:nvPr>
            <p:ph type="title"/>
          </p:nvPr>
        </p:nvSpPr>
        <p:spPr bwMode="auto">
          <a:xfrm>
            <a:off x="381000" y="152400"/>
            <a:ext cx="6477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41" name="Rectangle 133">
            <a:extLst>
              <a:ext uri="{FF2B5EF4-FFF2-40B4-BE49-F238E27FC236}">
                <a16:creationId xmlns:a16="http://schemas.microsoft.com/office/drawing/2014/main" id="{9F7FD249-20FB-43AE-892B-E7DC8562D5DD}"/>
              </a:ext>
            </a:extLst>
          </p:cNvPr>
          <p:cNvSpPr>
            <a:spLocks noGrp="1" noChangeArrowheads="1"/>
          </p:cNvSpPr>
          <p:nvPr>
            <p:ph type="body" idx="1"/>
          </p:nvPr>
        </p:nvSpPr>
        <p:spPr bwMode="auto">
          <a:xfrm>
            <a:off x="152400" y="12954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42" name="Rectangle 139">
            <a:extLst>
              <a:ext uri="{FF2B5EF4-FFF2-40B4-BE49-F238E27FC236}">
                <a16:creationId xmlns:a16="http://schemas.microsoft.com/office/drawing/2014/main" id="{5609E548-98BD-4A2A-AE18-4F220793AB06}"/>
              </a:ext>
            </a:extLst>
          </p:cNvPr>
          <p:cNvSpPr>
            <a:spLocks noChangeArrowheads="1"/>
          </p:cNvSpPr>
          <p:nvPr/>
        </p:nvSpPr>
        <p:spPr bwMode="auto">
          <a:xfrm>
            <a:off x="68580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3" name="Rectangle 140">
            <a:extLst>
              <a:ext uri="{FF2B5EF4-FFF2-40B4-BE49-F238E27FC236}">
                <a16:creationId xmlns:a16="http://schemas.microsoft.com/office/drawing/2014/main" id="{D64FB7DF-4822-4ADF-A24C-218B6A0B8029}"/>
              </a:ext>
            </a:extLst>
          </p:cNvPr>
          <p:cNvSpPr>
            <a:spLocks noChangeArrowheads="1"/>
          </p:cNvSpPr>
          <p:nvPr/>
        </p:nvSpPr>
        <p:spPr bwMode="auto">
          <a:xfrm>
            <a:off x="73152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4" name="Rectangle 141">
            <a:extLst>
              <a:ext uri="{FF2B5EF4-FFF2-40B4-BE49-F238E27FC236}">
                <a16:creationId xmlns:a16="http://schemas.microsoft.com/office/drawing/2014/main" id="{97C5E42D-4BD3-422F-BD48-5FC4ABF39607}"/>
              </a:ext>
            </a:extLst>
          </p:cNvPr>
          <p:cNvSpPr>
            <a:spLocks noChangeArrowheads="1"/>
          </p:cNvSpPr>
          <p:nvPr/>
        </p:nvSpPr>
        <p:spPr bwMode="auto">
          <a:xfrm>
            <a:off x="77724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5" name="Rectangle 142">
            <a:extLst>
              <a:ext uri="{FF2B5EF4-FFF2-40B4-BE49-F238E27FC236}">
                <a16:creationId xmlns:a16="http://schemas.microsoft.com/office/drawing/2014/main" id="{9B926F2E-890A-4871-B0A2-9634FD497541}"/>
              </a:ext>
            </a:extLst>
          </p:cNvPr>
          <p:cNvSpPr>
            <a:spLocks noChangeArrowheads="1"/>
          </p:cNvSpPr>
          <p:nvPr/>
        </p:nvSpPr>
        <p:spPr bwMode="auto">
          <a:xfrm>
            <a:off x="82296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
        <p:nvSpPr>
          <p:cNvPr id="1046" name="Rectangle 143">
            <a:extLst>
              <a:ext uri="{FF2B5EF4-FFF2-40B4-BE49-F238E27FC236}">
                <a16:creationId xmlns:a16="http://schemas.microsoft.com/office/drawing/2014/main" id="{B65F7FA1-518A-45A9-AD71-94E8269C1F29}"/>
              </a:ext>
            </a:extLst>
          </p:cNvPr>
          <p:cNvSpPr>
            <a:spLocks noChangeArrowheads="1"/>
          </p:cNvSpPr>
          <p:nvPr/>
        </p:nvSpPr>
        <p:spPr bwMode="auto">
          <a:xfrm>
            <a:off x="8686800" y="6410325"/>
            <a:ext cx="457200" cy="457200"/>
          </a:xfrm>
          <a:prstGeom prst="rect">
            <a:avLst/>
          </a:prstGeom>
          <a:noFill/>
          <a:ln w="9525">
            <a:solidFill>
              <a:schemeClr val="bg1"/>
            </a:solidFill>
            <a:miter lim="800000"/>
            <a:headEnd/>
            <a:tailEnd/>
          </a:ln>
        </p:spPr>
        <p:txBody>
          <a:bodyPr wrap="none" anchor="ctr"/>
          <a:lstStyle>
            <a:lvl1pPr>
              <a:defRPr sz="1300">
                <a:solidFill>
                  <a:schemeClr val="tx1"/>
                </a:solidFill>
                <a:latin typeface="Arial" charset="0"/>
                <a:ea typeface="MS PGothic" pitchFamily="34" charset="-128"/>
              </a:defRPr>
            </a:lvl1pPr>
            <a:lvl2pPr marL="742950" indent="-285750">
              <a:defRPr sz="1300">
                <a:solidFill>
                  <a:schemeClr val="tx1"/>
                </a:solidFill>
                <a:latin typeface="Arial" charset="0"/>
                <a:ea typeface="MS PGothic" pitchFamily="34" charset="-128"/>
              </a:defRPr>
            </a:lvl2pPr>
            <a:lvl3pPr marL="1143000" indent="-228600">
              <a:defRPr sz="1300">
                <a:solidFill>
                  <a:schemeClr val="tx1"/>
                </a:solidFill>
                <a:latin typeface="Arial" charset="0"/>
                <a:ea typeface="MS PGothic" pitchFamily="34" charset="-128"/>
              </a:defRPr>
            </a:lvl3pPr>
            <a:lvl4pPr marL="1600200" indent="-228600">
              <a:defRPr sz="1300">
                <a:solidFill>
                  <a:schemeClr val="tx1"/>
                </a:solidFill>
                <a:latin typeface="Arial" charset="0"/>
                <a:ea typeface="MS PGothic" pitchFamily="34" charset="-128"/>
              </a:defRPr>
            </a:lvl4pPr>
            <a:lvl5pPr marL="2057400" indent="-228600">
              <a:defRPr sz="1300">
                <a:solidFill>
                  <a:schemeClr val="tx1"/>
                </a:solidFill>
                <a:latin typeface="Arial" charset="0"/>
                <a:ea typeface="MS PGothic" pitchFamily="34" charset="-128"/>
              </a:defRPr>
            </a:lvl5pPr>
            <a:lvl6pPr marL="2514600" indent="-2286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eaLnBrk="0" fontAlgn="base" hangingPunct="0">
              <a:spcBef>
                <a:spcPct val="0"/>
              </a:spcBef>
              <a:spcAft>
                <a:spcPct val="0"/>
              </a:spcAft>
              <a:defRPr sz="1300">
                <a:solidFill>
                  <a:schemeClr val="tx1"/>
                </a:solidFill>
                <a:latin typeface="Arial" charset="0"/>
                <a:ea typeface="MS PGothic" pitchFamily="34" charset="-128"/>
              </a:defRPr>
            </a:lvl9pPr>
          </a:lstStyle>
          <a:p>
            <a:pPr>
              <a:defRPr/>
            </a:pPr>
            <a:endParaRPr lang="en-US" altLang="en-US"/>
          </a:p>
        </p:txBody>
      </p:sp>
    </p:spTree>
  </p:cSld>
  <p:clrMap bg1="lt1" tx1="dk1" bg2="lt2" tx2="dk2" accent1="accent1" accent2="accent2" accent3="accent3" accent4="accent4" accent5="accent5" accent6="accent6" hlink="hlink" folHlink="folHlink"/>
  <p:sldLayoutIdLst>
    <p:sldLayoutId id="2147489677" r:id="rId1"/>
    <p:sldLayoutId id="2147489664" r:id="rId2"/>
    <p:sldLayoutId id="2147489665" r:id="rId3"/>
    <p:sldLayoutId id="2147489666" r:id="rId4"/>
    <p:sldLayoutId id="2147489667" r:id="rId5"/>
    <p:sldLayoutId id="2147489668" r:id="rId6"/>
    <p:sldLayoutId id="2147489669" r:id="rId7"/>
    <p:sldLayoutId id="2147489670" r:id="rId8"/>
    <p:sldLayoutId id="2147489671" r:id="rId9"/>
    <p:sldLayoutId id="2147489672" r:id="rId10"/>
    <p:sldLayoutId id="2147489673" r:id="rId11"/>
    <p:sldLayoutId id="2147489674" r:id="rId12"/>
    <p:sldLayoutId id="2147489675" r:id="rId13"/>
  </p:sldLayoutIdLst>
  <p:hf hdr="0" ftr="0" dt="0"/>
  <p:txStyles>
    <p:titleStyle>
      <a:lvl1pPr algn="l" rtl="0" eaLnBrk="0" fontAlgn="base" hangingPunct="0">
        <a:spcBef>
          <a:spcPct val="0"/>
        </a:spcBef>
        <a:spcAft>
          <a:spcPct val="0"/>
        </a:spcAft>
        <a:defRPr sz="3200">
          <a:solidFill>
            <a:schemeClr val="bg1"/>
          </a:solidFill>
          <a:latin typeface="+mj-lt"/>
          <a:ea typeface="MS PGothic" pitchFamily="34" charset="-128"/>
          <a:cs typeface="+mj-cs"/>
        </a:defRPr>
      </a:lvl1pPr>
      <a:lvl2pPr algn="l" rtl="0" eaLnBrk="0" fontAlgn="base" hangingPunct="0">
        <a:spcBef>
          <a:spcPct val="0"/>
        </a:spcBef>
        <a:spcAft>
          <a:spcPct val="0"/>
        </a:spcAft>
        <a:defRPr sz="3200">
          <a:solidFill>
            <a:schemeClr val="bg1"/>
          </a:solidFill>
          <a:latin typeface="Arial" charset="0"/>
          <a:ea typeface="MS PGothic" pitchFamily="34" charset="-128"/>
        </a:defRPr>
      </a:lvl2pPr>
      <a:lvl3pPr algn="l" rtl="0" eaLnBrk="0" fontAlgn="base" hangingPunct="0">
        <a:spcBef>
          <a:spcPct val="0"/>
        </a:spcBef>
        <a:spcAft>
          <a:spcPct val="0"/>
        </a:spcAft>
        <a:defRPr sz="3200">
          <a:solidFill>
            <a:schemeClr val="bg1"/>
          </a:solidFill>
          <a:latin typeface="Arial" charset="0"/>
          <a:ea typeface="MS PGothic" pitchFamily="34" charset="-128"/>
        </a:defRPr>
      </a:lvl3pPr>
      <a:lvl4pPr algn="l" rtl="0" eaLnBrk="0" fontAlgn="base" hangingPunct="0">
        <a:spcBef>
          <a:spcPct val="0"/>
        </a:spcBef>
        <a:spcAft>
          <a:spcPct val="0"/>
        </a:spcAft>
        <a:defRPr sz="3200">
          <a:solidFill>
            <a:schemeClr val="bg1"/>
          </a:solidFill>
          <a:latin typeface="Arial" charset="0"/>
          <a:ea typeface="MS PGothic" pitchFamily="34" charset="-128"/>
        </a:defRPr>
      </a:lvl4pPr>
      <a:lvl5pPr algn="l" rtl="0" eaLnBrk="0" fontAlgn="base" hangingPunct="0">
        <a:spcBef>
          <a:spcPct val="0"/>
        </a:spcBef>
        <a:spcAft>
          <a:spcPct val="0"/>
        </a:spcAft>
        <a:defRPr sz="3200">
          <a:solidFill>
            <a:schemeClr val="bg1"/>
          </a:solidFill>
          <a:latin typeface="Arial" charset="0"/>
          <a:ea typeface="MS PGothic" pitchFamily="34" charset="-128"/>
        </a:defRPr>
      </a:lvl5pPr>
      <a:lvl6pPr marL="457200" algn="l" rtl="0" fontAlgn="base">
        <a:spcBef>
          <a:spcPct val="0"/>
        </a:spcBef>
        <a:spcAft>
          <a:spcPct val="0"/>
        </a:spcAft>
        <a:defRPr sz="3200">
          <a:solidFill>
            <a:schemeClr val="bg1"/>
          </a:solidFill>
          <a:latin typeface="Arial" charset="0"/>
          <a:ea typeface="ＭＳ Ｐゴシック" pitchFamily="1" charset="-128"/>
        </a:defRPr>
      </a:lvl6pPr>
      <a:lvl7pPr marL="914400" algn="l" rtl="0" fontAlgn="base">
        <a:spcBef>
          <a:spcPct val="0"/>
        </a:spcBef>
        <a:spcAft>
          <a:spcPct val="0"/>
        </a:spcAft>
        <a:defRPr sz="3200">
          <a:solidFill>
            <a:schemeClr val="bg1"/>
          </a:solidFill>
          <a:latin typeface="Arial" charset="0"/>
          <a:ea typeface="ＭＳ Ｐゴシック" pitchFamily="1" charset="-128"/>
        </a:defRPr>
      </a:lvl7pPr>
      <a:lvl8pPr marL="1371600" algn="l" rtl="0" fontAlgn="base">
        <a:spcBef>
          <a:spcPct val="0"/>
        </a:spcBef>
        <a:spcAft>
          <a:spcPct val="0"/>
        </a:spcAft>
        <a:defRPr sz="3200">
          <a:solidFill>
            <a:schemeClr val="bg1"/>
          </a:solidFill>
          <a:latin typeface="Arial" charset="0"/>
          <a:ea typeface="ＭＳ Ｐゴシック" pitchFamily="1" charset="-128"/>
        </a:defRPr>
      </a:lvl8pPr>
      <a:lvl9pPr marL="1828800" algn="l" rtl="0" fontAlgn="base">
        <a:spcBef>
          <a:spcPct val="0"/>
        </a:spcBef>
        <a:spcAft>
          <a:spcPct val="0"/>
        </a:spcAft>
        <a:defRPr sz="3200">
          <a:solidFill>
            <a:schemeClr val="bg1"/>
          </a:solidFill>
          <a:latin typeface="Arial" charset="0"/>
          <a:ea typeface="ＭＳ Ｐゴシック" pitchFamily="1" charset="-128"/>
        </a:defRPr>
      </a:lvl9pPr>
    </p:titleStyle>
    <p:bodyStyle>
      <a:lvl1pPr marL="266700" indent="-266700" algn="l" rtl="0" eaLnBrk="0" fontAlgn="base" hangingPunct="0">
        <a:spcBef>
          <a:spcPct val="30000"/>
        </a:spcBef>
        <a:spcAft>
          <a:spcPct val="0"/>
        </a:spcAft>
        <a:buClr>
          <a:schemeClr val="folHlink"/>
        </a:buClr>
        <a:buFont typeface="Wingdings" panose="05000000000000000000" pitchFamily="2" charset="2"/>
        <a:buChar char=""/>
        <a:defRPr>
          <a:solidFill>
            <a:schemeClr val="tx1"/>
          </a:solidFill>
          <a:latin typeface="+mn-lt"/>
          <a:ea typeface="MS PGothic" pitchFamily="34" charset="-128"/>
          <a:cs typeface="+mn-cs"/>
        </a:defRPr>
      </a:lvl1pPr>
      <a:lvl2pPr marL="679450" indent="-233363" algn="l" rtl="0" eaLnBrk="0" fontAlgn="base" hangingPunct="0">
        <a:spcBef>
          <a:spcPct val="10000"/>
        </a:spcBef>
        <a:spcAft>
          <a:spcPct val="0"/>
        </a:spcAft>
        <a:buClr>
          <a:schemeClr val="tx1"/>
        </a:buClr>
        <a:buSzPct val="80000"/>
        <a:buFont typeface="Arial" panose="020B0604020202020204" pitchFamily="34" charset="0"/>
        <a:buChar char="−"/>
        <a:defRPr sz="1600">
          <a:solidFill>
            <a:schemeClr val="tx1"/>
          </a:solidFill>
          <a:latin typeface="+mn-lt"/>
          <a:ea typeface="MS PGothic" pitchFamily="34" charset="-128"/>
        </a:defRPr>
      </a:lvl2pPr>
      <a:lvl3pPr marL="1082675" indent="-223838" algn="l" rtl="0" eaLnBrk="0" fontAlgn="base" hangingPunct="0">
        <a:spcBef>
          <a:spcPct val="30000"/>
        </a:spcBef>
        <a:spcAft>
          <a:spcPct val="0"/>
        </a:spcAft>
        <a:buChar char="–"/>
        <a:defRPr sz="1400">
          <a:solidFill>
            <a:schemeClr val="tx1"/>
          </a:solidFill>
          <a:latin typeface="+mn-lt"/>
          <a:ea typeface="MS PGothic" pitchFamily="34" charset="-128"/>
        </a:defRPr>
      </a:lvl3pPr>
      <a:lvl4pPr marL="1490663" indent="-228600" algn="l" rtl="0" eaLnBrk="0" fontAlgn="base" hangingPunct="0">
        <a:spcBef>
          <a:spcPct val="30000"/>
        </a:spcBef>
        <a:spcAft>
          <a:spcPct val="0"/>
        </a:spcAft>
        <a:buChar char="–"/>
        <a:defRPr sz="1200">
          <a:solidFill>
            <a:schemeClr val="tx1"/>
          </a:solidFill>
          <a:latin typeface="+mn-lt"/>
          <a:ea typeface="MS PGothic" pitchFamily="34" charset="-128"/>
        </a:defRPr>
      </a:lvl4pPr>
      <a:lvl5pPr marL="1843088" indent="-173038" algn="l" rtl="0" eaLnBrk="0" fontAlgn="base" hangingPunct="0">
        <a:spcBef>
          <a:spcPct val="30000"/>
        </a:spcBef>
        <a:spcAft>
          <a:spcPct val="0"/>
        </a:spcAft>
        <a:buChar char="»"/>
        <a:defRPr sz="1000">
          <a:solidFill>
            <a:schemeClr val="tx1"/>
          </a:solidFill>
          <a:latin typeface="+mn-lt"/>
          <a:ea typeface="MS PGothic" pitchFamily="34" charset="-128"/>
        </a:defRPr>
      </a:lvl5pPr>
      <a:lvl6pPr marL="2300288" indent="-173038" algn="l" rtl="0" fontAlgn="base">
        <a:spcBef>
          <a:spcPct val="30000"/>
        </a:spcBef>
        <a:spcAft>
          <a:spcPct val="0"/>
        </a:spcAft>
        <a:buChar char="»"/>
        <a:defRPr sz="1000">
          <a:solidFill>
            <a:schemeClr val="tx1"/>
          </a:solidFill>
          <a:latin typeface="+mn-lt"/>
          <a:ea typeface="+mn-ea"/>
        </a:defRPr>
      </a:lvl6pPr>
      <a:lvl7pPr marL="2757488" indent="-173038" algn="l" rtl="0" fontAlgn="base">
        <a:spcBef>
          <a:spcPct val="30000"/>
        </a:spcBef>
        <a:spcAft>
          <a:spcPct val="0"/>
        </a:spcAft>
        <a:buChar char="»"/>
        <a:defRPr sz="1000">
          <a:solidFill>
            <a:schemeClr val="tx1"/>
          </a:solidFill>
          <a:latin typeface="+mn-lt"/>
          <a:ea typeface="+mn-ea"/>
        </a:defRPr>
      </a:lvl7pPr>
      <a:lvl8pPr marL="3214688" indent="-173038" algn="l" rtl="0" fontAlgn="base">
        <a:spcBef>
          <a:spcPct val="30000"/>
        </a:spcBef>
        <a:spcAft>
          <a:spcPct val="0"/>
        </a:spcAft>
        <a:buChar char="»"/>
        <a:defRPr sz="1000">
          <a:solidFill>
            <a:schemeClr val="tx1"/>
          </a:solidFill>
          <a:latin typeface="+mn-lt"/>
          <a:ea typeface="+mn-ea"/>
        </a:defRPr>
      </a:lvl8pPr>
      <a:lvl9pPr marL="3671888" indent="-173038" algn="l" rtl="0" fontAlgn="base">
        <a:spcBef>
          <a:spcPct val="30000"/>
        </a:spcBef>
        <a:spcAft>
          <a:spcPct val="0"/>
        </a:spcAft>
        <a:buChar char="»"/>
        <a:defRPr sz="1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79D7F57-3150-4B6F-A3DD-1CF317ABC96D}"/>
              </a:ext>
            </a:extLst>
          </p:cNvPr>
          <p:cNvSpPr>
            <a:spLocks noGrp="1" noChangeArrowheads="1"/>
          </p:cNvSpPr>
          <p:nvPr>
            <p:ph type="title"/>
          </p:nvPr>
        </p:nvSpPr>
        <p:spPr bwMode="auto">
          <a:xfrm>
            <a:off x="457200" y="550863"/>
            <a:ext cx="8229600"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en-US"/>
              <a:t>ISE 608 (LS) </a:t>
            </a:r>
          </a:p>
        </p:txBody>
      </p:sp>
      <p:sp>
        <p:nvSpPr>
          <p:cNvPr id="1027" name="Rectangle 3">
            <a:extLst>
              <a:ext uri="{FF2B5EF4-FFF2-40B4-BE49-F238E27FC236}">
                <a16:creationId xmlns:a16="http://schemas.microsoft.com/office/drawing/2014/main" id="{2F2C99E1-DA48-40D8-8696-0221F59293FE}"/>
              </a:ext>
            </a:extLst>
          </p:cNvPr>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p:txBody>
      </p:sp>
      <p:sp>
        <p:nvSpPr>
          <p:cNvPr id="984068" name="Rectangle 4">
            <a:extLst>
              <a:ext uri="{FF2B5EF4-FFF2-40B4-BE49-F238E27FC236}">
                <a16:creationId xmlns:a16="http://schemas.microsoft.com/office/drawing/2014/main" id="{82B190FB-11A6-4565-84AF-B3058594D6BC}"/>
              </a:ext>
            </a:extLst>
          </p:cNvPr>
          <p:cNvSpPr>
            <a:spLocks noGrp="1" noChangeArrowheads="1"/>
          </p:cNvSpPr>
          <p:nvPr>
            <p:ph type="dt" sz="half" idx="2"/>
          </p:nvPr>
        </p:nvSpPr>
        <p:spPr bwMode="auto">
          <a:xfrm>
            <a:off x="7439025" y="6459538"/>
            <a:ext cx="1752600" cy="3587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a:solidFill>
                  <a:srgbClr val="000000"/>
                </a:solidFill>
                <a:latin typeface="Arial" panose="020B0604020202020204" pitchFamily="34" charset="0"/>
              </a:defRPr>
            </a:lvl1pPr>
          </a:lstStyle>
          <a:p>
            <a:r>
              <a:rPr lang="de-DE" altLang="en-US"/>
              <a:t> - </a:t>
            </a:r>
            <a:fld id="{4A394591-01D6-4DDC-A9F2-02B77FBBD157}" type="datetime1">
              <a:rPr lang="de-DE" altLang="en-US"/>
              <a:pPr/>
              <a:t>17.07.2023</a:t>
            </a:fld>
            <a:r>
              <a:rPr lang="de-DE" altLang="en-US"/>
              <a:t> - </a:t>
            </a:r>
            <a:fld id="{37A18420-3973-4411-B506-067E2CFFBA13}" type="slidenum">
              <a:rPr lang="de-DE" altLang="en-US"/>
              <a:pPr/>
              <a:t>‹#›</a:t>
            </a:fld>
            <a:endParaRPr lang="de-DE" altLang="en-US"/>
          </a:p>
          <a:p>
            <a:endParaRPr lang="de-DE" altLang="en-US"/>
          </a:p>
        </p:txBody>
      </p:sp>
      <p:sp>
        <p:nvSpPr>
          <p:cNvPr id="1029" name="Line 11">
            <a:extLst>
              <a:ext uri="{FF2B5EF4-FFF2-40B4-BE49-F238E27FC236}">
                <a16:creationId xmlns:a16="http://schemas.microsoft.com/office/drawing/2014/main" id="{885DD12D-EC9B-471F-B8D2-4EBDBC39AA2C}"/>
              </a:ext>
            </a:extLst>
          </p:cNvPr>
          <p:cNvSpPr>
            <a:spLocks noChangeShapeType="1"/>
          </p:cNvSpPr>
          <p:nvPr/>
        </p:nvSpPr>
        <p:spPr bwMode="auto">
          <a:xfrm>
            <a:off x="457200" y="1314450"/>
            <a:ext cx="8229600" cy="0"/>
          </a:xfrm>
          <a:prstGeom prst="line">
            <a:avLst/>
          </a:prstGeom>
          <a:noFill/>
          <a:ln w="1905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30" name="Line 13">
            <a:extLst>
              <a:ext uri="{FF2B5EF4-FFF2-40B4-BE49-F238E27FC236}">
                <a16:creationId xmlns:a16="http://schemas.microsoft.com/office/drawing/2014/main" id="{1C17121A-D014-4249-BFAB-1F19C0E57A92}"/>
              </a:ext>
            </a:extLst>
          </p:cNvPr>
          <p:cNvSpPr>
            <a:spLocks noChangeShapeType="1"/>
          </p:cNvSpPr>
          <p:nvPr/>
        </p:nvSpPr>
        <p:spPr bwMode="auto">
          <a:xfrm>
            <a:off x="454025" y="6388100"/>
            <a:ext cx="8229600" cy="0"/>
          </a:xfrm>
          <a:prstGeom prst="line">
            <a:avLst/>
          </a:prstGeom>
          <a:noFill/>
          <a:ln w="19050">
            <a:solidFill>
              <a:srgbClr val="A50021"/>
            </a:solidFill>
            <a:round/>
            <a:headEnd/>
            <a:tailEnd/>
          </a:ln>
          <a:extLst>
            <a:ext uri="{909E8E84-426E-40DD-AFC4-6F175D3DCCD1}">
              <a14:hiddenFill xmlns:a14="http://schemas.microsoft.com/office/drawing/2010/main">
                <a:noFill/>
              </a14:hiddenFill>
            </a:ext>
          </a:extLst>
        </p:spPr>
        <p:txBody>
          <a:bodyPr/>
          <a:lstStyle/>
          <a:p>
            <a:endParaRPr lang="en-US"/>
          </a:p>
        </p:txBody>
      </p:sp>
      <p:pic>
        <p:nvPicPr>
          <p:cNvPr id="5" name="Picture 4" descr="A screenshot of a cell phone&#10;&#10;Description automatically generated">
            <a:extLst>
              <a:ext uri="{FF2B5EF4-FFF2-40B4-BE49-F238E27FC236}">
                <a16:creationId xmlns:a16="http://schemas.microsoft.com/office/drawing/2014/main" id="{73E4A1C8-4634-440E-A9E1-7D320288325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971800" y="6459538"/>
            <a:ext cx="2514600" cy="353994"/>
          </a:xfrm>
          <a:prstGeom prst="rect">
            <a:avLst/>
          </a:prstGeom>
        </p:spPr>
      </p:pic>
    </p:spTree>
  </p:cSld>
  <p:clrMap bg1="lt1" tx1="dk1" bg2="lt2" tx2="dk2" accent1="accent1" accent2="accent2" accent3="accent3" accent4="accent4" accent5="accent5" accent6="accent6" hlink="hlink" folHlink="folHlink"/>
  <p:sldLayoutIdLst>
    <p:sldLayoutId id="2147497329" r:id="rId1"/>
  </p:sldLayoutIdLst>
  <p:hf hdr="0" ftr="0"/>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p:titleStyle>
    <p:bodyStyle>
      <a:lvl1pPr marL="342900" indent="-342900" algn="l" rtl="0" eaLnBrk="0" fontAlgn="base" hangingPunct="0">
        <a:spcBef>
          <a:spcPct val="20000"/>
        </a:spcBef>
        <a:spcAft>
          <a:spcPct val="0"/>
        </a:spcAft>
        <a:buClr>
          <a:srgbClr val="CC0000"/>
        </a:buClr>
        <a:buFont typeface="Wingdings" panose="05000000000000000000"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C0000"/>
        </a:buClr>
        <a:buChar char="•"/>
        <a:defRPr sz="2400">
          <a:solidFill>
            <a:schemeClr val="tx1"/>
          </a:solidFill>
          <a:latin typeface="+mn-lt"/>
        </a:defRPr>
      </a:lvl2pPr>
      <a:lvl3pPr marL="1143000" indent="-228600" algn="l" rtl="0" eaLnBrk="0" fontAlgn="base" hangingPunct="0">
        <a:spcBef>
          <a:spcPct val="20000"/>
        </a:spcBef>
        <a:spcAft>
          <a:spcPct val="0"/>
        </a:spcAft>
        <a:buClr>
          <a:srgbClr val="CC0000"/>
        </a:buClr>
        <a:buChar char="-"/>
        <a:defRPr sz="2000">
          <a:solidFill>
            <a:schemeClr val="tx1"/>
          </a:solidFill>
          <a:latin typeface="+mn-lt"/>
        </a:defRPr>
      </a:lvl3pPr>
      <a:lvl4pPr marL="1600200" indent="-228600" algn="l" rtl="0" eaLnBrk="0" fontAlgn="base" hangingPunct="0">
        <a:spcBef>
          <a:spcPct val="20000"/>
        </a:spcBef>
        <a:spcAft>
          <a:spcPct val="0"/>
        </a:spcAft>
        <a:buClr>
          <a:srgbClr val="060B70"/>
        </a:buClr>
        <a:buFont typeface="Arial" panose="020B0604020202020204" pitchFamily="34" charset="0"/>
        <a:buChar char="–"/>
        <a:defRPr sz="2000">
          <a:solidFill>
            <a:schemeClr val="tx1"/>
          </a:solidFill>
          <a:latin typeface="+mn-lt"/>
        </a:defRPr>
      </a:lvl4pPr>
      <a:lvl5pPr marL="2057400" indent="-228600" algn="l" rtl="0" eaLnBrk="0" fontAlgn="base" hangingPunct="0">
        <a:spcBef>
          <a:spcPct val="20000"/>
        </a:spcBef>
        <a:spcAft>
          <a:spcPct val="0"/>
        </a:spcAft>
        <a:buClr>
          <a:srgbClr val="060B70"/>
        </a:buClr>
        <a:buFont typeface="Arial" panose="020B0604020202020204" pitchFamily="34" charset="0"/>
        <a:buChar char="»"/>
        <a:defRPr sz="2000">
          <a:solidFill>
            <a:schemeClr val="tx1"/>
          </a:solidFill>
          <a:latin typeface="+mn-lt"/>
        </a:defRPr>
      </a:lvl5pPr>
      <a:lvl6pPr marL="2514600" indent="-228600" algn="l" rtl="0" fontAlgn="base">
        <a:spcBef>
          <a:spcPct val="20000"/>
        </a:spcBef>
        <a:spcAft>
          <a:spcPct val="0"/>
        </a:spcAft>
        <a:buClr>
          <a:srgbClr val="060B70"/>
        </a:buClr>
        <a:buFont typeface="Arial" charset="0"/>
        <a:buChar char="»"/>
        <a:defRPr sz="2000">
          <a:solidFill>
            <a:schemeClr val="tx1"/>
          </a:solidFill>
          <a:latin typeface="+mn-lt"/>
        </a:defRPr>
      </a:lvl6pPr>
      <a:lvl7pPr marL="2971800" indent="-228600" algn="l" rtl="0" fontAlgn="base">
        <a:spcBef>
          <a:spcPct val="20000"/>
        </a:spcBef>
        <a:spcAft>
          <a:spcPct val="0"/>
        </a:spcAft>
        <a:buClr>
          <a:srgbClr val="060B70"/>
        </a:buClr>
        <a:buFont typeface="Arial" charset="0"/>
        <a:buChar char="»"/>
        <a:defRPr sz="2000">
          <a:solidFill>
            <a:schemeClr val="tx1"/>
          </a:solidFill>
          <a:latin typeface="+mn-lt"/>
        </a:defRPr>
      </a:lvl7pPr>
      <a:lvl8pPr marL="3429000" indent="-228600" algn="l" rtl="0" fontAlgn="base">
        <a:spcBef>
          <a:spcPct val="20000"/>
        </a:spcBef>
        <a:spcAft>
          <a:spcPct val="0"/>
        </a:spcAft>
        <a:buClr>
          <a:srgbClr val="060B70"/>
        </a:buClr>
        <a:buFont typeface="Arial" charset="0"/>
        <a:buChar char="»"/>
        <a:defRPr sz="2000">
          <a:solidFill>
            <a:schemeClr val="tx1"/>
          </a:solidFill>
          <a:latin typeface="+mn-lt"/>
        </a:defRPr>
      </a:lvl8pPr>
      <a:lvl9pPr marL="3886200" indent="-228600" algn="l" rtl="0" fontAlgn="base">
        <a:spcBef>
          <a:spcPct val="20000"/>
        </a:spcBef>
        <a:spcAft>
          <a:spcPct val="0"/>
        </a:spcAft>
        <a:buClr>
          <a:srgbClr val="060B70"/>
        </a:buClr>
        <a:buFont typeface="Arial"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90E1C2-45A6-4F5B-B5E9-581265C9DD24}"/>
              </a:ext>
            </a:extLst>
          </p:cNvPr>
          <p:cNvGraphicFramePr>
            <a:graphicFrameLocks noChangeAspect="1"/>
          </p:cNvGraphicFramePr>
          <p:nvPr userDrawn="1">
            <p:custDataLst>
              <p:tags r:id="rId3"/>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A90E1C2-45A6-4F5B-B5E9-581265C9DD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Placeholder 1"/>
          <p:cNvSpPr>
            <a:spLocks noGrp="1"/>
          </p:cNvSpPr>
          <p:nvPr>
            <p:ph type="title"/>
          </p:nvPr>
        </p:nvSpPr>
        <p:spPr>
          <a:xfrm>
            <a:off x="301917" y="366713"/>
            <a:ext cx="8540166" cy="687388"/>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01917" y="1431925"/>
            <a:ext cx="8540166" cy="466407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505825" y="6356351"/>
            <a:ext cx="336258" cy="365125"/>
          </a:xfrm>
          <a:prstGeom prst="rect">
            <a:avLst/>
          </a:prstGeom>
        </p:spPr>
        <p:txBody>
          <a:bodyPr vert="horz" lIns="91440" tIns="45720" rIns="91440" bIns="45720" rtlCol="0" anchor="ctr"/>
          <a:lstStyle>
            <a:lvl1pPr algn="r">
              <a:defRPr sz="900">
                <a:solidFill>
                  <a:schemeClr val="tx1"/>
                </a:solidFill>
              </a:defRPr>
            </a:lvl1pPr>
          </a:lstStyle>
          <a:p>
            <a:fld id="{315844CB-BBB2-4CDC-A068-40F042A852AE}" type="slidenum">
              <a:rPr lang="en-CA" smtClean="0"/>
              <a:pPr/>
              <a:t>‹#›</a:t>
            </a:fld>
            <a:endParaRPr lang="en-CA" dirty="0"/>
          </a:p>
        </p:txBody>
      </p:sp>
      <p:pic>
        <p:nvPicPr>
          <p:cNvPr id="10" name="Picture 9">
            <a:extLst>
              <a:ext uri="{FF2B5EF4-FFF2-40B4-BE49-F238E27FC236}">
                <a16:creationId xmlns:a16="http://schemas.microsoft.com/office/drawing/2014/main" id="{5A9900CE-6341-461E-921A-C4DE5DD1CC1D}"/>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301917" y="6403654"/>
            <a:ext cx="2592288" cy="270519"/>
          </a:xfrm>
          <a:prstGeom prst="rect">
            <a:avLst/>
          </a:prstGeom>
        </p:spPr>
      </p:pic>
    </p:spTree>
    <p:extLst>
      <p:ext uri="{BB962C8B-B14F-4D97-AF65-F5344CB8AC3E}">
        <p14:creationId xmlns:p14="http://schemas.microsoft.com/office/powerpoint/2010/main" val="2634445035"/>
      </p:ext>
    </p:extLst>
  </p:cSld>
  <p:clrMap bg1="lt1" tx1="dk1" bg2="lt2" tx2="dk2" accent1="accent1" accent2="accent2" accent3="accent3" accent4="accent4" accent5="accent5" accent6="accent6" hlink="hlink" folHlink="folHlink"/>
  <p:sldLayoutIdLst>
    <p:sldLayoutId id="2147483715" r:id="rId1"/>
  </p:sldLayoutIdLst>
  <p:hf hdr="0" ft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1pPr>
      <a:lvl2pPr marL="457200" indent="-228600" algn="l" defTabSz="914400" rtl="0" eaLnBrk="1" latinLnBrk="0" hangingPunct="1">
        <a:lnSpc>
          <a:spcPct val="100000"/>
        </a:lnSpc>
        <a:spcBef>
          <a:spcPts val="0"/>
        </a:spcBef>
        <a:spcAft>
          <a:spcPts val="600"/>
        </a:spcAft>
        <a:buClr>
          <a:schemeClr val="tx2"/>
        </a:buClr>
        <a:buFontTx/>
        <a:buChar char="‒"/>
        <a:defRPr sz="1800" kern="1200">
          <a:solidFill>
            <a:schemeClr val="tx1"/>
          </a:solidFill>
          <a:latin typeface="+mn-lt"/>
          <a:ea typeface="+mn-ea"/>
          <a:cs typeface="+mn-cs"/>
        </a:defRPr>
      </a:lvl2pPr>
      <a:lvl3pPr marL="685800" indent="-228600" algn="l" defTabSz="914400" rtl="0" eaLnBrk="1" latinLnBrk="0" hangingPunct="1">
        <a:lnSpc>
          <a:spcPct val="100000"/>
        </a:lnSpc>
        <a:spcBef>
          <a:spcPts val="0"/>
        </a:spcBef>
        <a:spcAft>
          <a:spcPts val="600"/>
        </a:spcAft>
        <a:buClr>
          <a:schemeClr val="tx2"/>
        </a:buClr>
        <a:buSzPct val="80000"/>
        <a:buFont typeface="Wingdings" panose="05000000000000000000" pitchFamily="2" charset="2"/>
        <a:buChar char="§"/>
        <a:defRPr sz="1800" kern="1200">
          <a:solidFill>
            <a:schemeClr val="tx1"/>
          </a:solidFill>
          <a:latin typeface="+mn-lt"/>
          <a:ea typeface="+mn-ea"/>
          <a:cs typeface="+mn-cs"/>
        </a:defRPr>
      </a:lvl3pPr>
      <a:lvl4pPr marL="9144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4pPr>
      <a:lvl5pPr marL="11430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71CE0A-7334-4623-AC89-0010A0C16E69}"/>
              </a:ext>
            </a:extLst>
          </p:cNvPr>
          <p:cNvSpPr>
            <a:spLocks noGrp="1"/>
          </p:cNvSpPr>
          <p:nvPr>
            <p:ph type="title"/>
          </p:nvPr>
        </p:nvSpPr>
        <p:spPr>
          <a:xfrm>
            <a:off x="181724" y="-230778"/>
            <a:ext cx="7886700" cy="1325563"/>
          </a:xfrm>
          <a:prstGeom prst="rect">
            <a:avLst/>
          </a:prstGeom>
        </p:spPr>
        <p:txBody>
          <a:bodyPr vert="horz" lIns="91440" tIns="45720" rIns="91440" bIns="45720" rtlCol="0" anchor="ctr">
            <a:normAutofit/>
          </a:bodyPr>
          <a:lstStyle/>
          <a:p>
            <a:r>
              <a:rPr lang="en-US" dirty="0"/>
              <a:t>Click to edit Master title style</a:t>
            </a:r>
            <a:endParaRPr lang="en-CA" dirty="0"/>
          </a:p>
        </p:txBody>
      </p:sp>
      <p:sp>
        <p:nvSpPr>
          <p:cNvPr id="3" name="Text Placeholder 2">
            <a:extLst>
              <a:ext uri="{FF2B5EF4-FFF2-40B4-BE49-F238E27FC236}">
                <a16:creationId xmlns:a16="http://schemas.microsoft.com/office/drawing/2014/main" id="{E99EEFF5-3264-4FD5-9F76-C6AC9D147CF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8880BB22-AF52-4EE0-A4A1-4971AE6ECAA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EA416A6-8BEE-4A3F-808B-0904628D6F34}" type="datetime1">
              <a:rPr lang="en-CA" smtClean="0"/>
              <a:t>2023-07-17</a:t>
            </a:fld>
            <a:endParaRPr lang="en-CA"/>
          </a:p>
        </p:txBody>
      </p:sp>
      <p:sp>
        <p:nvSpPr>
          <p:cNvPr id="5" name="Footer Placeholder 4">
            <a:extLst>
              <a:ext uri="{FF2B5EF4-FFF2-40B4-BE49-F238E27FC236}">
                <a16:creationId xmlns:a16="http://schemas.microsoft.com/office/drawing/2014/main" id="{7BF4A932-B66A-4731-8BD9-E41A50F4528F}"/>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C748CE3D-54FB-4440-9BD6-A5F6761D7774}"/>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1F560D5-53A7-4969-B8DF-E1F637D39903}" type="slidenum">
              <a:rPr lang="en-CA" smtClean="0"/>
              <a:t>‹#›</a:t>
            </a:fld>
            <a:endParaRPr lang="en-CA"/>
          </a:p>
        </p:txBody>
      </p:sp>
      <p:pic>
        <p:nvPicPr>
          <p:cNvPr id="7" name="Picture 6">
            <a:extLst>
              <a:ext uri="{FF2B5EF4-FFF2-40B4-BE49-F238E27FC236}">
                <a16:creationId xmlns:a16="http://schemas.microsoft.com/office/drawing/2014/main" id="{54879D7B-BA71-47A1-BD70-7BCCBC3C25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2353" y="6543006"/>
            <a:ext cx="2483698" cy="219553"/>
          </a:xfrm>
          <a:prstGeom prst="rect">
            <a:avLst/>
          </a:prstGeom>
        </p:spPr>
      </p:pic>
      <p:pic>
        <p:nvPicPr>
          <p:cNvPr id="9" name="Picture 8" descr="Graphical user interface, text&#10;&#10;Description automatically generated with medium confidence">
            <a:extLst>
              <a:ext uri="{FF2B5EF4-FFF2-40B4-BE49-F238E27FC236}">
                <a16:creationId xmlns:a16="http://schemas.microsoft.com/office/drawing/2014/main" id="{1BFE8595-AE64-4268-9792-823E44AD836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42783" y="6098230"/>
            <a:ext cx="1601218" cy="759771"/>
          </a:xfrm>
          <a:prstGeom prst="rect">
            <a:avLst/>
          </a:prstGeom>
        </p:spPr>
      </p:pic>
    </p:spTree>
    <p:extLst>
      <p:ext uri="{BB962C8B-B14F-4D97-AF65-F5344CB8AC3E}">
        <p14:creationId xmlns:p14="http://schemas.microsoft.com/office/powerpoint/2010/main" val="109284353"/>
      </p:ext>
    </p:extLst>
  </p:cSld>
  <p:clrMap bg1="lt1" tx1="dk1" bg2="lt2" tx2="dk2" accent1="accent1" accent2="accent2" accent3="accent3" accent4="accent4" accent5="accent5" accent6="accent6" hlink="hlink" folHlink="folHlink"/>
  <p:sldLayoutIdLst>
    <p:sldLayoutId id="2147497903" r:id="rId1"/>
    <p:sldLayoutId id="2147497907" r:id="rId2"/>
  </p:sldLayoutIdLst>
  <p:hf hdr="0" ftr="0" dt="0"/>
  <p:txStyles>
    <p:titleStyle>
      <a:lvl1pPr algn="l" defTabSz="914400" rtl="0" eaLnBrk="1" latinLnBrk="0" hangingPunct="1">
        <a:lnSpc>
          <a:spcPct val="90000"/>
        </a:lnSpc>
        <a:spcBef>
          <a:spcPct val="0"/>
        </a:spcBef>
        <a:buNone/>
        <a:defRPr sz="3200" kern="12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Open Sans" panose="020B0606030504020204"/>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158"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25B5F5-1415-490D-B254-D8F1B750FC78}"/>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BE9521-59C0-4D4F-B2A7-A6DDED4474E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AE1CD2-C88A-420E-B65D-3A8C2D62D67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A50053D-9708-40B6-965A-EAB3CCD3287C}" type="datetimeFigureOut">
              <a:rPr lang="en-US" smtClean="0"/>
              <a:t>7/17/2023</a:t>
            </a:fld>
            <a:endParaRPr lang="en-US"/>
          </a:p>
        </p:txBody>
      </p:sp>
      <p:sp>
        <p:nvSpPr>
          <p:cNvPr id="5" name="Footer Placeholder 4">
            <a:extLst>
              <a:ext uri="{FF2B5EF4-FFF2-40B4-BE49-F238E27FC236}">
                <a16:creationId xmlns:a16="http://schemas.microsoft.com/office/drawing/2014/main" id="{F2B60BD1-C0F3-4A40-BE55-6D95053DB5D8}"/>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385CE36-B642-4902-BA53-100242EC6B8C}"/>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2BB8A17-7014-429C-AF4E-5E87565A02AF}" type="slidenum">
              <a:rPr lang="en-US" smtClean="0"/>
              <a:t>‹#›</a:t>
            </a:fld>
            <a:endParaRPr lang="en-US"/>
          </a:p>
        </p:txBody>
      </p:sp>
    </p:spTree>
    <p:extLst>
      <p:ext uri="{BB962C8B-B14F-4D97-AF65-F5344CB8AC3E}">
        <p14:creationId xmlns:p14="http://schemas.microsoft.com/office/powerpoint/2010/main" val="3808468665"/>
      </p:ext>
    </p:extLst>
  </p:cSld>
  <p:clrMap bg1="lt1" tx1="dk1" bg2="lt2" tx2="dk2" accent1="accent1" accent2="accent2" accent3="accent3" accent4="accent4" accent5="accent5" accent6="accent6" hlink="hlink" folHlink="folHlink"/>
  <p:sldLayoutIdLst>
    <p:sldLayoutId id="21474836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EE73FE9D-8277-4908-BEF9-5B6F6CF46737}" type="datetime1">
              <a:rPr lang="en-US" smtClean="0"/>
              <a:t>7/17/2023</a:t>
            </a:fld>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S. Cunningham;  Intel Corporation; 2013</a:t>
            </a: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78D0224-7849-4939-A284-59648356A65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97905" r:id="rId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Number"/>
          <p:cNvSpPr txBox="1">
            <a:spLocks noGrp="1"/>
          </p:cNvSpPr>
          <p:nvPr>
            <p:ph type="sldNum" sz="quarter" idx="2"/>
          </p:nvPr>
        </p:nvSpPr>
        <p:spPr>
          <a:xfrm>
            <a:off x="8832979" y="6388873"/>
            <a:ext cx="173261" cy="300082"/>
          </a:xfrm>
          <a:prstGeom prst="rect">
            <a:avLst/>
          </a:prstGeom>
          <a:ln w="12700">
            <a:miter lim="400000"/>
          </a:ln>
        </p:spPr>
        <p:txBody>
          <a:bodyPr wrap="square" lIns="45719" rIns="45719" anchor="ctr">
            <a:spAutoFit/>
          </a:bodyPr>
          <a:lstStyle>
            <a:lvl1pPr algn="r">
              <a:defRPr sz="675"/>
            </a:lvl1pPr>
          </a:lstStyle>
          <a:p>
            <a:fld id="{86CB4B4D-7CA3-9044-876B-883B54F8677D}" type="slidenum">
              <a:t>‹#›</a:t>
            </a:fld>
            <a:endParaRPr/>
          </a:p>
        </p:txBody>
      </p:sp>
      <p:sp>
        <p:nvSpPr>
          <p:cNvPr id="3" name="Title Text"/>
          <p:cNvSpPr txBox="1">
            <a:spLocks noGrp="1"/>
          </p:cNvSpPr>
          <p:nvPr>
            <p:ph type="title"/>
          </p:nvPr>
        </p:nvSpPr>
        <p:spPr>
          <a:xfrm>
            <a:off x="501523" y="361705"/>
            <a:ext cx="8428316" cy="42756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t>Title Text</a:t>
            </a:r>
          </a:p>
        </p:txBody>
      </p:sp>
      <p:sp>
        <p:nvSpPr>
          <p:cNvPr id="4" name="Body Level One…"/>
          <p:cNvSpPr txBox="1">
            <a:spLocks noGrp="1"/>
          </p:cNvSpPr>
          <p:nvPr>
            <p:ph type="body" idx="1"/>
          </p:nvPr>
        </p:nvSpPr>
        <p:spPr>
          <a:xfrm>
            <a:off x="501523" y="1754371"/>
            <a:ext cx="8428316" cy="442259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Rectangle 6"/>
          <p:cNvSpPr/>
          <p:nvPr/>
        </p:nvSpPr>
        <p:spPr>
          <a:xfrm>
            <a:off x="0" y="0"/>
            <a:ext cx="171450" cy="6858000"/>
          </a:xfrm>
          <a:prstGeom prst="rect">
            <a:avLst/>
          </a:prstGeom>
          <a:solidFill>
            <a:schemeClr val="accent1"/>
          </a:solidFill>
          <a:ln w="12700">
            <a:miter lim="400000"/>
          </a:ln>
        </p:spPr>
        <p:txBody>
          <a:bodyPr lIns="34289" rIns="34289"/>
          <a:lstStyle/>
          <a:p>
            <a:pPr defTabSz="514350">
              <a:defRPr>
                <a:solidFill>
                  <a:srgbClr val="3848A3"/>
                </a:solidFill>
                <a:latin typeface="Times New Roman"/>
                <a:ea typeface="Times New Roman"/>
                <a:cs typeface="Times New Roman"/>
                <a:sym typeface="Times New Roman"/>
              </a:defRPr>
            </a:pPr>
            <a:endParaRPr sz="1350"/>
          </a:p>
        </p:txBody>
      </p:sp>
      <p:sp>
        <p:nvSpPr>
          <p:cNvPr id="6" name="Rectangle 7"/>
          <p:cNvSpPr/>
          <p:nvPr/>
        </p:nvSpPr>
        <p:spPr>
          <a:xfrm>
            <a:off x="501523" y="808523"/>
            <a:ext cx="838201" cy="76201"/>
          </a:xfrm>
          <a:prstGeom prst="rect">
            <a:avLst/>
          </a:prstGeom>
          <a:solidFill>
            <a:schemeClr val="accent2"/>
          </a:solidFill>
          <a:ln w="12700">
            <a:miter lim="400000"/>
          </a:ln>
        </p:spPr>
        <p:txBody>
          <a:bodyPr lIns="34289" rIns="34289"/>
          <a:lstStyle/>
          <a:p>
            <a:pPr>
              <a:defRPr sz="2400">
                <a:solidFill>
                  <a:srgbClr val="3848A3"/>
                </a:solidFill>
                <a:latin typeface="Times New Roman"/>
                <a:ea typeface="Times New Roman"/>
                <a:cs typeface="Times New Roman"/>
                <a:sym typeface="Times New Roman"/>
              </a:defRPr>
            </a:pPr>
            <a:endParaRPr sz="1800"/>
          </a:p>
        </p:txBody>
      </p:sp>
    </p:spTree>
  </p:cSld>
  <p:clrMap bg1="lt1" tx1="dk1" bg2="lt2" tx2="dk2" accent1="accent1" accent2="accent2" accent3="accent3" accent4="accent4" accent5="accent5" accent6="accent6" hlink="hlink" folHlink="folHlink"/>
  <p:sldLayoutIdLst>
    <p:sldLayoutId id="2147483660" r:id="rId1"/>
    <p:sldLayoutId id="2147483654" r:id="rId2"/>
    <p:sldLayoutId id="2147483649" r:id="rId3"/>
    <p:sldLayoutId id="2147483655" r:id="rId4"/>
  </p:sldLayoutIdLst>
  <p:transition spd="med"/>
  <p:txStyles>
    <p:titleStyle>
      <a:lvl1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1pPr>
      <a:lvl2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2pPr>
      <a:lvl3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3pPr>
      <a:lvl4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4pPr>
      <a:lvl5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5pPr>
      <a:lvl6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6pPr>
      <a:lvl7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7pPr>
      <a:lvl8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8pPr>
      <a:lvl9pPr marL="0" marR="0" indent="0" algn="l" defTabSz="685800" rtl="0" latinLnBrk="0">
        <a:lnSpc>
          <a:spcPct val="90000"/>
        </a:lnSpc>
        <a:spcBef>
          <a:spcPts val="0"/>
        </a:spcBef>
        <a:spcAft>
          <a:spcPts val="0"/>
        </a:spcAft>
        <a:buClrTx/>
        <a:buSzTx/>
        <a:buFontTx/>
        <a:buNone/>
        <a:tabLst/>
        <a:defRPr sz="2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9pPr>
    </p:titleStyle>
    <p:bodyStyle>
      <a:lvl1pPr marL="231775" marR="0" indent="-231775" algn="l" defTabSz="685800" rtl="0" latinLnBrk="0">
        <a:lnSpc>
          <a:spcPct val="103000"/>
        </a:lnSpc>
        <a:spcBef>
          <a:spcPts val="700"/>
        </a:spcBef>
        <a:spcAft>
          <a:spcPts val="0"/>
        </a:spcAft>
        <a:buClrTx/>
        <a:buSzPct val="100000"/>
        <a:buFont typeface="Arial"/>
        <a:buChar char="•"/>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1pPr>
      <a:lvl2pPr marL="490736" marR="0" indent="-258961" algn="l" defTabSz="685800" rtl="0" latinLnBrk="0">
        <a:lnSpc>
          <a:spcPct val="103000"/>
        </a:lnSpc>
        <a:spcBef>
          <a:spcPts val="700"/>
        </a:spcBef>
        <a:spcAft>
          <a:spcPts val="0"/>
        </a:spcAft>
        <a:buClrTx/>
        <a:buSzPct val="100000"/>
        <a:buFont typeface="Arial"/>
        <a:buChar char="−"/>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2pPr>
      <a:lvl3pPr marL="704254" marR="0" indent="-194667" algn="l" defTabSz="685800" rtl="0" latinLnBrk="0">
        <a:lnSpc>
          <a:spcPct val="103000"/>
        </a:lnSpc>
        <a:spcBef>
          <a:spcPts val="700"/>
        </a:spcBef>
        <a:spcAft>
          <a:spcPts val="0"/>
        </a:spcAft>
        <a:buClrTx/>
        <a:buSzPct val="100000"/>
        <a:buFont typeface="Arial"/>
        <a:buChar char="o"/>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3pPr>
      <a:lvl4pPr marL="1266092" marR="0" indent="-237392" algn="l" defTabSz="685800" rtl="0" latinLnBrk="0">
        <a:lnSpc>
          <a:spcPct val="103000"/>
        </a:lnSpc>
        <a:spcBef>
          <a:spcPts val="700"/>
        </a:spcBef>
        <a:spcAft>
          <a:spcPts val="0"/>
        </a:spcAft>
        <a:buClrTx/>
        <a:buSzPct val="100000"/>
        <a:buFont typeface="Arial"/>
        <a:buChar char="•"/>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4pPr>
      <a:lvl5pPr marL="1608992" marR="0" indent="-237392" algn="l" defTabSz="685800" rtl="0" latinLnBrk="0">
        <a:lnSpc>
          <a:spcPct val="103000"/>
        </a:lnSpc>
        <a:spcBef>
          <a:spcPts val="700"/>
        </a:spcBef>
        <a:spcAft>
          <a:spcPts val="0"/>
        </a:spcAft>
        <a:buClrTx/>
        <a:buSzPct val="100000"/>
        <a:buFont typeface="Arial"/>
        <a:buChar char="•"/>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5pPr>
      <a:lvl6pPr marL="1951892" marR="0" indent="-237392" algn="l" defTabSz="685800" rtl="0" latinLnBrk="0">
        <a:lnSpc>
          <a:spcPct val="103000"/>
        </a:lnSpc>
        <a:spcBef>
          <a:spcPts val="700"/>
        </a:spcBef>
        <a:spcAft>
          <a:spcPts val="0"/>
        </a:spcAft>
        <a:buClrTx/>
        <a:buSzPct val="100000"/>
        <a:buFont typeface="Arial"/>
        <a:buChar char="•"/>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6pPr>
      <a:lvl7pPr marL="2294792" marR="0" indent="-237392" algn="l" defTabSz="685800" rtl="0" latinLnBrk="0">
        <a:lnSpc>
          <a:spcPct val="103000"/>
        </a:lnSpc>
        <a:spcBef>
          <a:spcPts val="700"/>
        </a:spcBef>
        <a:spcAft>
          <a:spcPts val="0"/>
        </a:spcAft>
        <a:buClrTx/>
        <a:buSzPct val="100000"/>
        <a:buFont typeface="Arial"/>
        <a:buChar char="•"/>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7pPr>
      <a:lvl8pPr marL="2637692" marR="0" indent="-237392" algn="l" defTabSz="685800" rtl="0" latinLnBrk="0">
        <a:lnSpc>
          <a:spcPct val="103000"/>
        </a:lnSpc>
        <a:spcBef>
          <a:spcPts val="700"/>
        </a:spcBef>
        <a:spcAft>
          <a:spcPts val="0"/>
        </a:spcAft>
        <a:buClrTx/>
        <a:buSzPct val="100000"/>
        <a:buFont typeface="Arial"/>
        <a:buChar char="•"/>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8pPr>
      <a:lvl9pPr marL="2980592" marR="0" indent="-237392" algn="l" defTabSz="685800" rtl="0" latinLnBrk="0">
        <a:lnSpc>
          <a:spcPct val="103000"/>
        </a:lnSpc>
        <a:spcBef>
          <a:spcPts val="700"/>
        </a:spcBef>
        <a:spcAft>
          <a:spcPts val="0"/>
        </a:spcAft>
        <a:buClrTx/>
        <a:buSzPct val="100000"/>
        <a:buFont typeface="Arial"/>
        <a:buChar char="•"/>
        <a:tabLst/>
        <a:defRPr sz="1800" b="0" i="0" u="none" strike="noStrike" cap="none" spc="0" baseline="0">
          <a:solidFill>
            <a:srgbClr val="000000"/>
          </a:solidFill>
          <a:uFillTx/>
          <a:latin typeface="游ゴシック体 ミディアム"/>
          <a:ea typeface="游ゴシック体 ミディアム"/>
          <a:cs typeface="游ゴシック体 ミディアム"/>
          <a:sym typeface="游ゴシック体 ミディアム"/>
        </a:defRPr>
      </a:lvl9pPr>
    </p:bodyStyle>
    <p:otherStyle>
      <a:lvl1pPr marL="0" marR="0" indent="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1pPr>
      <a:lvl2pPr marL="0" marR="0" indent="45720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2pPr>
      <a:lvl3pPr marL="0" marR="0" indent="91440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3pPr>
      <a:lvl4pPr marL="0" marR="0" indent="137160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4pPr>
      <a:lvl5pPr marL="0" marR="0" indent="182880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5pPr>
      <a:lvl6pPr marL="0" marR="0" indent="228600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6pPr>
      <a:lvl7pPr marL="0" marR="0" indent="274320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7pPr>
      <a:lvl8pPr marL="0" marR="0" indent="320040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8pPr>
      <a:lvl9pPr marL="0" marR="0" indent="3657600" algn="r" defTabSz="9144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游ゴシック体 ミディアム"/>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8469630" y="0"/>
            <a:ext cx="685800" cy="6858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946404" y="365760"/>
            <a:ext cx="7269480" cy="1325562"/>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946404" y="1828801"/>
            <a:ext cx="6446520" cy="43513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16200000">
            <a:off x="7860032" y="1044178"/>
            <a:ext cx="1904999" cy="273844"/>
          </a:xfrm>
          <a:prstGeom prst="rect">
            <a:avLst/>
          </a:prstGeom>
        </p:spPr>
        <p:txBody>
          <a:bodyPr vert="horz" lIns="91440" tIns="45720" rIns="91440" bIns="45720" rtlCol="0" anchor="ctr"/>
          <a:lstStyle>
            <a:lvl1pPr algn="r">
              <a:defRPr sz="788" b="0">
                <a:solidFill>
                  <a:schemeClr val="tx2">
                    <a:lumMod val="20000"/>
                    <a:lumOff val="80000"/>
                  </a:schemeClr>
                </a:solidFill>
              </a:defRPr>
            </a:lvl1pPr>
          </a:lstStyle>
          <a:p>
            <a:fld id="{7DDD9C72-0740-4209-BCE8-BA85B7C7B770}" type="datetime1">
              <a:rPr lang="en-US" smtClean="0"/>
              <a:t>7/17/2023</a:t>
            </a:fld>
            <a:endParaRPr lang="en-US"/>
          </a:p>
        </p:txBody>
      </p:sp>
      <p:sp>
        <p:nvSpPr>
          <p:cNvPr id="5" name="Footer Placeholder 4"/>
          <p:cNvSpPr>
            <a:spLocks noGrp="1"/>
          </p:cNvSpPr>
          <p:nvPr>
            <p:ph type="ftr" sz="quarter" idx="3"/>
          </p:nvPr>
        </p:nvSpPr>
        <p:spPr>
          <a:xfrm rot="16200000">
            <a:off x="7021831" y="4092178"/>
            <a:ext cx="3581400" cy="273844"/>
          </a:xfrm>
          <a:prstGeom prst="rect">
            <a:avLst/>
          </a:prstGeom>
        </p:spPr>
        <p:txBody>
          <a:bodyPr vert="horz" lIns="91440" tIns="45720" rIns="91440" bIns="45720" rtlCol="0" anchor="ctr"/>
          <a:lstStyle>
            <a:lvl1pPr algn="l">
              <a:defRPr sz="788">
                <a:solidFill>
                  <a:schemeClr val="tx2">
                    <a:lumMod val="20000"/>
                    <a:lumOff val="80000"/>
                  </a:schemeClr>
                </a:solidFill>
              </a:defRPr>
            </a:lvl1pPr>
          </a:lstStyle>
          <a:p>
            <a:endParaRPr lang="en-US"/>
          </a:p>
        </p:txBody>
      </p:sp>
      <p:sp>
        <p:nvSpPr>
          <p:cNvPr id="6" name="Slide Number Placeholder 5"/>
          <p:cNvSpPr>
            <a:spLocks noGrp="1"/>
          </p:cNvSpPr>
          <p:nvPr>
            <p:ph type="sldNum" sz="quarter" idx="4"/>
          </p:nvPr>
        </p:nvSpPr>
        <p:spPr>
          <a:xfrm>
            <a:off x="8469630" y="6172201"/>
            <a:ext cx="685800" cy="593725"/>
          </a:xfrm>
          <a:prstGeom prst="rect">
            <a:avLst/>
          </a:prstGeom>
        </p:spPr>
        <p:txBody>
          <a:bodyPr vert="horz" lIns="45720" tIns="45720" rIns="45720" bIns="45720" rtlCol="0" anchor="ctr">
            <a:normAutofit/>
          </a:bodyPr>
          <a:lstStyle>
            <a:lvl1pPr algn="ctr">
              <a:defRPr sz="2700">
                <a:solidFill>
                  <a:schemeClr val="tx2">
                    <a:lumMod val="60000"/>
                    <a:lumOff val="40000"/>
                  </a:schemeClr>
                </a:solidFill>
              </a:defRPr>
            </a:lvl1pPr>
          </a:lstStyle>
          <a:p>
            <a:fld id="{916F7459-FC5A-42D3-A687-25DF543000E5}" type="slidenum">
              <a:rPr lang="en-US" smtClean="0"/>
              <a:t>‹#›</a:t>
            </a:fld>
            <a:endParaRPr lang="en-US"/>
          </a:p>
        </p:txBody>
      </p:sp>
    </p:spTree>
    <p:extLst>
      <p:ext uri="{BB962C8B-B14F-4D97-AF65-F5344CB8AC3E}">
        <p14:creationId xmlns:p14="http://schemas.microsoft.com/office/powerpoint/2010/main" val="650928819"/>
      </p:ext>
    </p:extLst>
  </p:cSld>
  <p:clrMap bg1="lt1" tx1="dk1" bg2="lt2" tx2="dk2" accent1="accent1" accent2="accent2" accent3="accent3" accent4="accent4" accent5="accent5" accent6="accent6" hlink="hlink" folHlink="folHlink"/>
  <p:sldLayoutIdLst>
    <p:sldLayoutId id="2147497887" r:id="rId1"/>
  </p:sldLayoutIdLst>
  <p:hf hdr="0" ftr="0" dt="0"/>
  <p:txStyles>
    <p:titleStyle>
      <a:lvl1pPr algn="l" defTabSz="685800" rtl="0" eaLnBrk="1" latinLnBrk="0" hangingPunct="1">
        <a:lnSpc>
          <a:spcPct val="90000"/>
        </a:lnSpc>
        <a:spcBef>
          <a:spcPct val="0"/>
        </a:spcBef>
        <a:buNone/>
        <a:defRPr sz="3300" kern="1200" spc="-38" baseline="0">
          <a:solidFill>
            <a:schemeClr val="tx1"/>
          </a:solidFill>
          <a:latin typeface="+mj-lt"/>
          <a:ea typeface="+mj-ea"/>
          <a:cs typeface="+mj-cs"/>
        </a:defRPr>
      </a:lvl1pPr>
    </p:titleStyle>
    <p:bodyStyle>
      <a:lvl1pPr marL="137160" indent="-137160" algn="l" defTabSz="685800" rtl="0" eaLnBrk="1" latinLnBrk="0" hangingPunct="1">
        <a:lnSpc>
          <a:spcPct val="95000"/>
        </a:lnSpc>
        <a:spcBef>
          <a:spcPts val="1050"/>
        </a:spcBef>
        <a:spcAft>
          <a:spcPts val="150"/>
        </a:spcAft>
        <a:buClr>
          <a:schemeClr val="accent1"/>
        </a:buClr>
        <a:buSzPct val="80000"/>
        <a:buFont typeface="Arial" pitchFamily="34" charset="0"/>
        <a:buChar char="•"/>
        <a:defRPr sz="1350" kern="1200" spc="8" baseline="0">
          <a:solidFill>
            <a:schemeClr val="tx1"/>
          </a:solidFill>
          <a:latin typeface="+mn-lt"/>
          <a:ea typeface="+mn-ea"/>
          <a:cs typeface="+mn-cs"/>
        </a:defRPr>
      </a:lvl1pPr>
      <a:lvl2pPr marL="342900" indent="-137160" algn="l" defTabSz="685800" rtl="0" eaLnBrk="1" latinLnBrk="0" hangingPunct="1">
        <a:lnSpc>
          <a:spcPct val="90000"/>
        </a:lnSpc>
        <a:spcBef>
          <a:spcPts val="225"/>
        </a:spcBef>
        <a:spcAft>
          <a:spcPts val="225"/>
        </a:spcAft>
        <a:buClr>
          <a:schemeClr val="accent1"/>
        </a:buClr>
        <a:buFont typeface="Wingdings 2" pitchFamily="18" charset="2"/>
        <a:buChar char=""/>
        <a:defRPr sz="1200" kern="1200">
          <a:solidFill>
            <a:schemeClr val="tx1">
              <a:lumMod val="85000"/>
              <a:lumOff val="15000"/>
            </a:schemeClr>
          </a:solidFill>
          <a:latin typeface="+mn-lt"/>
          <a:ea typeface="+mn-ea"/>
          <a:cs typeface="+mn-cs"/>
        </a:defRPr>
      </a:lvl2pPr>
      <a:lvl3pPr marL="548640" indent="-137160" algn="l" defTabSz="685800" rtl="0" eaLnBrk="1" latinLnBrk="0" hangingPunct="1">
        <a:lnSpc>
          <a:spcPct val="90000"/>
        </a:lnSpc>
        <a:spcBef>
          <a:spcPts val="225"/>
        </a:spcBef>
        <a:spcAft>
          <a:spcPts val="225"/>
        </a:spcAft>
        <a:buClr>
          <a:schemeClr val="accent1"/>
        </a:buClr>
        <a:buFont typeface="Wingdings 2" pitchFamily="18" charset="2"/>
        <a:buChar char=""/>
        <a:defRPr sz="1050" kern="1200">
          <a:solidFill>
            <a:schemeClr val="tx1">
              <a:lumMod val="85000"/>
              <a:lumOff val="15000"/>
            </a:schemeClr>
          </a:solidFill>
          <a:latin typeface="+mn-lt"/>
          <a:ea typeface="+mn-ea"/>
          <a:cs typeface="+mn-cs"/>
        </a:defRPr>
      </a:lvl3pPr>
      <a:lvl4pPr marL="754380" indent="-137160" algn="l" defTabSz="685800" rtl="0" eaLnBrk="1" latinLnBrk="0" hangingPunct="1">
        <a:lnSpc>
          <a:spcPct val="90000"/>
        </a:lnSpc>
        <a:spcBef>
          <a:spcPts val="225"/>
        </a:spcBef>
        <a:spcAft>
          <a:spcPts val="225"/>
        </a:spcAft>
        <a:buClr>
          <a:schemeClr val="accent1"/>
        </a:buClr>
        <a:buFont typeface="Wingdings 2" pitchFamily="18" charset="2"/>
        <a:buChar char=""/>
        <a:defRPr sz="1050" kern="1200">
          <a:solidFill>
            <a:schemeClr val="tx1">
              <a:lumMod val="85000"/>
              <a:lumOff val="15000"/>
            </a:schemeClr>
          </a:solidFill>
          <a:latin typeface="+mn-lt"/>
          <a:ea typeface="+mn-ea"/>
          <a:cs typeface="+mn-cs"/>
        </a:defRPr>
      </a:lvl4pPr>
      <a:lvl5pPr marL="960120" indent="-137160" algn="l" defTabSz="685800" rtl="0" eaLnBrk="1" latinLnBrk="0" hangingPunct="1">
        <a:lnSpc>
          <a:spcPct val="90000"/>
        </a:lnSpc>
        <a:spcBef>
          <a:spcPts val="225"/>
        </a:spcBef>
        <a:spcAft>
          <a:spcPts val="225"/>
        </a:spcAft>
        <a:buClr>
          <a:schemeClr val="accent1"/>
        </a:buClr>
        <a:buFont typeface="Wingdings 2" pitchFamily="18" charset="2"/>
        <a:buChar char=""/>
        <a:defRPr sz="1050" kern="1200">
          <a:solidFill>
            <a:schemeClr val="tx1">
              <a:lumMod val="85000"/>
              <a:lumOff val="15000"/>
            </a:schemeClr>
          </a:solidFill>
          <a:latin typeface="+mn-lt"/>
          <a:ea typeface="+mn-ea"/>
          <a:cs typeface="+mn-cs"/>
        </a:defRPr>
      </a:lvl5pPr>
      <a:lvl6pPr marL="1200000" indent="-171450" algn="l" defTabSz="685800" rtl="0" eaLnBrk="1" latinLnBrk="0" hangingPunct="1">
        <a:lnSpc>
          <a:spcPct val="90000"/>
        </a:lnSpc>
        <a:spcBef>
          <a:spcPts val="225"/>
        </a:spcBef>
        <a:spcAft>
          <a:spcPts val="225"/>
        </a:spcAft>
        <a:buClr>
          <a:schemeClr val="accent1"/>
        </a:buClr>
        <a:buFont typeface="Wingdings 2" pitchFamily="18" charset="2"/>
        <a:buChar char=""/>
        <a:defRPr sz="1050" kern="1200">
          <a:solidFill>
            <a:schemeClr val="tx1">
              <a:lumMod val="85000"/>
              <a:lumOff val="15000"/>
            </a:schemeClr>
          </a:solidFill>
          <a:latin typeface="+mn-lt"/>
          <a:ea typeface="+mn-ea"/>
          <a:cs typeface="+mn-cs"/>
        </a:defRPr>
      </a:lvl6pPr>
      <a:lvl7pPr marL="1425000" indent="-171450" algn="l" defTabSz="685800" rtl="0" eaLnBrk="1" latinLnBrk="0" hangingPunct="1">
        <a:lnSpc>
          <a:spcPct val="90000"/>
        </a:lnSpc>
        <a:spcBef>
          <a:spcPts val="225"/>
        </a:spcBef>
        <a:spcAft>
          <a:spcPts val="225"/>
        </a:spcAft>
        <a:buClr>
          <a:schemeClr val="accent1"/>
        </a:buClr>
        <a:buFont typeface="Wingdings 2" pitchFamily="18" charset="2"/>
        <a:buChar char=""/>
        <a:defRPr sz="1050" kern="1200">
          <a:solidFill>
            <a:schemeClr val="tx1">
              <a:lumMod val="85000"/>
              <a:lumOff val="15000"/>
            </a:schemeClr>
          </a:solidFill>
          <a:latin typeface="+mn-lt"/>
          <a:ea typeface="+mn-ea"/>
          <a:cs typeface="+mn-cs"/>
        </a:defRPr>
      </a:lvl7pPr>
      <a:lvl8pPr marL="1650000" indent="-171450" algn="l" defTabSz="685800" rtl="0" eaLnBrk="1" latinLnBrk="0" hangingPunct="1">
        <a:lnSpc>
          <a:spcPct val="90000"/>
        </a:lnSpc>
        <a:spcBef>
          <a:spcPts val="225"/>
        </a:spcBef>
        <a:spcAft>
          <a:spcPts val="225"/>
        </a:spcAft>
        <a:buClr>
          <a:schemeClr val="accent1"/>
        </a:buClr>
        <a:buFont typeface="Wingdings 2" pitchFamily="18" charset="2"/>
        <a:buChar char=""/>
        <a:defRPr sz="1050" kern="1200">
          <a:solidFill>
            <a:schemeClr val="tx1">
              <a:lumMod val="85000"/>
              <a:lumOff val="15000"/>
            </a:schemeClr>
          </a:solidFill>
          <a:latin typeface="+mn-lt"/>
          <a:ea typeface="+mn-ea"/>
          <a:cs typeface="+mn-cs"/>
        </a:defRPr>
      </a:lvl8pPr>
      <a:lvl9pPr marL="1875000" indent="-171450" algn="l" defTabSz="685800" rtl="0" eaLnBrk="1" latinLnBrk="0" hangingPunct="1">
        <a:lnSpc>
          <a:spcPct val="90000"/>
        </a:lnSpc>
        <a:spcBef>
          <a:spcPts val="225"/>
        </a:spcBef>
        <a:spcAft>
          <a:spcPts val="225"/>
        </a:spcAft>
        <a:buClr>
          <a:schemeClr val="accent1"/>
        </a:buClr>
        <a:buFont typeface="Wingdings 2" pitchFamily="18" charset="2"/>
        <a:buChar char=""/>
        <a:defRPr sz="1050" kern="1200">
          <a:solidFill>
            <a:schemeClr val="tx1">
              <a:lumMod val="85000"/>
              <a:lumOff val="1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7"/>
          <p:cNvSpPr>
            <a:spLocks noChangeArrowheads="1"/>
          </p:cNvSpPr>
          <p:nvPr/>
        </p:nvSpPr>
        <p:spPr bwMode="auto">
          <a:xfrm>
            <a:off x="0" y="0"/>
            <a:ext cx="9144000" cy="1066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r"/>
            <a:endParaRPr lang="en-US" altLang="en-US" sz="1800">
              <a:solidFill>
                <a:srgbClr val="FFFFFF"/>
              </a:solidFill>
              <a:latin typeface="Arial Black" pitchFamily="34" charset="0"/>
            </a:endParaRPr>
          </a:p>
        </p:txBody>
      </p:sp>
      <p:sp>
        <p:nvSpPr>
          <p:cNvPr id="2051" name="Text Box 8"/>
          <p:cNvSpPr txBox="1">
            <a:spLocks noChangeArrowheads="1"/>
          </p:cNvSpPr>
          <p:nvPr/>
        </p:nvSpPr>
        <p:spPr bwMode="auto">
          <a:xfrm>
            <a:off x="2438400" y="0"/>
            <a:ext cx="64008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defRPr/>
            </a:pPr>
            <a:r>
              <a:rPr lang="en-US" sz="3200">
                <a:solidFill>
                  <a:srgbClr val="FFFFFF"/>
                </a:solidFill>
                <a:latin typeface="Georgia" pitchFamily="18" charset="0"/>
              </a:rPr>
              <a:t>Lean Sigma Foundations</a:t>
            </a:r>
            <a:endParaRPr lang="en-US" sz="3200">
              <a:solidFill>
                <a:srgbClr val="000000"/>
              </a:solidFill>
              <a:latin typeface="Georgia" pitchFamily="18" charset="0"/>
            </a:endParaRPr>
          </a:p>
        </p:txBody>
      </p:sp>
      <p:sp>
        <p:nvSpPr>
          <p:cNvPr id="1028" name="Rectangle 15"/>
          <p:cNvSpPr>
            <a:spLocks noGrp="1" noChangeArrowheads="1"/>
          </p:cNvSpPr>
          <p:nvPr>
            <p:ph type="title"/>
          </p:nvPr>
        </p:nvSpPr>
        <p:spPr bwMode="auto">
          <a:xfrm>
            <a:off x="990600" y="1295400"/>
            <a:ext cx="76962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1029" name="Rectangle 16"/>
          <p:cNvSpPr>
            <a:spLocks noGrp="1" noChangeArrowheads="1"/>
          </p:cNvSpPr>
          <p:nvPr>
            <p:ph type="body" idx="1"/>
          </p:nvPr>
        </p:nvSpPr>
        <p:spPr bwMode="auto">
          <a:xfrm>
            <a:off x="990600" y="2133600"/>
            <a:ext cx="7696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41" name="Rectangle 17"/>
          <p:cNvSpPr>
            <a:spLocks noGrp="1" noChangeArrowheads="1"/>
          </p:cNvSpPr>
          <p:nvPr>
            <p:ph type="dt" sz="half" idx="2"/>
          </p:nvPr>
        </p:nvSpPr>
        <p:spPr bwMode="auto">
          <a:xfrm>
            <a:off x="9906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smtClean="0">
                <a:latin typeface="+mn-lt"/>
                <a:cs typeface="+mn-cs"/>
              </a:defRPr>
            </a:lvl1pPr>
          </a:lstStyle>
          <a:p>
            <a:pPr>
              <a:defRPr/>
            </a:pPr>
            <a:fld id="{9CDDA2A7-704C-4619-A6A9-B8F0156BFCC8}" type="datetime1">
              <a:rPr lang="de-DE">
                <a:solidFill>
                  <a:srgbClr val="000000"/>
                </a:solidFill>
              </a:rPr>
              <a:pPr>
                <a:defRPr/>
              </a:pPr>
              <a:t>17.07.2023</a:t>
            </a:fld>
            <a:endParaRPr lang="en-US">
              <a:solidFill>
                <a:srgbClr val="000000"/>
              </a:solidFill>
            </a:endParaRPr>
          </a:p>
        </p:txBody>
      </p:sp>
      <p:sp>
        <p:nvSpPr>
          <p:cNvPr id="1042" name="Rectangle 18"/>
          <p:cNvSpPr>
            <a:spLocks noGrp="1" noChangeArrowheads="1"/>
          </p:cNvSpPr>
          <p:nvPr>
            <p:ph type="ftr" sz="quarter" idx="3"/>
          </p:nvPr>
        </p:nvSpPr>
        <p:spPr bwMode="auto">
          <a:xfrm>
            <a:off x="3124200" y="6248400"/>
            <a:ext cx="4876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latin typeface="+mn-lt"/>
                <a:cs typeface="+mn-cs"/>
              </a:defRPr>
            </a:lvl1pPr>
          </a:lstStyle>
          <a:p>
            <a:pPr>
              <a:defRPr/>
            </a:pPr>
            <a:endParaRPr lang="en-US">
              <a:solidFill>
                <a:srgbClr val="000000"/>
              </a:solidFill>
            </a:endParaRPr>
          </a:p>
        </p:txBody>
      </p:sp>
      <p:sp>
        <p:nvSpPr>
          <p:cNvPr id="1043" name="Rectangle 19"/>
          <p:cNvSpPr>
            <a:spLocks noGrp="1" noChangeArrowheads="1"/>
          </p:cNvSpPr>
          <p:nvPr>
            <p:ph type="sldNum" sz="quarter" idx="4"/>
          </p:nvPr>
        </p:nvSpPr>
        <p:spPr bwMode="auto">
          <a:xfrm>
            <a:off x="8153400" y="6248400"/>
            <a:ext cx="5334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latin typeface="+mn-lt"/>
                <a:cs typeface="+mn-cs"/>
              </a:defRPr>
            </a:lvl1pPr>
          </a:lstStyle>
          <a:p>
            <a:pPr>
              <a:defRPr/>
            </a:pPr>
            <a:fld id="{E887182A-7E78-4623-9FEC-DAD80E04FD11}" type="slidenum">
              <a:rPr lang="en-US">
                <a:solidFill>
                  <a:srgbClr val="000000"/>
                </a:solidFill>
              </a:rPr>
              <a:pPr>
                <a:defRPr/>
              </a:pPr>
              <a:t>‹#›</a:t>
            </a:fld>
            <a:endParaRPr lang="en-US">
              <a:solidFill>
                <a:srgbClr val="000000"/>
              </a:solidFill>
            </a:endParaRPr>
          </a:p>
        </p:txBody>
      </p:sp>
      <p:pic>
        <p:nvPicPr>
          <p:cNvPr id="1033" name="Picture 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228600"/>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41" r:id="rId1"/>
  </p:sldLayoutIdLst>
  <p:hf hdr="0" ftr="0"/>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085850" indent="-228600" algn="l" rtl="0" eaLnBrk="0" fontAlgn="base" hangingPunct="0">
        <a:spcBef>
          <a:spcPct val="20000"/>
        </a:spcBef>
        <a:spcAft>
          <a:spcPct val="0"/>
        </a:spcAft>
        <a:buChar char="•"/>
        <a:defRPr sz="2400">
          <a:solidFill>
            <a:schemeClr val="tx1"/>
          </a:solidFill>
          <a:latin typeface="+mn-lt"/>
        </a:defRPr>
      </a:lvl3pPr>
      <a:lvl4pPr marL="1428750" indent="-228600" algn="l" rtl="0" eaLnBrk="0" fontAlgn="base" hangingPunct="0">
        <a:spcBef>
          <a:spcPct val="20000"/>
        </a:spcBef>
        <a:spcAft>
          <a:spcPct val="0"/>
        </a:spcAft>
        <a:buChar char="–"/>
        <a:defRPr sz="2400">
          <a:solidFill>
            <a:schemeClr val="tx1"/>
          </a:solidFill>
          <a:latin typeface="+mn-lt"/>
        </a:defRPr>
      </a:lvl4pPr>
      <a:lvl5pPr marL="1771650" indent="-228600" algn="l" rtl="0" eaLnBrk="0" fontAlgn="base" hangingPunct="0">
        <a:spcBef>
          <a:spcPct val="20000"/>
        </a:spcBef>
        <a:spcAft>
          <a:spcPct val="0"/>
        </a:spcAft>
        <a:buChar char="»"/>
        <a:defRPr sz="2400">
          <a:solidFill>
            <a:schemeClr val="tx1"/>
          </a:solidFill>
          <a:latin typeface="+mn-lt"/>
        </a:defRPr>
      </a:lvl5pPr>
      <a:lvl6pPr marL="2228850" indent="-228600" algn="l" rtl="0" fontAlgn="base">
        <a:spcBef>
          <a:spcPct val="20000"/>
        </a:spcBef>
        <a:spcAft>
          <a:spcPct val="0"/>
        </a:spcAft>
        <a:buChar char="»"/>
        <a:defRPr sz="2400">
          <a:solidFill>
            <a:schemeClr val="tx1"/>
          </a:solidFill>
          <a:latin typeface="+mn-lt"/>
        </a:defRPr>
      </a:lvl6pPr>
      <a:lvl7pPr marL="2686050" indent="-228600" algn="l" rtl="0" fontAlgn="base">
        <a:spcBef>
          <a:spcPct val="20000"/>
        </a:spcBef>
        <a:spcAft>
          <a:spcPct val="0"/>
        </a:spcAft>
        <a:buChar char="»"/>
        <a:defRPr sz="2400">
          <a:solidFill>
            <a:schemeClr val="tx1"/>
          </a:solidFill>
          <a:latin typeface="+mn-lt"/>
        </a:defRPr>
      </a:lvl7pPr>
      <a:lvl8pPr marL="3143250" indent="-228600" algn="l" rtl="0" fontAlgn="base">
        <a:spcBef>
          <a:spcPct val="20000"/>
        </a:spcBef>
        <a:spcAft>
          <a:spcPct val="0"/>
        </a:spcAft>
        <a:buChar char="»"/>
        <a:defRPr sz="2400">
          <a:solidFill>
            <a:schemeClr val="tx1"/>
          </a:solidFill>
          <a:latin typeface="+mn-lt"/>
        </a:defRPr>
      </a:lvl8pPr>
      <a:lvl9pPr marL="3600450" indent="-228600" algn="l" rtl="0" fontAlgn="base">
        <a:spcBef>
          <a:spcPct val="20000"/>
        </a:spcBef>
        <a:spcAft>
          <a:spcPct val="0"/>
        </a:spcAft>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1" name="Picture 7" descr="cop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2843213" y="165100"/>
            <a:ext cx="38989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2627313" y="1600200"/>
            <a:ext cx="6048375" cy="4205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2" name="Rectangle 8"/>
          <p:cNvSpPr>
            <a:spLocks noGrp="1" noChangeArrowheads="1"/>
          </p:cNvSpPr>
          <p:nvPr>
            <p:ph type="sldNum" sz="quarter" idx="4"/>
          </p:nvPr>
        </p:nvSpPr>
        <p:spPr bwMode="auto">
          <a:xfrm>
            <a:off x="6877050" y="65246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800">
                <a:solidFill>
                  <a:schemeClr val="bg1"/>
                </a:solidFill>
              </a:defRPr>
            </a:lvl1pPr>
          </a:lstStyle>
          <a:p>
            <a:pPr eaLnBrk="1" hangingPunct="1"/>
            <a:fld id="{061FC54E-ACD4-403A-9FFE-7A2882E16F31}" type="slidenum">
              <a:rPr lang="en-US" altLang="en-US" smtClean="0">
                <a:solidFill>
                  <a:srgbClr val="FFFFFF"/>
                </a:solidFill>
                <a:latin typeface="Arial" charset="0"/>
              </a:rPr>
              <a:pPr eaLnBrk="1" hangingPunct="1"/>
              <a:t>‹#›</a:t>
            </a:fld>
            <a:endParaRPr lang="en-US" altLang="en-US">
              <a:solidFill>
                <a:srgbClr val="FFFFFF"/>
              </a:solidFill>
              <a:latin typeface="Arial" charset="0"/>
            </a:endParaRPr>
          </a:p>
        </p:txBody>
      </p:sp>
    </p:spTree>
  </p:cSld>
  <p:clrMap bg1="lt1" tx1="dk1" bg2="lt2" tx2="dk2" accent1="accent1" accent2="accent2" accent3="accent3" accent4="accent4" accent5="accent5" accent6="accent6" hlink="hlink" folHlink="folHlink"/>
  <p:sldLayoutIdLst>
    <p:sldLayoutId id="2147484301" r:id="rId1"/>
  </p:sldLayoutIdLst>
  <p:transition>
    <p:zoom/>
  </p:transition>
  <p:hf hdr="0" ftr="0" dt="0"/>
  <p:txStyles>
    <p:titleStyle>
      <a:lvl1pPr algn="l" rtl="0" fontAlgn="base">
        <a:spcBef>
          <a:spcPct val="0"/>
        </a:spcBef>
        <a:spcAft>
          <a:spcPct val="0"/>
        </a:spcAft>
        <a:defRPr sz="2000" b="1">
          <a:solidFill>
            <a:schemeClr val="bg1"/>
          </a:solidFill>
          <a:latin typeface="+mj-lt"/>
          <a:ea typeface="+mj-ea"/>
          <a:cs typeface="+mj-cs"/>
        </a:defRPr>
      </a:lvl1pPr>
      <a:lvl2pPr algn="l" rtl="0" fontAlgn="base">
        <a:spcBef>
          <a:spcPct val="0"/>
        </a:spcBef>
        <a:spcAft>
          <a:spcPct val="0"/>
        </a:spcAft>
        <a:defRPr sz="2000" b="1">
          <a:solidFill>
            <a:schemeClr val="bg1"/>
          </a:solidFill>
          <a:latin typeface="Arial" charset="0"/>
        </a:defRPr>
      </a:lvl2pPr>
      <a:lvl3pPr algn="l" rtl="0" fontAlgn="base">
        <a:spcBef>
          <a:spcPct val="0"/>
        </a:spcBef>
        <a:spcAft>
          <a:spcPct val="0"/>
        </a:spcAft>
        <a:defRPr sz="2000" b="1">
          <a:solidFill>
            <a:schemeClr val="bg1"/>
          </a:solidFill>
          <a:latin typeface="Arial" charset="0"/>
        </a:defRPr>
      </a:lvl3pPr>
      <a:lvl4pPr algn="l" rtl="0" fontAlgn="base">
        <a:spcBef>
          <a:spcPct val="0"/>
        </a:spcBef>
        <a:spcAft>
          <a:spcPct val="0"/>
        </a:spcAft>
        <a:defRPr sz="2000" b="1">
          <a:solidFill>
            <a:schemeClr val="bg1"/>
          </a:solidFill>
          <a:latin typeface="Arial" charset="0"/>
        </a:defRPr>
      </a:lvl4pPr>
      <a:lvl5pPr algn="l" rtl="0" fontAlgn="base">
        <a:spcBef>
          <a:spcPct val="0"/>
        </a:spcBef>
        <a:spcAft>
          <a:spcPct val="0"/>
        </a:spcAft>
        <a:defRPr sz="2000" b="1">
          <a:solidFill>
            <a:schemeClr val="bg1"/>
          </a:solidFill>
          <a:latin typeface="Arial" charset="0"/>
        </a:defRPr>
      </a:lvl5pPr>
      <a:lvl6pPr marL="457200" algn="l" rtl="0" fontAlgn="base">
        <a:spcBef>
          <a:spcPct val="0"/>
        </a:spcBef>
        <a:spcAft>
          <a:spcPct val="0"/>
        </a:spcAft>
        <a:defRPr sz="2000" b="1">
          <a:solidFill>
            <a:schemeClr val="bg1"/>
          </a:solidFill>
          <a:latin typeface="Arial" charset="0"/>
        </a:defRPr>
      </a:lvl6pPr>
      <a:lvl7pPr marL="914400" algn="l" rtl="0" fontAlgn="base">
        <a:spcBef>
          <a:spcPct val="0"/>
        </a:spcBef>
        <a:spcAft>
          <a:spcPct val="0"/>
        </a:spcAft>
        <a:defRPr sz="2000" b="1">
          <a:solidFill>
            <a:schemeClr val="bg1"/>
          </a:solidFill>
          <a:latin typeface="Arial" charset="0"/>
        </a:defRPr>
      </a:lvl7pPr>
      <a:lvl8pPr marL="1371600" algn="l" rtl="0" fontAlgn="base">
        <a:spcBef>
          <a:spcPct val="0"/>
        </a:spcBef>
        <a:spcAft>
          <a:spcPct val="0"/>
        </a:spcAft>
        <a:defRPr sz="2000" b="1">
          <a:solidFill>
            <a:schemeClr val="bg1"/>
          </a:solidFill>
          <a:latin typeface="Arial" charset="0"/>
        </a:defRPr>
      </a:lvl8pPr>
      <a:lvl9pPr marL="1828800" algn="l" rtl="0" fontAlgn="base">
        <a:spcBef>
          <a:spcPct val="0"/>
        </a:spcBef>
        <a:spcAft>
          <a:spcPct val="0"/>
        </a:spcAft>
        <a:defRPr sz="2000" b="1">
          <a:solidFill>
            <a:schemeClr val="bg1"/>
          </a:solidFill>
          <a:latin typeface="Arial" charset="0"/>
        </a:defRPr>
      </a:lvl9pPr>
    </p:titleStyle>
    <p:bodyStyle>
      <a:lvl1pPr marL="174625" indent="-174625" algn="l" rtl="0" fontAlgn="base">
        <a:spcBef>
          <a:spcPct val="20000"/>
        </a:spcBef>
        <a:spcAft>
          <a:spcPct val="0"/>
        </a:spcAft>
        <a:buSzPct val="70000"/>
        <a:buChar char="•"/>
        <a:defRPr sz="1600">
          <a:solidFill>
            <a:schemeClr val="tx1"/>
          </a:solidFill>
          <a:latin typeface="+mn-lt"/>
          <a:ea typeface="+mn-ea"/>
          <a:cs typeface="+mn-cs"/>
        </a:defRPr>
      </a:lvl1pPr>
      <a:lvl2pPr marL="354013" indent="-177800" algn="l" rtl="0" fontAlgn="base">
        <a:spcBef>
          <a:spcPct val="20000"/>
        </a:spcBef>
        <a:spcAft>
          <a:spcPct val="0"/>
        </a:spcAft>
        <a:buSzPct val="70000"/>
        <a:buChar char="•"/>
        <a:defRPr sz="1600">
          <a:solidFill>
            <a:schemeClr val="tx1"/>
          </a:solidFill>
          <a:latin typeface="+mn-lt"/>
        </a:defRPr>
      </a:lvl2pPr>
      <a:lvl3pPr marL="550863" indent="-195263" algn="l" rtl="0" fontAlgn="base">
        <a:spcBef>
          <a:spcPct val="20000"/>
        </a:spcBef>
        <a:spcAft>
          <a:spcPct val="0"/>
        </a:spcAft>
        <a:buSzPct val="70000"/>
        <a:buChar char="•"/>
        <a:defRPr sz="1600">
          <a:solidFill>
            <a:schemeClr val="tx1"/>
          </a:solidFill>
          <a:latin typeface="+mn-lt"/>
        </a:defRPr>
      </a:lvl3pPr>
      <a:lvl4pPr marL="754063" indent="-201613" algn="l" rtl="0" fontAlgn="base">
        <a:spcBef>
          <a:spcPct val="20000"/>
        </a:spcBef>
        <a:spcAft>
          <a:spcPct val="0"/>
        </a:spcAft>
        <a:buSzPct val="70000"/>
        <a:buChar char="•"/>
        <a:defRPr sz="1600">
          <a:solidFill>
            <a:schemeClr val="tx1"/>
          </a:solidFill>
          <a:latin typeface="+mn-lt"/>
        </a:defRPr>
      </a:lvl4pPr>
      <a:lvl5pPr marL="928688" indent="-173038" algn="l" rtl="0" fontAlgn="base">
        <a:spcBef>
          <a:spcPct val="20000"/>
        </a:spcBef>
        <a:spcAft>
          <a:spcPct val="0"/>
        </a:spcAft>
        <a:buSzPct val="70000"/>
        <a:buChar char="•"/>
        <a:defRPr sz="1600">
          <a:solidFill>
            <a:schemeClr val="tx1"/>
          </a:solidFill>
          <a:latin typeface="+mn-lt"/>
        </a:defRPr>
      </a:lvl5pPr>
      <a:lvl6pPr marL="1385888" indent="-173038" algn="l" rtl="0" fontAlgn="base">
        <a:spcBef>
          <a:spcPct val="20000"/>
        </a:spcBef>
        <a:spcAft>
          <a:spcPct val="0"/>
        </a:spcAft>
        <a:buSzPct val="70000"/>
        <a:buChar char="•"/>
        <a:defRPr sz="1600">
          <a:solidFill>
            <a:schemeClr val="tx1"/>
          </a:solidFill>
          <a:latin typeface="+mn-lt"/>
        </a:defRPr>
      </a:lvl6pPr>
      <a:lvl7pPr marL="1843088" indent="-173038" algn="l" rtl="0" fontAlgn="base">
        <a:spcBef>
          <a:spcPct val="20000"/>
        </a:spcBef>
        <a:spcAft>
          <a:spcPct val="0"/>
        </a:spcAft>
        <a:buSzPct val="70000"/>
        <a:buChar char="•"/>
        <a:defRPr sz="1600">
          <a:solidFill>
            <a:schemeClr val="tx1"/>
          </a:solidFill>
          <a:latin typeface="+mn-lt"/>
        </a:defRPr>
      </a:lvl7pPr>
      <a:lvl8pPr marL="2300288" indent="-173038" algn="l" rtl="0" fontAlgn="base">
        <a:spcBef>
          <a:spcPct val="20000"/>
        </a:spcBef>
        <a:spcAft>
          <a:spcPct val="0"/>
        </a:spcAft>
        <a:buSzPct val="70000"/>
        <a:buChar char="•"/>
        <a:defRPr sz="1600">
          <a:solidFill>
            <a:schemeClr val="tx1"/>
          </a:solidFill>
          <a:latin typeface="+mn-lt"/>
        </a:defRPr>
      </a:lvl8pPr>
      <a:lvl9pPr marL="2757488" indent="-173038" algn="l" rtl="0" fontAlgn="base">
        <a:spcBef>
          <a:spcPct val="20000"/>
        </a:spcBef>
        <a:spcAft>
          <a:spcPct val="0"/>
        </a:spcAft>
        <a:buSzPct val="7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457200" y="550863"/>
            <a:ext cx="8229600" cy="7429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a:t>ISE 608 (LS) </a:t>
            </a:r>
          </a:p>
        </p:txBody>
      </p:sp>
      <p:sp>
        <p:nvSpPr>
          <p:cNvPr id="8195"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p:txBody>
      </p:sp>
      <p:sp>
        <p:nvSpPr>
          <p:cNvPr id="984068" name="Rectangle 4"/>
          <p:cNvSpPr>
            <a:spLocks noGrp="1" noChangeArrowheads="1"/>
          </p:cNvSpPr>
          <p:nvPr>
            <p:ph type="dt" sz="half" idx="2"/>
          </p:nvPr>
        </p:nvSpPr>
        <p:spPr bwMode="auto">
          <a:xfrm>
            <a:off x="457200" y="6502400"/>
            <a:ext cx="3038475" cy="2190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800">
                <a:solidFill>
                  <a:srgbClr val="000000"/>
                </a:solidFill>
                <a:latin typeface="Arial" charset="0"/>
              </a:defRPr>
            </a:lvl1pPr>
          </a:lstStyle>
          <a:p>
            <a:pPr>
              <a:defRPr/>
            </a:pPr>
            <a:r>
              <a:rPr lang="de-DE"/>
              <a:t> - </a:t>
            </a:r>
            <a:fld id="{3108B6AE-66A9-43A1-BF26-E6FF16C69600}" type="datetime1">
              <a:rPr lang="de-DE"/>
              <a:pPr>
                <a:defRPr/>
              </a:pPr>
              <a:t>18.07.2023</a:t>
            </a:fld>
            <a:r>
              <a:rPr lang="de-DE"/>
              <a:t> - </a:t>
            </a:r>
            <a:fld id="{002325F2-C4E2-4AE7-801C-6FADD41BB1DA}" type="slidenum">
              <a:rPr lang="de-DE"/>
              <a:pPr>
                <a:defRPr/>
              </a:pPr>
              <a:t>‹#›</a:t>
            </a:fld>
            <a:endParaRPr lang="de-DE"/>
          </a:p>
          <a:p>
            <a:pPr>
              <a:defRPr/>
            </a:pPr>
            <a:endParaRPr lang="de-DE"/>
          </a:p>
        </p:txBody>
      </p:sp>
      <p:sp>
        <p:nvSpPr>
          <p:cNvPr id="984075" name="Line 11"/>
          <p:cNvSpPr>
            <a:spLocks noChangeShapeType="1"/>
          </p:cNvSpPr>
          <p:nvPr/>
        </p:nvSpPr>
        <p:spPr bwMode="auto">
          <a:xfrm>
            <a:off x="457200" y="1314450"/>
            <a:ext cx="8229600" cy="0"/>
          </a:xfrm>
          <a:prstGeom prst="line">
            <a:avLst/>
          </a:prstGeom>
          <a:noFill/>
          <a:ln w="19050">
            <a:solidFill>
              <a:srgbClr val="CC0000"/>
            </a:solidFill>
            <a:round/>
            <a:headEnd/>
            <a:tailEnd/>
          </a:ln>
          <a:effectLst/>
        </p:spPr>
        <p:txBody>
          <a:bodyPr/>
          <a:lstStyle/>
          <a:p>
            <a:pPr eaLnBrk="1" hangingPunct="1">
              <a:defRPr/>
            </a:pPr>
            <a:endParaRPr lang="en-US" sz="1800">
              <a:solidFill>
                <a:srgbClr val="000000"/>
              </a:solidFill>
              <a:latin typeface="Arial" charset="0"/>
            </a:endParaRPr>
          </a:p>
        </p:txBody>
      </p:sp>
      <p:sp>
        <p:nvSpPr>
          <p:cNvPr id="984077" name="Line 13"/>
          <p:cNvSpPr>
            <a:spLocks noChangeShapeType="1"/>
          </p:cNvSpPr>
          <p:nvPr/>
        </p:nvSpPr>
        <p:spPr bwMode="auto">
          <a:xfrm>
            <a:off x="454025" y="6388100"/>
            <a:ext cx="8229600" cy="0"/>
          </a:xfrm>
          <a:prstGeom prst="line">
            <a:avLst/>
          </a:prstGeom>
          <a:noFill/>
          <a:ln w="19050">
            <a:solidFill>
              <a:srgbClr val="CC0000"/>
            </a:solidFill>
            <a:round/>
            <a:headEnd/>
            <a:tailEnd/>
          </a:ln>
          <a:effectLst/>
        </p:spPr>
        <p:txBody>
          <a:bodyPr/>
          <a:lstStyle/>
          <a:p>
            <a:pPr eaLnBrk="1" hangingPunct="1">
              <a:defRPr/>
            </a:pPr>
            <a:endParaRPr lang="en-US" sz="1800">
              <a:solidFill>
                <a:srgbClr val="000000"/>
              </a:solidFill>
              <a:latin typeface="Arial" charset="0"/>
            </a:endParaRPr>
          </a:p>
        </p:txBody>
      </p:sp>
      <p:pic>
        <p:nvPicPr>
          <p:cNvPr id="12290" name="Picture 2" descr="The Ohio State University">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78450" y="6096000"/>
            <a:ext cx="3276600" cy="108585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4221" r:id="rId1"/>
  </p:sldLayoutIdLst>
  <p:hf sldNum="0" hdr="0" ftr="0"/>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p:titleStyle>
    <p:bodyStyle>
      <a:lvl1pPr marL="342900" indent="-342900" algn="l" rtl="0" eaLnBrk="0" fontAlgn="base" hangingPunct="0">
        <a:spcBef>
          <a:spcPct val="20000"/>
        </a:spcBef>
        <a:spcAft>
          <a:spcPct val="0"/>
        </a:spcAft>
        <a:buClr>
          <a:srgbClr val="CC0000"/>
        </a:buClr>
        <a:buFont typeface="Wingdings" pitchFamily="2" charset="2"/>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C0000"/>
        </a:buClr>
        <a:buChar char="•"/>
        <a:defRPr sz="2400">
          <a:solidFill>
            <a:schemeClr val="tx1"/>
          </a:solidFill>
          <a:latin typeface="+mn-lt"/>
        </a:defRPr>
      </a:lvl2pPr>
      <a:lvl3pPr marL="1143000" indent="-228600" algn="l" rtl="0" eaLnBrk="0" fontAlgn="base" hangingPunct="0">
        <a:spcBef>
          <a:spcPct val="20000"/>
        </a:spcBef>
        <a:spcAft>
          <a:spcPct val="0"/>
        </a:spcAft>
        <a:buClr>
          <a:srgbClr val="CC0000"/>
        </a:buClr>
        <a:buChar char="-"/>
        <a:defRPr sz="2000">
          <a:solidFill>
            <a:schemeClr val="tx1"/>
          </a:solidFill>
          <a:latin typeface="+mn-lt"/>
        </a:defRPr>
      </a:lvl3pPr>
      <a:lvl4pPr marL="1600200" indent="-228600" algn="l" rtl="0" eaLnBrk="0" fontAlgn="base" hangingPunct="0">
        <a:spcBef>
          <a:spcPct val="20000"/>
        </a:spcBef>
        <a:spcAft>
          <a:spcPct val="0"/>
        </a:spcAft>
        <a:buClr>
          <a:srgbClr val="060B70"/>
        </a:buClr>
        <a:buFont typeface="Arial" pitchFamily="34" charset="0"/>
        <a:buChar char="–"/>
        <a:defRPr sz="2000">
          <a:solidFill>
            <a:schemeClr val="tx1"/>
          </a:solidFill>
          <a:latin typeface="+mn-lt"/>
        </a:defRPr>
      </a:lvl4pPr>
      <a:lvl5pPr marL="2057400" indent="-228600" algn="l" rtl="0" eaLnBrk="0" fontAlgn="base" hangingPunct="0">
        <a:spcBef>
          <a:spcPct val="20000"/>
        </a:spcBef>
        <a:spcAft>
          <a:spcPct val="0"/>
        </a:spcAft>
        <a:buClr>
          <a:srgbClr val="060B70"/>
        </a:buClr>
        <a:buFont typeface="Arial" pitchFamily="34" charset="0"/>
        <a:buChar char="»"/>
        <a:defRPr sz="2000">
          <a:solidFill>
            <a:schemeClr val="tx1"/>
          </a:solidFill>
          <a:latin typeface="+mn-lt"/>
        </a:defRPr>
      </a:lvl5pPr>
      <a:lvl6pPr marL="2514600" indent="-228600" algn="l" rtl="0" fontAlgn="base">
        <a:spcBef>
          <a:spcPct val="20000"/>
        </a:spcBef>
        <a:spcAft>
          <a:spcPct val="0"/>
        </a:spcAft>
        <a:buClr>
          <a:srgbClr val="060B70"/>
        </a:buClr>
        <a:buFont typeface="Arial" charset="0"/>
        <a:buChar char="»"/>
        <a:defRPr sz="2000">
          <a:solidFill>
            <a:schemeClr val="tx1"/>
          </a:solidFill>
          <a:latin typeface="+mn-lt"/>
        </a:defRPr>
      </a:lvl6pPr>
      <a:lvl7pPr marL="2971800" indent="-228600" algn="l" rtl="0" fontAlgn="base">
        <a:spcBef>
          <a:spcPct val="20000"/>
        </a:spcBef>
        <a:spcAft>
          <a:spcPct val="0"/>
        </a:spcAft>
        <a:buClr>
          <a:srgbClr val="060B70"/>
        </a:buClr>
        <a:buFont typeface="Arial" charset="0"/>
        <a:buChar char="»"/>
        <a:defRPr sz="2000">
          <a:solidFill>
            <a:schemeClr val="tx1"/>
          </a:solidFill>
          <a:latin typeface="+mn-lt"/>
        </a:defRPr>
      </a:lvl7pPr>
      <a:lvl8pPr marL="3429000" indent="-228600" algn="l" rtl="0" fontAlgn="base">
        <a:spcBef>
          <a:spcPct val="20000"/>
        </a:spcBef>
        <a:spcAft>
          <a:spcPct val="0"/>
        </a:spcAft>
        <a:buClr>
          <a:srgbClr val="060B70"/>
        </a:buClr>
        <a:buFont typeface="Arial" charset="0"/>
        <a:buChar char="»"/>
        <a:defRPr sz="2000">
          <a:solidFill>
            <a:schemeClr val="tx1"/>
          </a:solidFill>
          <a:latin typeface="+mn-lt"/>
        </a:defRPr>
      </a:lvl8pPr>
      <a:lvl9pPr marL="3886200" indent="-228600" algn="l" rtl="0" fontAlgn="base">
        <a:spcBef>
          <a:spcPct val="20000"/>
        </a:spcBef>
        <a:spcAft>
          <a:spcPct val="0"/>
        </a:spcAft>
        <a:buClr>
          <a:srgbClr val="060B70"/>
        </a:buClr>
        <a:buFont typeface="Arial"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F2EE7877-6960-8387-B2AF-8484EAAC232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6910" y="6169025"/>
            <a:ext cx="1282303"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extBox 3">
            <a:extLst>
              <a:ext uri="{FF2B5EF4-FFF2-40B4-BE49-F238E27FC236}">
                <a16:creationId xmlns:a16="http://schemas.microsoft.com/office/drawing/2014/main" id="{557DC482-0651-9053-1980-23B6B8322146}"/>
              </a:ext>
            </a:extLst>
          </p:cNvPr>
          <p:cNvSpPr txBox="1">
            <a:spLocks noChangeArrowheads="1"/>
          </p:cNvSpPr>
          <p:nvPr userDrawn="1"/>
        </p:nvSpPr>
        <p:spPr bwMode="auto">
          <a:xfrm>
            <a:off x="4856560" y="6543676"/>
            <a:ext cx="4196953"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eaLnBrk="1" hangingPunct="1">
              <a:defRPr/>
            </a:pPr>
            <a:r>
              <a:rPr lang="en-US" altLang="en-US" sz="675">
                <a:solidFill>
                  <a:srgbClr val="7F7F7F"/>
                </a:solidFill>
                <a:latin typeface="Century Gothic" panose="020B0502020202020204" pitchFamily="34" charset="0"/>
              </a:rPr>
              <a:t>©DISNEY</a:t>
            </a:r>
          </a:p>
        </p:txBody>
      </p:sp>
    </p:spTree>
  </p:cSld>
  <p:clrMap bg1="lt1" tx1="dk1" bg2="lt2" tx2="dk2" accent1="accent1" accent2="accent2" accent3="accent3" accent4="accent4" accent5="accent5" accent6="accent6" hlink="hlink" folHlink="folHlink"/>
  <p:sldLayoutIdLst>
    <p:sldLayoutId id="2147483725" r:id="rId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7AF2455-80E9-9A23-CCE8-4D4279E7CE95}"/>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885F344E-EF36-2785-96E5-FFD3C065ADDB}"/>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75A6A3EB-F773-03F7-7B36-D54FA841B86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2807535-B1D9-4CB9-B9E6-63040B20C20D}" type="datetimeFigureOut">
              <a:rPr lang="en-CA" smtClean="0"/>
              <a:t>2023-07-18</a:t>
            </a:fld>
            <a:endParaRPr lang="en-CA"/>
          </a:p>
        </p:txBody>
      </p:sp>
      <p:sp>
        <p:nvSpPr>
          <p:cNvPr id="5" name="Footer Placeholder 4">
            <a:extLst>
              <a:ext uri="{FF2B5EF4-FFF2-40B4-BE49-F238E27FC236}">
                <a16:creationId xmlns:a16="http://schemas.microsoft.com/office/drawing/2014/main" id="{E2ADFB9E-CC3B-1293-715D-74C05E7E84E0}"/>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19F16E2B-005C-614E-9E23-44C64C562C0E}"/>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85C4085-DF20-41CF-944E-78EE79EC7BF2}" type="slidenum">
              <a:rPr lang="en-CA" smtClean="0"/>
              <a:t>‹#›</a:t>
            </a:fld>
            <a:endParaRPr lang="en-CA"/>
          </a:p>
        </p:txBody>
      </p:sp>
      <p:sp>
        <p:nvSpPr>
          <p:cNvPr id="8" name="Rectangle 7">
            <a:extLst>
              <a:ext uri="{FF2B5EF4-FFF2-40B4-BE49-F238E27FC236}">
                <a16:creationId xmlns:a16="http://schemas.microsoft.com/office/drawing/2014/main" id="{6D30EEF2-91AE-4247-72BE-7F8F3850781F}"/>
              </a:ext>
            </a:extLst>
          </p:cNvPr>
          <p:cNvSpPr/>
          <p:nvPr userDrawn="1"/>
        </p:nvSpPr>
        <p:spPr>
          <a:xfrm>
            <a:off x="0" y="6553200"/>
            <a:ext cx="9144000" cy="304801"/>
          </a:xfrm>
          <a:prstGeom prst="rect">
            <a:avLst/>
          </a:prstGeom>
          <a:solidFill>
            <a:srgbClr val="93030D"/>
          </a:solidFill>
          <a:ln>
            <a:solidFill>
              <a:srgbClr val="9303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10" name="Picture 9" descr="A picture containing text, clock&#10;&#10;Description automatically generated">
            <a:extLst>
              <a:ext uri="{FF2B5EF4-FFF2-40B4-BE49-F238E27FC236}">
                <a16:creationId xmlns:a16="http://schemas.microsoft.com/office/drawing/2014/main" id="{C3193C36-458C-3E3F-360B-77020E0E473A}"/>
              </a:ext>
            </a:extLst>
          </p:cNvPr>
          <p:cNvPicPr>
            <a:picLocks noChangeAspect="1"/>
          </p:cNvPicPr>
          <p:nvPr userDrawn="1"/>
        </p:nvPicPr>
        <p:blipFill>
          <a:blip r:embed="rId3">
            <a:alphaModFix amt="10000"/>
            <a:extLst>
              <a:ext uri="{28A0092B-C50C-407E-A947-70E740481C1C}">
                <a14:useLocalDpi xmlns:a14="http://schemas.microsoft.com/office/drawing/2010/main" val="0"/>
              </a:ext>
            </a:extLst>
          </a:blip>
          <a:stretch>
            <a:fillRect/>
          </a:stretch>
        </p:blipFill>
        <p:spPr>
          <a:xfrm>
            <a:off x="2598321" y="754343"/>
            <a:ext cx="3766969" cy="5022625"/>
          </a:xfrm>
          <a:prstGeom prst="rect">
            <a:avLst/>
          </a:prstGeom>
        </p:spPr>
      </p:pic>
      <p:pic>
        <p:nvPicPr>
          <p:cNvPr id="12" name="Picture 11" descr="A picture containing text&#10;&#10;Description automatically generated">
            <a:extLst>
              <a:ext uri="{FF2B5EF4-FFF2-40B4-BE49-F238E27FC236}">
                <a16:creationId xmlns:a16="http://schemas.microsoft.com/office/drawing/2014/main" id="{24C947C5-3B11-DC88-B191-3B981CA2BF1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00506" y="123242"/>
            <a:ext cx="3006350" cy="533446"/>
          </a:xfrm>
          <a:prstGeom prst="rect">
            <a:avLst/>
          </a:prstGeom>
        </p:spPr>
      </p:pic>
    </p:spTree>
    <p:extLst>
      <p:ext uri="{BB962C8B-B14F-4D97-AF65-F5344CB8AC3E}">
        <p14:creationId xmlns:p14="http://schemas.microsoft.com/office/powerpoint/2010/main" val="2704963644"/>
      </p:ext>
    </p:extLst>
  </p:cSld>
  <p:clrMap bg1="lt1" tx1="dk1" bg2="lt2" tx2="dk2" accent1="accent1" accent2="accent2" accent3="accent3" accent4="accent4" accent5="accent5" accent6="accent6" hlink="hlink" folHlink="folHlink"/>
  <p:sldLayoutIdLst>
    <p:sldLayoutId id="214749806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028950" y="6356353"/>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072313" y="6470653"/>
            <a:ext cx="2057400" cy="365125"/>
          </a:xfrm>
          <a:prstGeom prst="rect">
            <a:avLst/>
          </a:prstGeom>
        </p:spPr>
        <p:txBody>
          <a:bodyPr vert="horz" lIns="91440" tIns="45720" rIns="91440" bIns="45720" rtlCol="0" anchor="ctr"/>
          <a:lstStyle>
            <a:lvl1pPr algn="r">
              <a:defRPr sz="900">
                <a:solidFill>
                  <a:schemeClr val="tx1"/>
                </a:solidFill>
              </a:defRPr>
            </a:lvl1pPr>
          </a:lstStyle>
          <a:p>
            <a:fld id="{BAEC2CC2-D8C2-4792-8F2F-CCEE2C9553B8}" type="slidenum">
              <a:rPr lang="en-US" smtClean="0"/>
              <a:pPr/>
              <a:t>‹#›</a:t>
            </a:fld>
            <a:endParaRPr lang="en-US" dirty="0"/>
          </a:p>
        </p:txBody>
      </p:sp>
    </p:spTree>
    <p:extLst>
      <p:ext uri="{BB962C8B-B14F-4D97-AF65-F5344CB8AC3E}">
        <p14:creationId xmlns:p14="http://schemas.microsoft.com/office/powerpoint/2010/main" val="1617394283"/>
      </p:ext>
    </p:extLst>
  </p:cSld>
  <p:clrMap bg1="lt1" tx1="dk1" bg2="lt2" tx2="dk2" accent1="accent1" accent2="accent2" accent3="accent3" accent4="accent4" accent5="accent5" accent6="accent6" hlink="hlink" folHlink="folHlink"/>
  <p:sldLayoutIdLst>
    <p:sldLayoutId id="2147498056" r:id="rId1"/>
  </p:sldLayoutIdLst>
  <p:hf sldNum="0" hdr="0" ftr="0" dt="0"/>
  <p:txStyles>
    <p:titleStyle>
      <a:lvl1pPr algn="l" defTabSz="685800" rtl="0" eaLnBrk="1" latinLnBrk="0" hangingPunct="1">
        <a:lnSpc>
          <a:spcPct val="90000"/>
        </a:lnSpc>
        <a:spcBef>
          <a:spcPct val="0"/>
        </a:spcBef>
        <a:buNone/>
        <a:defRPr sz="3300" kern="1200">
          <a:solidFill>
            <a:srgbClr val="00337F"/>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rgbClr val="00337F"/>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00337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00337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00337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00337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A9C1B73-2A4F-514A-8913-F28F924501DF}"/>
              </a:ext>
            </a:extLst>
          </p:cNvPr>
          <p:cNvSpPr/>
          <p:nvPr userDrawn="1"/>
        </p:nvSpPr>
        <p:spPr>
          <a:xfrm>
            <a:off x="0" y="5988204"/>
            <a:ext cx="9144000" cy="8697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descr="A picture containing text&#10;&#10;Description automatically generated">
            <a:extLst>
              <a:ext uri="{FF2B5EF4-FFF2-40B4-BE49-F238E27FC236}">
                <a16:creationId xmlns:a16="http://schemas.microsoft.com/office/drawing/2014/main" id="{C9160A69-DB50-E14D-A645-FDBAFC7A5B2F}"/>
              </a:ext>
            </a:extLst>
          </p:cNvPr>
          <p:cNvPicPr>
            <a:picLocks noChangeAspect="1"/>
          </p:cNvPicPr>
          <p:nvPr userDrawn="1"/>
        </p:nvPicPr>
        <p:blipFill>
          <a:blip r:embed="rId6"/>
          <a:stretch>
            <a:fillRect/>
          </a:stretch>
        </p:blipFill>
        <p:spPr>
          <a:xfrm>
            <a:off x="7449014" y="6189413"/>
            <a:ext cx="1151983" cy="467376"/>
          </a:xfrm>
          <a:prstGeom prst="rect">
            <a:avLst/>
          </a:prstGeom>
        </p:spPr>
      </p:pic>
    </p:spTree>
    <p:extLst>
      <p:ext uri="{BB962C8B-B14F-4D97-AF65-F5344CB8AC3E}">
        <p14:creationId xmlns:p14="http://schemas.microsoft.com/office/powerpoint/2010/main" val="3569362743"/>
      </p:ext>
    </p:extLst>
  </p:cSld>
  <p:clrMap bg1="lt1" tx1="dk1" bg2="lt2" tx2="dk2" accent1="accent1" accent2="accent2" accent3="accent3" accent4="accent4" accent5="accent5" accent6="accent6" hlink="hlink" folHlink="folHlink"/>
  <p:sldLayoutIdLst>
    <p:sldLayoutId id="2147498063" r:id="rId1"/>
    <p:sldLayoutId id="2147498061" r:id="rId2"/>
    <p:sldLayoutId id="2147498062" r:id="rId3"/>
    <p:sldLayoutId id="2147498059" r:id="rId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7"/>
          <p:cNvSpPr>
            <a:spLocks noChangeArrowheads="1"/>
          </p:cNvSpPr>
          <p:nvPr/>
        </p:nvSpPr>
        <p:spPr bwMode="auto">
          <a:xfrm>
            <a:off x="0" y="0"/>
            <a:ext cx="9144000" cy="10668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r"/>
            <a:endParaRPr lang="en-US" altLang="en-US" sz="1800">
              <a:solidFill>
                <a:srgbClr val="FFFFFF"/>
              </a:solidFill>
              <a:latin typeface="Arial Black" pitchFamily="34" charset="0"/>
            </a:endParaRPr>
          </a:p>
        </p:txBody>
      </p:sp>
      <p:sp>
        <p:nvSpPr>
          <p:cNvPr id="2051" name="Text Box 8"/>
          <p:cNvSpPr txBox="1">
            <a:spLocks noChangeArrowheads="1"/>
          </p:cNvSpPr>
          <p:nvPr/>
        </p:nvSpPr>
        <p:spPr bwMode="auto">
          <a:xfrm>
            <a:off x="2438400" y="0"/>
            <a:ext cx="64008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r">
              <a:defRPr/>
            </a:pPr>
            <a:r>
              <a:rPr lang="en-US" sz="3200">
                <a:solidFill>
                  <a:srgbClr val="FFFFFF"/>
                </a:solidFill>
                <a:latin typeface="Georgia" pitchFamily="18" charset="0"/>
              </a:rPr>
              <a:t>Lean Sigma Foundations</a:t>
            </a:r>
            <a:endParaRPr lang="en-US" sz="3200">
              <a:solidFill>
                <a:srgbClr val="000000"/>
              </a:solidFill>
              <a:latin typeface="Georgia" pitchFamily="18" charset="0"/>
            </a:endParaRPr>
          </a:p>
        </p:txBody>
      </p:sp>
      <p:sp>
        <p:nvSpPr>
          <p:cNvPr id="26628" name="Rectangle 15"/>
          <p:cNvSpPr>
            <a:spLocks noGrp="1" noChangeArrowheads="1"/>
          </p:cNvSpPr>
          <p:nvPr>
            <p:ph type="title"/>
          </p:nvPr>
        </p:nvSpPr>
        <p:spPr bwMode="auto">
          <a:xfrm>
            <a:off x="990600" y="1295400"/>
            <a:ext cx="76962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26629" name="Rectangle 16"/>
          <p:cNvSpPr>
            <a:spLocks noGrp="1" noChangeArrowheads="1"/>
          </p:cNvSpPr>
          <p:nvPr>
            <p:ph type="body" idx="1"/>
          </p:nvPr>
        </p:nvSpPr>
        <p:spPr bwMode="auto">
          <a:xfrm>
            <a:off x="990600" y="2133600"/>
            <a:ext cx="7696200"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41" name="Rectangle 17"/>
          <p:cNvSpPr>
            <a:spLocks noGrp="1" noChangeArrowheads="1"/>
          </p:cNvSpPr>
          <p:nvPr>
            <p:ph type="dt" sz="half" idx="2"/>
          </p:nvPr>
        </p:nvSpPr>
        <p:spPr bwMode="auto">
          <a:xfrm>
            <a:off x="9906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000000"/>
                </a:solidFill>
                <a:latin typeface="+mn-lt"/>
                <a:cs typeface="+mn-cs"/>
              </a:defRPr>
            </a:lvl1pPr>
          </a:lstStyle>
          <a:p>
            <a:pPr>
              <a:defRPr/>
            </a:pPr>
            <a:endParaRPr lang="en-US"/>
          </a:p>
        </p:txBody>
      </p:sp>
      <p:sp>
        <p:nvSpPr>
          <p:cNvPr id="1042" name="Rectangle 18"/>
          <p:cNvSpPr>
            <a:spLocks noGrp="1" noChangeArrowheads="1"/>
          </p:cNvSpPr>
          <p:nvPr>
            <p:ph type="ftr" sz="quarter" idx="3"/>
          </p:nvPr>
        </p:nvSpPr>
        <p:spPr bwMode="auto">
          <a:xfrm>
            <a:off x="3124200" y="6248400"/>
            <a:ext cx="4876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000000"/>
                </a:solidFill>
                <a:latin typeface="+mn-lt"/>
                <a:cs typeface="+mn-cs"/>
              </a:defRPr>
            </a:lvl1pPr>
          </a:lstStyle>
          <a:p>
            <a:pPr>
              <a:defRPr/>
            </a:pPr>
            <a:endParaRPr lang="en-US"/>
          </a:p>
        </p:txBody>
      </p:sp>
      <p:sp>
        <p:nvSpPr>
          <p:cNvPr id="1043" name="Rectangle 19"/>
          <p:cNvSpPr>
            <a:spLocks noGrp="1" noChangeArrowheads="1"/>
          </p:cNvSpPr>
          <p:nvPr>
            <p:ph type="sldNum" sz="quarter" idx="4"/>
          </p:nvPr>
        </p:nvSpPr>
        <p:spPr bwMode="auto">
          <a:xfrm>
            <a:off x="8153400" y="6248400"/>
            <a:ext cx="5334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solidFill>
                  <a:srgbClr val="000000"/>
                </a:solidFill>
                <a:latin typeface="+mn-lt"/>
                <a:cs typeface="+mn-cs"/>
              </a:defRPr>
            </a:lvl1pPr>
          </a:lstStyle>
          <a:p>
            <a:pPr>
              <a:defRPr/>
            </a:pPr>
            <a:fld id="{F77E7842-139E-4B5B-8CAA-29B3E0EB0E6D}" type="slidenum">
              <a:rPr lang="en-US"/>
              <a:pPr>
                <a:defRPr/>
              </a:pPr>
              <a:t>‹#›</a:t>
            </a:fld>
            <a:endParaRPr lang="en-US"/>
          </a:p>
        </p:txBody>
      </p:sp>
      <p:pic>
        <p:nvPicPr>
          <p:cNvPr id="26633" name="Picture 2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228600"/>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233" r:id="rId1"/>
  </p:sldLayoutIdLst>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085850" indent="-228600" algn="l" rtl="0" eaLnBrk="0" fontAlgn="base" hangingPunct="0">
        <a:spcBef>
          <a:spcPct val="20000"/>
        </a:spcBef>
        <a:spcAft>
          <a:spcPct val="0"/>
        </a:spcAft>
        <a:buChar char="•"/>
        <a:defRPr sz="2400">
          <a:solidFill>
            <a:schemeClr val="tx1"/>
          </a:solidFill>
          <a:latin typeface="+mn-lt"/>
        </a:defRPr>
      </a:lvl3pPr>
      <a:lvl4pPr marL="1428750" indent="-228600" algn="l" rtl="0" eaLnBrk="0" fontAlgn="base" hangingPunct="0">
        <a:spcBef>
          <a:spcPct val="20000"/>
        </a:spcBef>
        <a:spcAft>
          <a:spcPct val="0"/>
        </a:spcAft>
        <a:buChar char="–"/>
        <a:defRPr sz="2400">
          <a:solidFill>
            <a:schemeClr val="tx1"/>
          </a:solidFill>
          <a:latin typeface="+mn-lt"/>
        </a:defRPr>
      </a:lvl4pPr>
      <a:lvl5pPr marL="1771650" indent="-228600" algn="l" rtl="0" eaLnBrk="0" fontAlgn="base" hangingPunct="0">
        <a:spcBef>
          <a:spcPct val="20000"/>
        </a:spcBef>
        <a:spcAft>
          <a:spcPct val="0"/>
        </a:spcAft>
        <a:buChar char="»"/>
        <a:defRPr sz="2400">
          <a:solidFill>
            <a:schemeClr val="tx1"/>
          </a:solidFill>
          <a:latin typeface="+mn-lt"/>
        </a:defRPr>
      </a:lvl5pPr>
      <a:lvl6pPr marL="2228850" indent="-228600" algn="l" rtl="0" fontAlgn="base">
        <a:spcBef>
          <a:spcPct val="20000"/>
        </a:spcBef>
        <a:spcAft>
          <a:spcPct val="0"/>
        </a:spcAft>
        <a:buChar char="»"/>
        <a:defRPr sz="2400">
          <a:solidFill>
            <a:schemeClr val="tx1"/>
          </a:solidFill>
          <a:latin typeface="+mn-lt"/>
        </a:defRPr>
      </a:lvl6pPr>
      <a:lvl7pPr marL="2686050" indent="-228600" algn="l" rtl="0" fontAlgn="base">
        <a:spcBef>
          <a:spcPct val="20000"/>
        </a:spcBef>
        <a:spcAft>
          <a:spcPct val="0"/>
        </a:spcAft>
        <a:buChar char="»"/>
        <a:defRPr sz="2400">
          <a:solidFill>
            <a:schemeClr val="tx1"/>
          </a:solidFill>
          <a:latin typeface="+mn-lt"/>
        </a:defRPr>
      </a:lvl7pPr>
      <a:lvl8pPr marL="3143250" indent="-228600" algn="l" rtl="0" fontAlgn="base">
        <a:spcBef>
          <a:spcPct val="20000"/>
        </a:spcBef>
        <a:spcAft>
          <a:spcPct val="0"/>
        </a:spcAft>
        <a:buChar char="»"/>
        <a:defRPr sz="2400">
          <a:solidFill>
            <a:schemeClr val="tx1"/>
          </a:solidFill>
          <a:latin typeface="+mn-lt"/>
        </a:defRPr>
      </a:lvl8pPr>
      <a:lvl9pPr marL="3600450" indent="-228600" algn="l" rtl="0" fontAlgn="base">
        <a:spcBef>
          <a:spcPct val="20000"/>
        </a:spcBef>
        <a:spcAft>
          <a:spcPct val="0"/>
        </a:spcAft>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69517" y="1157427"/>
            <a:ext cx="7204964" cy="1671955"/>
          </a:xfrm>
          <a:prstGeom prst="rect">
            <a:avLst/>
          </a:prstGeom>
        </p:spPr>
        <p:txBody>
          <a:bodyPr wrap="square" lIns="0" tIns="0" rIns="0" bIns="0">
            <a:spAutoFit/>
          </a:bodyPr>
          <a:lstStyle>
            <a:lvl1pPr>
              <a:defRPr sz="5400" b="1" i="0">
                <a:solidFill>
                  <a:schemeClr val="bg1"/>
                </a:solidFill>
                <a:latin typeface="Garamond"/>
                <a:cs typeface="Garamond"/>
              </a:defRPr>
            </a:lvl1pPr>
          </a:lstStyle>
          <a:p>
            <a:endParaRPr/>
          </a:p>
        </p:txBody>
      </p:sp>
      <p:sp>
        <p:nvSpPr>
          <p:cNvPr id="3" name="Holder 3"/>
          <p:cNvSpPr>
            <a:spLocks noGrp="1"/>
          </p:cNvSpPr>
          <p:nvPr>
            <p:ph type="body" idx="1"/>
          </p:nvPr>
        </p:nvSpPr>
        <p:spPr>
          <a:xfrm>
            <a:off x="4644009" y="1358265"/>
            <a:ext cx="3952240" cy="2275204"/>
          </a:xfrm>
          <a:prstGeom prst="rect">
            <a:avLst/>
          </a:prstGeom>
        </p:spPr>
        <p:txBody>
          <a:bodyPr wrap="square" lIns="0" tIns="0" rIns="0" bIns="0">
            <a:spAutoFit/>
          </a:bodyPr>
          <a:lstStyle>
            <a:lvl1pPr>
              <a:defRPr sz="1800" b="0" i="0">
                <a:solidFill>
                  <a:schemeClr val="bg1"/>
                </a:solidFill>
                <a:latin typeface="Baskerville Old Face"/>
                <a:cs typeface="Baskerville Old Face"/>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r>
              <a:rPr lang="en-US"/>
              <a:t>Industrial Sector</a:t>
            </a:r>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9F19A376-5FEC-0F40-8F6F-8AD04E31C16B}" type="datetime1">
              <a:rPr lang="en-US" smtClean="0"/>
              <a:t>7/17/2023</a:t>
            </a:fld>
            <a:endParaRPr lang="en-US"/>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97895" r:id="rId1"/>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71CE0A-7334-4623-AC89-0010A0C16E69}"/>
              </a:ext>
            </a:extLst>
          </p:cNvPr>
          <p:cNvSpPr>
            <a:spLocks noGrp="1"/>
          </p:cNvSpPr>
          <p:nvPr>
            <p:ph type="title"/>
          </p:nvPr>
        </p:nvSpPr>
        <p:spPr>
          <a:xfrm>
            <a:off x="181724" y="-230778"/>
            <a:ext cx="7886700" cy="1325563"/>
          </a:xfrm>
          <a:prstGeom prst="rect">
            <a:avLst/>
          </a:prstGeom>
        </p:spPr>
        <p:txBody>
          <a:bodyPr vert="horz" lIns="91440" tIns="45720" rIns="91440" bIns="45720" rtlCol="0" anchor="ctr">
            <a:normAutofit/>
          </a:bodyPr>
          <a:lstStyle/>
          <a:p>
            <a:r>
              <a:rPr lang="en-US" dirty="0"/>
              <a:t>Click to edit Master title style</a:t>
            </a:r>
            <a:endParaRPr lang="en-CA" dirty="0"/>
          </a:p>
        </p:txBody>
      </p:sp>
      <p:sp>
        <p:nvSpPr>
          <p:cNvPr id="3" name="Text Placeholder 2">
            <a:extLst>
              <a:ext uri="{FF2B5EF4-FFF2-40B4-BE49-F238E27FC236}">
                <a16:creationId xmlns:a16="http://schemas.microsoft.com/office/drawing/2014/main" id="{E99EEFF5-3264-4FD5-9F76-C6AC9D147CF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8880BB22-AF52-4EE0-A4A1-4971AE6ECAA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EA416A6-8BEE-4A3F-808B-0904628D6F34}" type="datetime1">
              <a:rPr lang="en-CA" smtClean="0"/>
              <a:t>2023-07-17</a:t>
            </a:fld>
            <a:endParaRPr lang="en-CA"/>
          </a:p>
        </p:txBody>
      </p:sp>
      <p:sp>
        <p:nvSpPr>
          <p:cNvPr id="5" name="Footer Placeholder 4">
            <a:extLst>
              <a:ext uri="{FF2B5EF4-FFF2-40B4-BE49-F238E27FC236}">
                <a16:creationId xmlns:a16="http://schemas.microsoft.com/office/drawing/2014/main" id="{7BF4A932-B66A-4731-8BD9-E41A50F4528F}"/>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C748CE3D-54FB-4440-9BD6-A5F6761D7774}"/>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1F560D5-53A7-4969-B8DF-E1F637D39903}" type="slidenum">
              <a:rPr lang="en-CA" smtClean="0"/>
              <a:t>‹#›</a:t>
            </a:fld>
            <a:endParaRPr lang="en-CA"/>
          </a:p>
        </p:txBody>
      </p:sp>
      <p:pic>
        <p:nvPicPr>
          <p:cNvPr id="7" name="Picture 6">
            <a:extLst>
              <a:ext uri="{FF2B5EF4-FFF2-40B4-BE49-F238E27FC236}">
                <a16:creationId xmlns:a16="http://schemas.microsoft.com/office/drawing/2014/main" id="{54879D7B-BA71-47A1-BD70-7BCCBC3C25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2353" y="6543006"/>
            <a:ext cx="2483698" cy="219553"/>
          </a:xfrm>
          <a:prstGeom prst="rect">
            <a:avLst/>
          </a:prstGeom>
        </p:spPr>
      </p:pic>
    </p:spTree>
    <p:extLst>
      <p:ext uri="{BB962C8B-B14F-4D97-AF65-F5344CB8AC3E}">
        <p14:creationId xmlns:p14="http://schemas.microsoft.com/office/powerpoint/2010/main" val="109284353"/>
      </p:ext>
    </p:extLst>
  </p:cSld>
  <p:clrMap bg1="lt1" tx1="dk1" bg2="lt2" tx2="dk2" accent1="accent1" accent2="accent2" accent3="accent3" accent4="accent4" accent5="accent5" accent6="accent6" hlink="hlink" folHlink="folHlink"/>
  <p:sldLayoutIdLst>
    <p:sldLayoutId id="2147497884" r:id="rId1"/>
    <p:sldLayoutId id="2147497897" r:id="rId2"/>
  </p:sldLayoutIdLst>
  <p:hf hdr="0" ftr="0" dt="0"/>
  <p:txStyles>
    <p:titleStyle>
      <a:lvl1pPr algn="l" defTabSz="914400" rtl="0" eaLnBrk="1" latinLnBrk="0" hangingPunct="1">
        <a:lnSpc>
          <a:spcPct val="90000"/>
        </a:lnSpc>
        <a:spcBef>
          <a:spcPct val="0"/>
        </a:spcBef>
        <a:buNone/>
        <a:defRPr sz="3200" kern="12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Open Sans" panose="020B0606030504020204"/>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15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71CE0A-7334-4623-AC89-0010A0C16E69}"/>
              </a:ext>
            </a:extLst>
          </p:cNvPr>
          <p:cNvSpPr>
            <a:spLocks noGrp="1"/>
          </p:cNvSpPr>
          <p:nvPr>
            <p:ph type="title"/>
          </p:nvPr>
        </p:nvSpPr>
        <p:spPr>
          <a:xfrm>
            <a:off x="181724" y="-230778"/>
            <a:ext cx="7886700" cy="1325563"/>
          </a:xfrm>
          <a:prstGeom prst="rect">
            <a:avLst/>
          </a:prstGeom>
        </p:spPr>
        <p:txBody>
          <a:bodyPr vert="horz" lIns="91440" tIns="45720" rIns="91440" bIns="45720" rtlCol="0" anchor="ctr">
            <a:normAutofit/>
          </a:bodyPr>
          <a:lstStyle/>
          <a:p>
            <a:r>
              <a:rPr lang="en-US" dirty="0"/>
              <a:t>Click to edit Master title style</a:t>
            </a:r>
            <a:endParaRPr lang="en-CA" dirty="0"/>
          </a:p>
        </p:txBody>
      </p:sp>
      <p:sp>
        <p:nvSpPr>
          <p:cNvPr id="3" name="Text Placeholder 2">
            <a:extLst>
              <a:ext uri="{FF2B5EF4-FFF2-40B4-BE49-F238E27FC236}">
                <a16:creationId xmlns:a16="http://schemas.microsoft.com/office/drawing/2014/main" id="{E99EEFF5-3264-4FD5-9F76-C6AC9D147CF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a:extLst>
              <a:ext uri="{FF2B5EF4-FFF2-40B4-BE49-F238E27FC236}">
                <a16:creationId xmlns:a16="http://schemas.microsoft.com/office/drawing/2014/main" id="{8880BB22-AF52-4EE0-A4A1-4971AE6ECAA3}"/>
              </a:ext>
            </a:extLst>
          </p:cNvPr>
          <p:cNvSpPr>
            <a:spLocks noGrp="1"/>
          </p:cNvSpPr>
          <p:nvPr>
            <p:ph type="dt" sz="half" idx="2"/>
          </p:nvPr>
        </p:nvSpPr>
        <p:spPr>
          <a:xfrm>
            <a:off x="628650" y="6356357"/>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1EA416A6-8BEE-4A3F-808B-0904628D6F34}" type="datetime1">
              <a:rPr lang="en-CA" smtClean="0"/>
              <a:t>2023-07-17</a:t>
            </a:fld>
            <a:endParaRPr lang="en-CA"/>
          </a:p>
        </p:txBody>
      </p:sp>
      <p:sp>
        <p:nvSpPr>
          <p:cNvPr id="5" name="Footer Placeholder 4">
            <a:extLst>
              <a:ext uri="{FF2B5EF4-FFF2-40B4-BE49-F238E27FC236}">
                <a16:creationId xmlns:a16="http://schemas.microsoft.com/office/drawing/2014/main" id="{7BF4A932-B66A-4731-8BD9-E41A50F4528F}"/>
              </a:ext>
            </a:extLst>
          </p:cNvPr>
          <p:cNvSpPr>
            <a:spLocks noGrp="1"/>
          </p:cNvSpPr>
          <p:nvPr>
            <p:ph type="ftr" sz="quarter" idx="3"/>
          </p:nvPr>
        </p:nvSpPr>
        <p:spPr>
          <a:xfrm>
            <a:off x="3028950" y="6356357"/>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C748CE3D-54FB-4440-9BD6-A5F6761D7774}"/>
              </a:ext>
            </a:extLst>
          </p:cNvPr>
          <p:cNvSpPr>
            <a:spLocks noGrp="1"/>
          </p:cNvSpPr>
          <p:nvPr>
            <p:ph type="sldNum" sz="quarter" idx="4"/>
          </p:nvPr>
        </p:nvSpPr>
        <p:spPr>
          <a:xfrm>
            <a:off x="6457950" y="6356357"/>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1F560D5-53A7-4969-B8DF-E1F637D39903}" type="slidenum">
              <a:rPr lang="en-CA" smtClean="0"/>
              <a:t>‹#›</a:t>
            </a:fld>
            <a:endParaRPr lang="en-CA"/>
          </a:p>
        </p:txBody>
      </p:sp>
    </p:spTree>
    <p:extLst>
      <p:ext uri="{BB962C8B-B14F-4D97-AF65-F5344CB8AC3E}">
        <p14:creationId xmlns:p14="http://schemas.microsoft.com/office/powerpoint/2010/main" val="1255074819"/>
      </p:ext>
    </p:extLst>
  </p:cSld>
  <p:clrMap bg1="lt1" tx1="dk1" bg2="lt2" tx2="dk2" accent1="accent1" accent2="accent2" accent3="accent3" accent4="accent4" accent5="accent5" accent6="accent6" hlink="hlink" folHlink="folHlink"/>
  <p:sldLayoutIdLst>
    <p:sldLayoutId id="2147484644" r:id="rId1"/>
    <p:sldLayoutId id="2147497890" r:id="rId2"/>
    <p:sldLayoutId id="2147483684" r:id="rId3"/>
    <p:sldLayoutId id="2147483682" r:id="rId4"/>
  </p:sldLayoutIdLst>
  <p:hf hdr="0" ftr="0" dt="0"/>
  <p:txStyles>
    <p:titleStyle>
      <a:lvl1pPr algn="l" defTabSz="914354" rtl="0" eaLnBrk="1" latinLnBrk="0" hangingPunct="1">
        <a:lnSpc>
          <a:spcPct val="90000"/>
        </a:lnSpc>
        <a:spcBef>
          <a:spcPct val="0"/>
        </a:spcBef>
        <a:buNone/>
        <a:defRPr sz="3200" kern="12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600" kern="1200">
          <a:solidFill>
            <a:schemeClr val="tx1"/>
          </a:solidFill>
          <a:latin typeface="Open Sans" panose="020B0606030504020204"/>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Open Sans" panose="020B0606030504020204"/>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158"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73FE9D-8277-4908-BEF9-5B6F6CF46737}" type="datetime1">
              <a:rPr lang="en-US" smtClean="0"/>
              <a:t>7/17/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S. Cunningham;  Intel Corporation; 2013</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8D0224-7849-4939-A284-59648356A65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52" r:id="rId1"/>
    <p:sldLayoutId id="2147497791" r:id="rId2"/>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969517" y="1157427"/>
            <a:ext cx="7204964" cy="1671955"/>
          </a:xfrm>
          <a:prstGeom prst="rect">
            <a:avLst/>
          </a:prstGeom>
        </p:spPr>
        <p:txBody>
          <a:bodyPr wrap="square" lIns="0" tIns="0" rIns="0" bIns="0">
            <a:spAutoFit/>
          </a:bodyPr>
          <a:lstStyle>
            <a:lvl1pPr>
              <a:defRPr sz="5400" b="1" i="0">
                <a:solidFill>
                  <a:schemeClr val="bg1"/>
                </a:solidFill>
                <a:latin typeface="Garamond"/>
                <a:cs typeface="Garamond"/>
              </a:defRPr>
            </a:lvl1pPr>
          </a:lstStyle>
          <a:p>
            <a:endParaRPr/>
          </a:p>
        </p:txBody>
      </p:sp>
      <p:sp>
        <p:nvSpPr>
          <p:cNvPr id="3" name="Holder 3"/>
          <p:cNvSpPr>
            <a:spLocks noGrp="1"/>
          </p:cNvSpPr>
          <p:nvPr>
            <p:ph type="body" idx="1"/>
          </p:nvPr>
        </p:nvSpPr>
        <p:spPr>
          <a:xfrm>
            <a:off x="4644009" y="1358265"/>
            <a:ext cx="3952240" cy="2275204"/>
          </a:xfrm>
          <a:prstGeom prst="rect">
            <a:avLst/>
          </a:prstGeom>
        </p:spPr>
        <p:txBody>
          <a:bodyPr wrap="square" lIns="0" tIns="0" rIns="0" bIns="0">
            <a:spAutoFit/>
          </a:bodyPr>
          <a:lstStyle>
            <a:lvl1pPr>
              <a:defRPr sz="1800" b="0" i="0">
                <a:solidFill>
                  <a:schemeClr val="bg1"/>
                </a:solidFill>
                <a:latin typeface="Baskerville Old Face"/>
                <a:cs typeface="Baskerville Old Face"/>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7/17/2023</a:t>
            </a:fld>
            <a:endParaRPr lang="en-US"/>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2" r:id="rId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Title Placeholder 1">
            <a:extLst>
              <a:ext uri="{FF2B5EF4-FFF2-40B4-BE49-F238E27FC236}">
                <a16:creationId xmlns:a16="http://schemas.microsoft.com/office/drawing/2014/main" id="{4FB5E34D-6B26-4139-A4F7-4B64C6BAF183}"/>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7171" name="Text Placeholder 2">
            <a:extLst>
              <a:ext uri="{FF2B5EF4-FFF2-40B4-BE49-F238E27FC236}">
                <a16:creationId xmlns:a16="http://schemas.microsoft.com/office/drawing/2014/main" id="{4221A8B1-5228-4D69-B6F8-1EEE05E5CE0E}"/>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1B9439DE-FC2C-42A6-BF4F-E87EE887647C}"/>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prstClr val="black">
                    <a:tint val="75000"/>
                  </a:prstClr>
                </a:solidFill>
                <a:latin typeface="Arial"/>
              </a:defRPr>
            </a:lvl1pPr>
          </a:lstStyle>
          <a:p>
            <a:pPr>
              <a:defRPr/>
            </a:pPr>
            <a:fld id="{3F64D7A8-3E42-4539-B11C-94569FCCADAE}" type="datetime1">
              <a:rPr lang="en-US"/>
              <a:pPr>
                <a:defRPr/>
              </a:pPr>
              <a:t>7/17/2023</a:t>
            </a:fld>
            <a:endParaRPr lang="en-US" dirty="0"/>
          </a:p>
        </p:txBody>
      </p:sp>
      <p:sp>
        <p:nvSpPr>
          <p:cNvPr id="5" name="Footer Placeholder 4">
            <a:extLst>
              <a:ext uri="{FF2B5EF4-FFF2-40B4-BE49-F238E27FC236}">
                <a16:creationId xmlns:a16="http://schemas.microsoft.com/office/drawing/2014/main" id="{398329D3-2B85-4749-945D-4410E6D5ED80}"/>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prstClr val="black">
                    <a:tint val="75000"/>
                  </a:prstClr>
                </a:solidFill>
                <a:latin typeface="Arial"/>
              </a:defRPr>
            </a:lvl1pPr>
          </a:lstStyle>
          <a:p>
            <a:pPr>
              <a:defRPr/>
            </a:pPr>
            <a:endParaRPr lang="en-US"/>
          </a:p>
        </p:txBody>
      </p:sp>
      <p:sp>
        <p:nvSpPr>
          <p:cNvPr id="9" name="Rectangle 8">
            <a:extLst>
              <a:ext uri="{FF2B5EF4-FFF2-40B4-BE49-F238E27FC236}">
                <a16:creationId xmlns:a16="http://schemas.microsoft.com/office/drawing/2014/main" id="{9725F147-FAB1-41B2-82A2-A808AE638D5C}"/>
              </a:ext>
            </a:extLst>
          </p:cNvPr>
          <p:cNvSpPr/>
          <p:nvPr/>
        </p:nvSpPr>
        <p:spPr>
          <a:xfrm>
            <a:off x="0" y="0"/>
            <a:ext cx="9144000" cy="1371600"/>
          </a:xfrm>
          <a:prstGeom prst="rect">
            <a:avLst/>
          </a:prstGeom>
          <a:gradFill flip="none" rotWithShape="1">
            <a:gsLst>
              <a:gs pos="0">
                <a:schemeClr val="tx2">
                  <a:lumMod val="50000"/>
                </a:schemeClr>
              </a:gs>
              <a:gs pos="70000">
                <a:srgbClr val="132D4D"/>
              </a:gs>
              <a:gs pos="30000">
                <a:srgbClr val="132D4D"/>
              </a:gs>
              <a:gs pos="50000">
                <a:schemeClr val="tx2">
                  <a:lumMod val="75000"/>
                </a:schemeClr>
              </a:gs>
              <a:gs pos="100000">
                <a:schemeClr val="tx2">
                  <a:lumMod val="5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Tree>
  </p:cSld>
  <p:clrMap bg1="lt1" tx1="dk1" bg2="lt2" tx2="dk2" accent1="accent1" accent2="accent2" accent3="accent3" accent4="accent4" accent5="accent5" accent6="accent6" hlink="hlink" folHlink="folHlink"/>
  <p:sldLayoutIdLst>
    <p:sldLayoutId id="2147484076" r:id="rId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Arial" charset="0"/>
        </a:defRPr>
      </a:lvl2pPr>
      <a:lvl3pPr algn="ctr" rtl="0" eaLnBrk="0" fontAlgn="base" hangingPunct="0">
        <a:spcBef>
          <a:spcPct val="0"/>
        </a:spcBef>
        <a:spcAft>
          <a:spcPct val="0"/>
        </a:spcAft>
        <a:defRPr sz="4400">
          <a:solidFill>
            <a:schemeClr val="tx1"/>
          </a:solidFill>
          <a:latin typeface="Arial" charset="0"/>
        </a:defRPr>
      </a:lvl3pPr>
      <a:lvl4pPr algn="ctr" rtl="0" eaLnBrk="0" fontAlgn="base" hangingPunct="0">
        <a:spcBef>
          <a:spcPct val="0"/>
        </a:spcBef>
        <a:spcAft>
          <a:spcPct val="0"/>
        </a:spcAft>
        <a:defRPr sz="4400">
          <a:solidFill>
            <a:schemeClr val="tx1"/>
          </a:solidFill>
          <a:latin typeface="Arial" charset="0"/>
        </a:defRPr>
      </a:lvl4pPr>
      <a:lvl5pPr algn="ctr" rtl="0" eaLnBrk="0" fontAlgn="base" hangingPunct="0">
        <a:spcBef>
          <a:spcPct val="0"/>
        </a:spcBef>
        <a:spcAft>
          <a:spcPct val="0"/>
        </a:spcAft>
        <a:defRPr sz="4400">
          <a:solidFill>
            <a:schemeClr val="tx1"/>
          </a:solidFill>
          <a:latin typeface="Arial" charset="0"/>
        </a:defRPr>
      </a:lvl5pPr>
      <a:lvl6pPr marL="457200" algn="ctr" rtl="0" fontAlgn="base">
        <a:spcBef>
          <a:spcPct val="0"/>
        </a:spcBef>
        <a:spcAft>
          <a:spcPct val="0"/>
        </a:spcAft>
        <a:defRPr sz="4400">
          <a:solidFill>
            <a:schemeClr val="tx1"/>
          </a:solidFill>
          <a:latin typeface="Arial" charset="0"/>
        </a:defRPr>
      </a:lvl6pPr>
      <a:lvl7pPr marL="914400" algn="ctr" rtl="0" fontAlgn="base">
        <a:spcBef>
          <a:spcPct val="0"/>
        </a:spcBef>
        <a:spcAft>
          <a:spcPct val="0"/>
        </a:spcAft>
        <a:defRPr sz="4400">
          <a:solidFill>
            <a:schemeClr val="tx1"/>
          </a:solidFill>
          <a:latin typeface="Arial" charset="0"/>
        </a:defRPr>
      </a:lvl7pPr>
      <a:lvl8pPr marL="1371600" algn="ctr" rtl="0" fontAlgn="base">
        <a:spcBef>
          <a:spcPct val="0"/>
        </a:spcBef>
        <a:spcAft>
          <a:spcPct val="0"/>
        </a:spcAft>
        <a:defRPr sz="4400">
          <a:solidFill>
            <a:schemeClr val="tx1"/>
          </a:solidFill>
          <a:latin typeface="Arial" charset="0"/>
        </a:defRPr>
      </a:lvl8pPr>
      <a:lvl9pPr marL="1828800" algn="ctr" rtl="0" fontAlgn="base">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1" y="1600206"/>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57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1" fontAlgn="auto" hangingPunct="1">
              <a:spcBef>
                <a:spcPts val="0"/>
              </a:spcBef>
              <a:spcAft>
                <a:spcPts val="0"/>
              </a:spcAft>
            </a:pPr>
            <a:fld id="{EE73FE9D-8277-4908-BEF9-5B6F6CF46737}" type="datetime1">
              <a:rPr lang="en-US" smtClean="0">
                <a:solidFill>
                  <a:prstClr val="black">
                    <a:tint val="75000"/>
                  </a:prstClr>
                </a:solidFill>
                <a:latin typeface="Calibri"/>
              </a:rPr>
              <a:pPr eaLnBrk="1" fontAlgn="auto" hangingPunct="1">
                <a:spcBef>
                  <a:spcPts val="0"/>
                </a:spcBef>
                <a:spcAft>
                  <a:spcPts val="0"/>
                </a:spcAft>
              </a:pPr>
              <a:t>7/17/2023</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1" y="635657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1" fontAlgn="auto" hangingPunct="1">
              <a:spcBef>
                <a:spcPts val="0"/>
              </a:spcBef>
              <a:spcAft>
                <a:spcPts val="0"/>
              </a:spcAft>
            </a:pPr>
            <a:r>
              <a:rPr lang="en-US">
                <a:solidFill>
                  <a:prstClr val="black">
                    <a:tint val="75000"/>
                  </a:prstClr>
                </a:solidFill>
                <a:latin typeface="Calibri"/>
              </a:rPr>
              <a:t>S. Cunningham;  Intel Corporation; 2013</a:t>
            </a:r>
          </a:p>
        </p:txBody>
      </p:sp>
      <p:sp>
        <p:nvSpPr>
          <p:cNvPr id="6" name="Slide Number Placeholder 5"/>
          <p:cNvSpPr>
            <a:spLocks noGrp="1"/>
          </p:cNvSpPr>
          <p:nvPr>
            <p:ph type="sldNum" sz="quarter" idx="4"/>
          </p:nvPr>
        </p:nvSpPr>
        <p:spPr>
          <a:xfrm>
            <a:off x="6553201" y="635657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1" fontAlgn="auto" hangingPunct="1">
              <a:spcBef>
                <a:spcPts val="0"/>
              </a:spcBef>
              <a:spcAft>
                <a:spcPts val="0"/>
              </a:spcAft>
            </a:pPr>
            <a:fld id="{778D0224-7849-4939-A284-59648356A652}" type="slidenum">
              <a:rPr lang="en-US" smtClean="0">
                <a:solidFill>
                  <a:prstClr val="black">
                    <a:tint val="75000"/>
                  </a:prstClr>
                </a:solidFill>
                <a:latin typeface="Calibri"/>
              </a:rPr>
              <a:pPr eaLnBrk="1" fontAlgn="auto" hangingPunct="1">
                <a:spcBef>
                  <a:spcPts val="0"/>
                </a:spcBef>
                <a:spcAft>
                  <a:spcPts val="0"/>
                </a:spcAft>
              </a:pPr>
              <a:t>‹#›</a:t>
            </a:fld>
            <a:endParaRPr lang="en-US">
              <a:solidFill>
                <a:prstClr val="black">
                  <a:tint val="75000"/>
                </a:prstClr>
              </a:solidFill>
              <a:latin typeface="Calibri"/>
            </a:endParaRPr>
          </a:p>
        </p:txBody>
      </p:sp>
    </p:spTree>
  </p:cSld>
  <p:clrMap bg1="lt1" tx1="dk1" bg2="lt2" tx2="dk2" accent1="accent1" accent2="accent2" accent3="accent3" accent4="accent4" accent5="accent5" accent6="accent6" hlink="hlink" folHlink="folHlink"/>
  <p:sldLayoutIdLst>
    <p:sldLayoutId id="2147484522" r:id="rId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image" Target="../media/image20.jpg"/><Relationship Id="rId7" Type="http://schemas.openxmlformats.org/officeDocument/2006/relationships/hyperlink" Target="https://www.linkedin.com/in/dscottsink/" TargetMode="External"/><Relationship Id="rId2" Type="http://schemas.openxmlformats.org/officeDocument/2006/relationships/notesSlide" Target="../notesSlides/notesSlide1.xml"/><Relationship Id="rId1" Type="http://schemas.openxmlformats.org/officeDocument/2006/relationships/slideLayout" Target="../slideLayouts/slideLayout15.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35.tmp"/><Relationship Id="rId2" Type="http://schemas.openxmlformats.org/officeDocument/2006/relationships/image" Target="../media/image34.jpg"/><Relationship Id="rId1" Type="http://schemas.openxmlformats.org/officeDocument/2006/relationships/slideLayout" Target="../slideLayouts/slideLayout17.xml"/><Relationship Id="rId4" Type="http://schemas.openxmlformats.org/officeDocument/2006/relationships/image" Target="../media/image36.tmp"/></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3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4.png"/><Relationship Id="rId7" Type="http://schemas.openxmlformats.org/officeDocument/2006/relationships/diagramQuickStyle" Target="../diagrams/quickStyle1.xml"/><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45.png"/><Relationship Id="rId9" Type="http://schemas.microsoft.com/office/2007/relationships/diagramDrawing" Target="../diagrams/drawing1.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36.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2.xml"/><Relationship Id="rId1" Type="http://schemas.openxmlformats.org/officeDocument/2006/relationships/tags" Target="../tags/tag2.xml"/><Relationship Id="rId5" Type="http://schemas.openxmlformats.org/officeDocument/2006/relationships/image" Target="../media/image55.png"/><Relationship Id="rId4" Type="http://schemas.openxmlformats.org/officeDocument/2006/relationships/image" Target="../media/image18.png"/></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7.xml"/><Relationship Id="rId4" Type="http://schemas.openxmlformats.org/officeDocument/2006/relationships/image" Target="../media/image23.png"/></Relationships>
</file>

<file path=ppt/slides/_rels/slide4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43.xml"/></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60.jfif"/><Relationship Id="rId7" Type="http://schemas.openxmlformats.org/officeDocument/2006/relationships/image" Target="../media/image64.sv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jfif"/><Relationship Id="rId4" Type="http://schemas.openxmlformats.org/officeDocument/2006/relationships/image" Target="../media/image61.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31.xml"/><Relationship Id="rId5" Type="http://schemas.openxmlformats.org/officeDocument/2006/relationships/image" Target="../media/image67.jpg"/><Relationship Id="rId4" Type="http://schemas.openxmlformats.org/officeDocument/2006/relationships/image" Target="../media/image66.jpg"/></Relationships>
</file>

<file path=ppt/slides/_rels/slide4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45.png"/><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4.png"/><Relationship Id="rId7" Type="http://schemas.openxmlformats.org/officeDocument/2006/relationships/diagramQuickStyle" Target="../diagrams/quickStyle5.xml"/><Relationship Id="rId2" Type="http://schemas.openxmlformats.org/officeDocument/2006/relationships/notesSlide" Target="../notesSlides/notesSlide16.xml"/><Relationship Id="rId1" Type="http://schemas.openxmlformats.org/officeDocument/2006/relationships/slideLayout" Target="../slideLayouts/slideLayout32.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45.png"/><Relationship Id="rId9" Type="http://schemas.microsoft.com/office/2007/relationships/diagramDrawing" Target="../diagrams/drawing5.xml"/></Relationships>
</file>

<file path=ppt/slides/_rels/slide4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26.xml"/><Relationship Id="rId4" Type="http://schemas.openxmlformats.org/officeDocument/2006/relationships/image" Target="../media/image46.png"/></Relationships>
</file>

<file path=ppt/slides/_rels/slide5.xml.rels><?xml version="1.0" encoding="UTF-8" standalone="yes"?>
<Relationships xmlns="http://schemas.openxmlformats.org/package/2006/relationships"><Relationship Id="rId3" Type="http://schemas.openxmlformats.org/officeDocument/2006/relationships/image" Target="../media/image29.tmp"/><Relationship Id="rId2" Type="http://schemas.openxmlformats.org/officeDocument/2006/relationships/image" Target="../media/image28.tmp"/><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5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9.xml"/><Relationship Id="rId1" Type="http://schemas.openxmlformats.org/officeDocument/2006/relationships/slideLayout" Target="../slideLayouts/slideLayout47.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5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75.png"/><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75.png"/><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3" Type="http://schemas.openxmlformats.org/officeDocument/2006/relationships/image" Target="../media/image77.jpeg"/><Relationship Id="rId7" Type="http://schemas.openxmlformats.org/officeDocument/2006/relationships/image" Target="../media/image81.png"/><Relationship Id="rId12" Type="http://schemas.openxmlformats.org/officeDocument/2006/relationships/image" Target="../media/image86.png"/><Relationship Id="rId2" Type="http://schemas.openxmlformats.org/officeDocument/2006/relationships/image" Target="../media/image76.png"/><Relationship Id="rId1" Type="http://schemas.openxmlformats.org/officeDocument/2006/relationships/slideLayout" Target="../slideLayouts/slideLayout36.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png"/></Relationships>
</file>

<file path=ppt/slides/_rels/slide5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30.tmp"/><Relationship Id="rId2" Type="http://schemas.openxmlformats.org/officeDocument/2006/relationships/hyperlink" Target="https://www.thepoiriergroup.com/perspectives/" TargetMode="External"/><Relationship Id="rId1" Type="http://schemas.openxmlformats.org/officeDocument/2006/relationships/slideLayout" Target="../slideLayouts/slideLayout17.xml"/><Relationship Id="rId4" Type="http://schemas.openxmlformats.org/officeDocument/2006/relationships/hyperlink" Target="https://www.youtube.com/channel/UCixxhLPZrwdK-DdKYqYZm1A" TargetMode="External"/></Relationships>
</file>

<file path=ppt/slides/_rels/slide6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image" Target="../media/image88.png"/><Relationship Id="rId1" Type="http://schemas.openxmlformats.org/officeDocument/2006/relationships/slideLayout" Target="../slideLayouts/slideLayout34.xml"/><Relationship Id="rId6" Type="http://schemas.openxmlformats.org/officeDocument/2006/relationships/image" Target="../media/image92.png"/><Relationship Id="rId5" Type="http://schemas.openxmlformats.org/officeDocument/2006/relationships/image" Target="../media/image91.png"/><Relationship Id="rId4" Type="http://schemas.openxmlformats.org/officeDocument/2006/relationships/image" Target="../media/image90.png"/></Relationships>
</file>

<file path=ppt/slides/_rels/slide6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4.xml"/><Relationship Id="rId6" Type="http://schemas.openxmlformats.org/officeDocument/2006/relationships/image" Target="../media/image42.png"/><Relationship Id="rId5" Type="http://schemas.openxmlformats.org/officeDocument/2006/relationships/image" Target="../media/image97.png"/><Relationship Id="rId4" Type="http://schemas.openxmlformats.org/officeDocument/2006/relationships/image" Target="../media/image96.png"/></Relationships>
</file>

<file path=ppt/slides/_rels/slide6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3.xml"/><Relationship Id="rId4" Type="http://schemas.openxmlformats.org/officeDocument/2006/relationships/image" Target="../media/image100.jpeg"/></Relationships>
</file>

<file path=ppt/slides/_rels/slide6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33.xml"/></Relationships>
</file>

<file path=ppt/slides/_rels/slide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3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hyperlink" Target="https://us06web.zoom.us/webinar/register/WN_RxQvgxvSSNKaZytmxAtlYA" TargetMode="External"/><Relationship Id="rId2" Type="http://schemas.openxmlformats.org/officeDocument/2006/relationships/image" Target="../media/image105.png"/><Relationship Id="rId1" Type="http://schemas.openxmlformats.org/officeDocument/2006/relationships/slideLayout" Target="../slideLayouts/slideLayout19.xml"/><Relationship Id="rId4" Type="http://schemas.openxmlformats.org/officeDocument/2006/relationships/hyperlink" Target="https://link.iise.org/AI-part1"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07.jpg"/><Relationship Id="rId2" Type="http://schemas.openxmlformats.org/officeDocument/2006/relationships/image" Target="../media/image106.png"/><Relationship Id="rId1" Type="http://schemas.openxmlformats.org/officeDocument/2006/relationships/slideLayout" Target="../slideLayouts/slideLayout17.xml"/></Relationships>
</file>

<file path=ppt/slides/_rels/slide6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4.xml"/><Relationship Id="rId6" Type="http://schemas.openxmlformats.org/officeDocument/2006/relationships/image" Target="../media/image111.png"/><Relationship Id="rId5" Type="http://schemas.openxmlformats.org/officeDocument/2006/relationships/hyperlink" Target="https://careerfoundry.com/en/blog/data-analytics/best-data-analytics-certification-programs/" TargetMode="External"/><Relationship Id="rId4" Type="http://schemas.openxmlformats.org/officeDocument/2006/relationships/image" Target="../media/image110.tmp"/></Relationships>
</file>

<file path=ppt/slides/_rels/slide69.xml.rels><?xml version="1.0" encoding="UTF-8" standalone="yes"?>
<Relationships xmlns="http://schemas.openxmlformats.org/package/2006/relationships"><Relationship Id="rId3" Type="http://schemas.openxmlformats.org/officeDocument/2006/relationships/image" Target="../media/image112.jfif"/><Relationship Id="rId2" Type="http://schemas.openxmlformats.org/officeDocument/2006/relationships/image" Target="../media/image108.png"/><Relationship Id="rId1" Type="http://schemas.openxmlformats.org/officeDocument/2006/relationships/slideLayout" Target="../slideLayouts/slideLayout24.xml"/><Relationship Id="rId4" Type="http://schemas.openxmlformats.org/officeDocument/2006/relationships/image" Target="../media/image113.png"/></Relationships>
</file>

<file path=ppt/slides/_rels/slide7.xml.rels><?xml version="1.0" encoding="UTF-8" standalone="yes"?>
<Relationships xmlns="http://schemas.openxmlformats.org/package/2006/relationships"><Relationship Id="rId3" Type="http://schemas.openxmlformats.org/officeDocument/2006/relationships/hyperlink" Target="https://www.iise.org/details.aspx?id=46729" TargetMode="External"/><Relationship Id="rId2" Type="http://schemas.openxmlformats.org/officeDocument/2006/relationships/image" Target="../media/image31.tmp"/><Relationship Id="rId1" Type="http://schemas.openxmlformats.org/officeDocument/2006/relationships/slideLayout" Target="../slideLayouts/slideLayout37.xml"/><Relationship Id="rId4" Type="http://schemas.openxmlformats.org/officeDocument/2006/relationships/image" Target="../media/image32.png"/></Relationships>
</file>

<file path=ppt/slides/_rels/slide70.xml.rels><?xml version="1.0" encoding="UTF-8" standalone="yes"?>
<Relationships xmlns="http://schemas.openxmlformats.org/package/2006/relationships"><Relationship Id="rId3" Type="http://schemas.openxmlformats.org/officeDocument/2006/relationships/image" Target="../media/image114.tmp"/><Relationship Id="rId2" Type="http://schemas.openxmlformats.org/officeDocument/2006/relationships/image" Target="../media/image108.png"/><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 y="-45720"/>
            <a:ext cx="9143999" cy="6903720"/>
          </a:xfrm>
          <a:prstGeom prst="rect">
            <a:avLst/>
          </a:prstGeom>
          <a:blipFill>
            <a:blip r:embed="rId3" cstate="print"/>
            <a:stretch>
              <a:fillRect/>
            </a:stretch>
          </a:blipFill>
        </p:spPr>
        <p:txBody>
          <a:bodyPr wrap="square" lIns="0" tIns="0" rIns="0" bIns="0" rtlCol="0"/>
          <a:lstStyle/>
          <a:p>
            <a:endParaRPr lang="en-US"/>
          </a:p>
        </p:txBody>
      </p:sp>
      <p:sp>
        <p:nvSpPr>
          <p:cNvPr id="22" name="Rectangle: Rounded Corners 21">
            <a:extLst>
              <a:ext uri="{FF2B5EF4-FFF2-40B4-BE49-F238E27FC236}">
                <a16:creationId xmlns:a16="http://schemas.microsoft.com/office/drawing/2014/main" id="{693B6C1D-D021-4EC9-AC66-7E12E6EAE67F}"/>
              </a:ext>
            </a:extLst>
          </p:cNvPr>
          <p:cNvSpPr/>
          <p:nvPr/>
        </p:nvSpPr>
        <p:spPr>
          <a:xfrm>
            <a:off x="958306" y="2238993"/>
            <a:ext cx="3771670" cy="1933243"/>
          </a:xfrm>
          <a:prstGeom prst="roundRect">
            <a:avLst>
              <a:gd name="adj" fmla="val 4697"/>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a:latin typeface="Roboto" panose="020B0604020202020204" charset="0"/>
                <a:ea typeface="Roboto" panose="020B0604020202020204" charset="0"/>
              </a:rPr>
              <a:t>IISE Coordinator</a:t>
            </a:r>
          </a:p>
        </p:txBody>
      </p:sp>
      <p:sp>
        <p:nvSpPr>
          <p:cNvPr id="28" name="TextBox 27">
            <a:extLst>
              <a:ext uri="{FF2B5EF4-FFF2-40B4-BE49-F238E27FC236}">
                <a16:creationId xmlns:a16="http://schemas.microsoft.com/office/drawing/2014/main" id="{BA4CEFC9-7EA0-4E3D-8519-C99F7A7D0F70}"/>
              </a:ext>
            </a:extLst>
          </p:cNvPr>
          <p:cNvSpPr txBox="1"/>
          <p:nvPr/>
        </p:nvSpPr>
        <p:spPr>
          <a:xfrm>
            <a:off x="2659160" y="2907970"/>
            <a:ext cx="2070816" cy="723275"/>
          </a:xfrm>
          <a:prstGeom prst="rect">
            <a:avLst/>
          </a:prstGeom>
          <a:noFill/>
        </p:spPr>
        <p:txBody>
          <a:bodyPr wrap="square" rtlCol="0">
            <a:spAutoFit/>
          </a:bodyPr>
          <a:lstStyle/>
          <a:p>
            <a:pPr algn="ctr"/>
            <a:r>
              <a:rPr lang="en-US" sz="900" b="1" dirty="0">
                <a:solidFill>
                  <a:schemeClr val="bg1"/>
                </a:solidFill>
              </a:rPr>
              <a:t>D. Scott Sink</a:t>
            </a:r>
          </a:p>
          <a:p>
            <a:pPr algn="ctr"/>
            <a:r>
              <a:rPr lang="en-US" sz="900" b="1" dirty="0">
                <a:solidFill>
                  <a:schemeClr val="bg1"/>
                </a:solidFill>
              </a:rPr>
              <a:t>IISE Performance Excellence and Op Analytics Volunteer Lead</a:t>
            </a:r>
          </a:p>
          <a:p>
            <a:pPr algn="ctr"/>
            <a:r>
              <a:rPr lang="en-US" sz="900" b="1" dirty="0">
                <a:solidFill>
                  <a:schemeClr val="bg1"/>
                </a:solidFill>
              </a:rPr>
              <a:t>Facilitator/Member, CISE</a:t>
            </a:r>
          </a:p>
          <a:p>
            <a:pPr algn="ctr"/>
            <a:endParaRPr lang="en-US" sz="500" dirty="0">
              <a:solidFill>
                <a:schemeClr val="bg1"/>
              </a:solidFill>
            </a:endParaRPr>
          </a:p>
        </p:txBody>
      </p:sp>
      <p:pic>
        <p:nvPicPr>
          <p:cNvPr id="5" name="Picture 4">
            <a:extLst>
              <a:ext uri="{FF2B5EF4-FFF2-40B4-BE49-F238E27FC236}">
                <a16:creationId xmlns:a16="http://schemas.microsoft.com/office/drawing/2014/main" id="{AFD8D61E-987F-4EB6-88A2-2F19E77A4CB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316002" y="2663631"/>
            <a:ext cx="1219200" cy="1211952"/>
          </a:xfrm>
          <a:prstGeom prst="rect">
            <a:avLst/>
          </a:prstGeom>
        </p:spPr>
      </p:pic>
      <p:sp>
        <p:nvSpPr>
          <p:cNvPr id="10" name="object 3">
            <a:extLst>
              <a:ext uri="{FF2B5EF4-FFF2-40B4-BE49-F238E27FC236}">
                <a16:creationId xmlns:a16="http://schemas.microsoft.com/office/drawing/2014/main" id="{B47D77AC-10E5-F7CA-1821-CA4162CCE788}"/>
              </a:ext>
            </a:extLst>
          </p:cNvPr>
          <p:cNvSpPr txBox="1">
            <a:spLocks/>
          </p:cNvSpPr>
          <p:nvPr/>
        </p:nvSpPr>
        <p:spPr>
          <a:xfrm>
            <a:off x="232819" y="52894"/>
            <a:ext cx="5536925" cy="2106346"/>
          </a:xfrm>
          <a:prstGeom prst="rect">
            <a:avLst/>
          </a:prstGeom>
        </p:spPr>
        <p:txBody>
          <a:bodyPr vert="horz" wrap="square" lIns="0" tIns="53975" rIns="0" bIns="0" rtlCol="0">
            <a:spAutoFit/>
          </a:bodyPr>
          <a:lstStyle>
            <a:lvl1pPr>
              <a:defRPr sz="5400" b="1" i="0">
                <a:solidFill>
                  <a:schemeClr val="bg1"/>
                </a:solidFill>
                <a:latin typeface="Garamond"/>
                <a:ea typeface="+mj-ea"/>
                <a:cs typeface="Garamond"/>
              </a:defRPr>
            </a:lvl1pPr>
          </a:lstStyle>
          <a:p>
            <a:pPr marL="1187450" marR="5080" indent="-1175385" algn="l">
              <a:lnSpc>
                <a:spcPts val="2590"/>
              </a:lnSpc>
              <a:spcBef>
                <a:spcPts val="425"/>
              </a:spcBef>
            </a:pPr>
            <a:r>
              <a:rPr lang="en-US" sz="2400" kern="0" dirty="0">
                <a:solidFill>
                  <a:schemeClr val="accent6">
                    <a:lumMod val="75000"/>
                  </a:schemeClr>
                </a:solidFill>
                <a:latin typeface="Arial"/>
                <a:cs typeface="Arial"/>
              </a:rPr>
              <a:t>IISE Global Performance Excellence Webinar Series:</a:t>
            </a:r>
          </a:p>
          <a:p>
            <a:pPr marL="1187450" marR="5080" indent="-1175385" algn="l">
              <a:lnSpc>
                <a:spcPts val="2590"/>
              </a:lnSpc>
              <a:spcBef>
                <a:spcPts val="425"/>
              </a:spcBef>
            </a:pPr>
            <a:r>
              <a:rPr lang="en-US" sz="2400" kern="0" dirty="0">
                <a:solidFill>
                  <a:schemeClr val="accent6">
                    <a:lumMod val="60000"/>
                    <a:lumOff val="40000"/>
                  </a:schemeClr>
                </a:solidFill>
                <a:latin typeface="Arial"/>
                <a:cs typeface="Arial"/>
              </a:rPr>
              <a:t>Operational Analytics 301:  Detailed Design &amp; Development—Synthesis and Integration of ‘Components’</a:t>
            </a:r>
          </a:p>
        </p:txBody>
      </p:sp>
      <p:sp>
        <p:nvSpPr>
          <p:cNvPr id="3" name="Rectangle: Rounded Corners 2">
            <a:extLst>
              <a:ext uri="{FF2B5EF4-FFF2-40B4-BE49-F238E27FC236}">
                <a16:creationId xmlns:a16="http://schemas.microsoft.com/office/drawing/2014/main" id="{5CB5E778-EB37-08BC-8A65-E0A5BEF24F5F}"/>
              </a:ext>
            </a:extLst>
          </p:cNvPr>
          <p:cNvSpPr/>
          <p:nvPr/>
        </p:nvSpPr>
        <p:spPr>
          <a:xfrm>
            <a:off x="3629080" y="5967751"/>
            <a:ext cx="2543120" cy="463447"/>
          </a:xfrm>
          <a:prstGeom prst="roundRect">
            <a:avLst/>
          </a:prstGeom>
          <a:solidFill>
            <a:schemeClr val="accent6">
              <a:lumMod val="7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18 July 2023</a:t>
            </a:r>
          </a:p>
        </p:txBody>
      </p:sp>
      <p:sp>
        <p:nvSpPr>
          <p:cNvPr id="6" name="Rectangle 5">
            <a:extLst>
              <a:ext uri="{FF2B5EF4-FFF2-40B4-BE49-F238E27FC236}">
                <a16:creationId xmlns:a16="http://schemas.microsoft.com/office/drawing/2014/main" id="{C5018F96-B3E6-1C7C-503A-A6964F5B4827}"/>
              </a:ext>
            </a:extLst>
          </p:cNvPr>
          <p:cNvSpPr/>
          <p:nvPr/>
        </p:nvSpPr>
        <p:spPr>
          <a:xfrm>
            <a:off x="5972042" y="66798"/>
            <a:ext cx="3048000" cy="4886202"/>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solidFill>
                  <a:schemeClr val="accent6">
                    <a:lumMod val="60000"/>
                    <a:lumOff val="40000"/>
                  </a:schemeClr>
                </a:solidFill>
              </a:rPr>
              <a:t>Our Speaker today and our Sponsor:</a:t>
            </a:r>
          </a:p>
          <a:p>
            <a:pPr algn="ctr"/>
            <a:endParaRPr lang="en-US" sz="2000" b="1" dirty="0">
              <a:solidFill>
                <a:schemeClr val="bg1"/>
              </a:solidFill>
            </a:endParaRPr>
          </a:p>
          <a:p>
            <a:pPr algn="ctr"/>
            <a:r>
              <a:rPr lang="en-US" sz="2000" dirty="0"/>
              <a:t>D. Scott Sink, Ph.D., P.E.</a:t>
            </a:r>
          </a:p>
          <a:p>
            <a:pPr algn="ctr"/>
            <a:r>
              <a:rPr lang="en-US" sz="2000" dirty="0"/>
              <a:t>Senior Advisor</a:t>
            </a:r>
          </a:p>
          <a:p>
            <a:pPr algn="ctr"/>
            <a:r>
              <a:rPr lang="en-US" sz="2000" dirty="0"/>
              <a:t>The Poirier Group</a:t>
            </a:r>
          </a:p>
          <a:p>
            <a:pPr algn="ctr"/>
            <a:endParaRPr lang="en-US" sz="2000" dirty="0"/>
          </a:p>
          <a:p>
            <a:pPr algn="ctr"/>
            <a:endParaRPr lang="en-US" sz="2000" dirty="0"/>
          </a:p>
          <a:p>
            <a:pPr algn="ctr"/>
            <a:endParaRPr lang="en-US" sz="2000" dirty="0"/>
          </a:p>
          <a:p>
            <a:pPr algn="ctr"/>
            <a:endParaRPr lang="en-US" sz="2000" dirty="0"/>
          </a:p>
          <a:p>
            <a:pPr algn="ctr"/>
            <a:endParaRPr lang="en-US" sz="2000" dirty="0"/>
          </a:p>
          <a:p>
            <a:pPr algn="ctr"/>
            <a:endParaRPr lang="en-US" sz="2000" dirty="0"/>
          </a:p>
          <a:p>
            <a:pPr algn="ctr"/>
            <a:endParaRPr lang="en-US" sz="2000" dirty="0"/>
          </a:p>
        </p:txBody>
      </p:sp>
      <p:sp>
        <p:nvSpPr>
          <p:cNvPr id="16" name="Rectangle 15">
            <a:extLst>
              <a:ext uri="{FF2B5EF4-FFF2-40B4-BE49-F238E27FC236}">
                <a16:creationId xmlns:a16="http://schemas.microsoft.com/office/drawing/2014/main" id="{11CCDDD1-47EC-CB45-F196-95722069A30A}"/>
              </a:ext>
            </a:extLst>
          </p:cNvPr>
          <p:cNvSpPr/>
          <p:nvPr/>
        </p:nvSpPr>
        <p:spPr>
          <a:xfrm>
            <a:off x="76200" y="5094659"/>
            <a:ext cx="3124200" cy="17461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Text&#10;&#10;Description automatically generated">
            <a:extLst>
              <a:ext uri="{FF2B5EF4-FFF2-40B4-BE49-F238E27FC236}">
                <a16:creationId xmlns:a16="http://schemas.microsoft.com/office/drawing/2014/main" id="{3278AFBD-8904-291A-2A95-535DC0C61C7F}"/>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858000" y="5862339"/>
            <a:ext cx="2066748" cy="978505"/>
          </a:xfrm>
          <a:prstGeom prst="rect">
            <a:avLst/>
          </a:prstGeom>
        </p:spPr>
      </p:pic>
      <p:pic>
        <p:nvPicPr>
          <p:cNvPr id="8" name="Picture 7" descr="A picture containing text, outdoor, sign&#10;&#10;Description automatically generated">
            <a:extLst>
              <a:ext uri="{FF2B5EF4-FFF2-40B4-BE49-F238E27FC236}">
                <a16:creationId xmlns:a16="http://schemas.microsoft.com/office/drawing/2014/main" id="{25E45EB0-482D-D81E-8519-364A604371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332" y="5251479"/>
            <a:ext cx="3124200" cy="1171575"/>
          </a:xfrm>
          <a:prstGeom prst="rect">
            <a:avLst/>
          </a:prstGeom>
        </p:spPr>
      </p:pic>
      <p:sp>
        <p:nvSpPr>
          <p:cNvPr id="13" name="TextBox 12">
            <a:extLst>
              <a:ext uri="{FF2B5EF4-FFF2-40B4-BE49-F238E27FC236}">
                <a16:creationId xmlns:a16="http://schemas.microsoft.com/office/drawing/2014/main" id="{D541DAC8-5E3F-B4ED-FB9B-45E6479E107E}"/>
              </a:ext>
            </a:extLst>
          </p:cNvPr>
          <p:cNvSpPr txBox="1"/>
          <p:nvPr/>
        </p:nvSpPr>
        <p:spPr>
          <a:xfrm>
            <a:off x="6278951" y="2149779"/>
            <a:ext cx="2434181" cy="338554"/>
          </a:xfrm>
          <a:prstGeom prst="rect">
            <a:avLst/>
          </a:prstGeom>
          <a:noFill/>
        </p:spPr>
        <p:txBody>
          <a:bodyPr wrap="square" rtlCol="0">
            <a:spAutoFit/>
          </a:bodyPr>
          <a:lstStyle/>
          <a:p>
            <a:r>
              <a:rPr lang="en-US" sz="1600" dirty="0">
                <a:solidFill>
                  <a:srgbClr val="E47F00"/>
                </a:solidFill>
                <a:hlinkClick r:id="rId7">
                  <a:extLst>
                    <a:ext uri="{A12FA001-AC4F-418D-AE19-62706E023703}">
                      <ahyp:hlinkClr xmlns:ahyp="http://schemas.microsoft.com/office/drawing/2018/hyperlinkcolor" val="tx"/>
                    </a:ext>
                  </a:extLst>
                </a:hlinkClick>
              </a:rPr>
              <a:t>Scott Sink </a:t>
            </a:r>
            <a:r>
              <a:rPr lang="en-US" sz="1600" dirty="0" err="1">
                <a:solidFill>
                  <a:srgbClr val="E47F00"/>
                </a:solidFill>
                <a:hlinkClick r:id="rId7">
                  <a:extLst>
                    <a:ext uri="{A12FA001-AC4F-418D-AE19-62706E023703}">
                      <ahyp:hlinkClr xmlns:ahyp="http://schemas.microsoft.com/office/drawing/2018/hyperlinkcolor" val="tx"/>
                    </a:ext>
                  </a:extLst>
                </a:hlinkClick>
              </a:rPr>
              <a:t>Linkedin</a:t>
            </a:r>
            <a:r>
              <a:rPr lang="en-US" sz="1600" dirty="0">
                <a:solidFill>
                  <a:srgbClr val="E47F00"/>
                </a:solidFill>
                <a:hlinkClick r:id="rId7">
                  <a:extLst>
                    <a:ext uri="{A12FA001-AC4F-418D-AE19-62706E023703}">
                      <ahyp:hlinkClr xmlns:ahyp="http://schemas.microsoft.com/office/drawing/2018/hyperlinkcolor" val="tx"/>
                    </a:ext>
                  </a:extLst>
                </a:hlinkClick>
              </a:rPr>
              <a:t> page</a:t>
            </a:r>
            <a:endParaRPr lang="en-US" sz="1600" dirty="0">
              <a:solidFill>
                <a:srgbClr val="E47F00"/>
              </a:solidFill>
            </a:endParaRPr>
          </a:p>
        </p:txBody>
      </p:sp>
      <p:pic>
        <p:nvPicPr>
          <p:cNvPr id="9" name="Picture 8" descr="A picture containing text, font, graphics, screenshot&#10;&#10;Description automatically generated">
            <a:extLst>
              <a:ext uri="{FF2B5EF4-FFF2-40B4-BE49-F238E27FC236}">
                <a16:creationId xmlns:a16="http://schemas.microsoft.com/office/drawing/2014/main" id="{46755140-BD3E-5A69-9863-586A1EC8CAD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10154" y="3249774"/>
            <a:ext cx="2909888" cy="1161374"/>
          </a:xfrm>
          <a:prstGeom prst="rect">
            <a:avLst/>
          </a:prstGeom>
        </p:spPr>
      </p:pic>
    </p:spTree>
    <p:extLst>
      <p:ext uri="{BB962C8B-B14F-4D97-AF65-F5344CB8AC3E}">
        <p14:creationId xmlns:p14="http://schemas.microsoft.com/office/powerpoint/2010/main" val="3858186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3"/>
          <p:cNvSpPr txBox="1">
            <a:spLocks noChangeArrowheads="1"/>
          </p:cNvSpPr>
          <p:nvPr/>
        </p:nvSpPr>
        <p:spPr bwMode="auto">
          <a:xfrm>
            <a:off x="596106" y="3554413"/>
            <a:ext cx="2152650"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cs typeface="+mn-cs"/>
              </a:rPr>
              <a:t>Improve Positioning via..</a:t>
            </a: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2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r>
              <a:rPr lang="en-US" sz="1400" b="1" dirty="0">
                <a:solidFill>
                  <a:srgbClr val="000000"/>
                </a:solidFill>
                <a:cs typeface="+mn-cs"/>
              </a:rPr>
              <a:t>Geographic Coverage / Offerings Provided / Served Segments / Branding/ Imaging, etc.</a:t>
            </a:r>
            <a:endParaRPr lang="en-US" sz="1400" dirty="0">
              <a:solidFill>
                <a:srgbClr val="000000"/>
              </a:solidFill>
              <a:cs typeface="+mn-cs"/>
            </a:endParaRPr>
          </a:p>
        </p:txBody>
      </p:sp>
      <p:sp>
        <p:nvSpPr>
          <p:cNvPr id="31748" name="Text Box 4"/>
          <p:cNvSpPr txBox="1">
            <a:spLocks noChangeArrowheads="1"/>
          </p:cNvSpPr>
          <p:nvPr/>
        </p:nvSpPr>
        <p:spPr bwMode="auto">
          <a:xfrm>
            <a:off x="3585086" y="3461543"/>
            <a:ext cx="2743200"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rPr>
              <a:t>Managing the Exchange of Value</a:t>
            </a:r>
          </a:p>
          <a:p>
            <a:pPr algn="ctr" eaLnBrk="0" hangingPunct="0">
              <a:defRPr/>
            </a:pPr>
            <a:r>
              <a:rPr lang="en-US" sz="1400" b="1" dirty="0">
                <a:solidFill>
                  <a:srgbClr val="000000"/>
                </a:solidFill>
                <a:cs typeface="+mn-cs"/>
              </a:rPr>
              <a:t>With Stakeholders</a:t>
            </a:r>
            <a:endParaRPr lang="en-US" sz="12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r>
              <a:rPr lang="en-US" sz="1400" b="1" dirty="0">
                <a:solidFill>
                  <a:srgbClr val="000000"/>
                </a:solidFill>
              </a:rPr>
              <a:t>Altering the Give/Get, </a:t>
            </a:r>
          </a:p>
          <a:p>
            <a:pPr algn="ctr" eaLnBrk="0" hangingPunct="0">
              <a:defRPr/>
            </a:pPr>
            <a:r>
              <a:rPr lang="en-US" sz="1400" b="1" dirty="0">
                <a:solidFill>
                  <a:srgbClr val="000000"/>
                </a:solidFill>
                <a:cs typeface="+mn-cs"/>
              </a:rPr>
              <a:t>Responding to unmet and unfulfilled needs, QFD, Innovation, Rebalancing Segment</a:t>
            </a:r>
          </a:p>
          <a:p>
            <a:pPr algn="ctr" eaLnBrk="0" hangingPunct="0">
              <a:defRPr/>
            </a:pPr>
            <a:r>
              <a:rPr lang="en-US" sz="1400" b="1" dirty="0">
                <a:solidFill>
                  <a:srgbClr val="000000"/>
                </a:solidFill>
              </a:rPr>
              <a:t>Investment</a:t>
            </a:r>
            <a:endParaRPr lang="en-US" sz="1400" b="1" dirty="0">
              <a:solidFill>
                <a:srgbClr val="000000"/>
              </a:solidFill>
              <a:cs typeface="+mn-cs"/>
            </a:endParaRPr>
          </a:p>
        </p:txBody>
      </p:sp>
      <p:sp>
        <p:nvSpPr>
          <p:cNvPr id="31749" name="Text Box 5"/>
          <p:cNvSpPr txBox="1">
            <a:spLocks noChangeArrowheads="1"/>
          </p:cNvSpPr>
          <p:nvPr/>
        </p:nvSpPr>
        <p:spPr bwMode="auto">
          <a:xfrm>
            <a:off x="6434137" y="3489439"/>
            <a:ext cx="2657475"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cs typeface="+mn-cs"/>
              </a:rPr>
              <a:t>Improve Quality, Efficiency,</a:t>
            </a:r>
          </a:p>
          <a:p>
            <a:pPr algn="ctr" eaLnBrk="0" hangingPunct="0">
              <a:defRPr/>
            </a:pPr>
            <a:r>
              <a:rPr lang="en-US" sz="1400" b="1" dirty="0">
                <a:solidFill>
                  <a:srgbClr val="000000"/>
                </a:solidFill>
              </a:rPr>
              <a:t>Productivity, Innovation, Engagement, Quality of Work life, Sustainability</a:t>
            </a:r>
            <a:endParaRPr lang="en-US" sz="12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endParaRPr lang="en-US" sz="1400" dirty="0">
              <a:solidFill>
                <a:srgbClr val="000000"/>
              </a:solidFill>
              <a:cs typeface="+mn-cs"/>
            </a:endParaRPr>
          </a:p>
          <a:p>
            <a:pPr algn="ctr" eaLnBrk="0" hangingPunct="0">
              <a:defRPr/>
            </a:pPr>
            <a:r>
              <a:rPr lang="en-US" sz="1400" b="1" dirty="0">
                <a:solidFill>
                  <a:srgbClr val="000000"/>
                </a:solidFill>
                <a:cs typeface="+mn-cs"/>
              </a:rPr>
              <a:t>Apply principles and methods of ISE and ILSS</a:t>
            </a:r>
          </a:p>
        </p:txBody>
      </p:sp>
      <p:sp>
        <p:nvSpPr>
          <p:cNvPr id="31750" name="AutoShape 6"/>
          <p:cNvSpPr>
            <a:spLocks noChangeArrowheads="1"/>
          </p:cNvSpPr>
          <p:nvPr/>
        </p:nvSpPr>
        <p:spPr bwMode="auto">
          <a:xfrm>
            <a:off x="1390965" y="4106773"/>
            <a:ext cx="366712" cy="279400"/>
          </a:xfrm>
          <a:prstGeom prst="downArrow">
            <a:avLst>
              <a:gd name="adj1" fmla="val 44065"/>
              <a:gd name="adj2" fmla="val 45556"/>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1" name="AutoShape 7"/>
          <p:cNvSpPr>
            <a:spLocks noChangeArrowheads="1"/>
          </p:cNvSpPr>
          <p:nvPr/>
        </p:nvSpPr>
        <p:spPr bwMode="auto">
          <a:xfrm>
            <a:off x="4732337" y="4106233"/>
            <a:ext cx="368300" cy="279400"/>
          </a:xfrm>
          <a:prstGeom prst="downArrow">
            <a:avLst>
              <a:gd name="adj1" fmla="val 44065"/>
              <a:gd name="adj2" fmla="val 45556"/>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2" name="AutoShape 8"/>
          <p:cNvSpPr>
            <a:spLocks noChangeArrowheads="1"/>
          </p:cNvSpPr>
          <p:nvPr/>
        </p:nvSpPr>
        <p:spPr bwMode="auto">
          <a:xfrm>
            <a:off x="7558060" y="4546600"/>
            <a:ext cx="368300" cy="279400"/>
          </a:xfrm>
          <a:prstGeom prst="downArrow">
            <a:avLst>
              <a:gd name="adj1" fmla="val 44065"/>
              <a:gd name="adj2" fmla="val 45556"/>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93225" name="Rectangle 9"/>
          <p:cNvSpPr>
            <a:spLocks noGrp="1" noChangeArrowheads="1"/>
          </p:cNvSpPr>
          <p:nvPr>
            <p:ph type="title"/>
          </p:nvPr>
        </p:nvSpPr>
        <p:spPr>
          <a:xfrm>
            <a:off x="704850" y="41274"/>
            <a:ext cx="7886700" cy="1325563"/>
          </a:xfrm>
          <a:solidFill>
            <a:schemeClr val="bg1"/>
          </a:solidFill>
        </p:spPr>
        <p:txBody>
          <a:bodyPr>
            <a:normAutofit/>
          </a:bodyPr>
          <a:lstStyle/>
          <a:p>
            <a:pPr>
              <a:defRPr/>
            </a:pPr>
            <a:r>
              <a:rPr lang="en-US" sz="3600" dirty="0">
                <a:solidFill>
                  <a:schemeClr val="accent2">
                    <a:lumMod val="50000"/>
                  </a:schemeClr>
                </a:solidFill>
              </a:rPr>
              <a:t>END GAME:  Grow Enterprise Value</a:t>
            </a:r>
          </a:p>
        </p:txBody>
      </p:sp>
      <p:sp>
        <p:nvSpPr>
          <p:cNvPr id="31754" name="AutoShape 10"/>
          <p:cNvSpPr>
            <a:spLocks noChangeArrowheads="1"/>
          </p:cNvSpPr>
          <p:nvPr/>
        </p:nvSpPr>
        <p:spPr bwMode="auto">
          <a:xfrm>
            <a:off x="4378325" y="1908175"/>
            <a:ext cx="1444625" cy="1444625"/>
          </a:xfrm>
          <a:prstGeom prst="cube">
            <a:avLst>
              <a:gd name="adj" fmla="val 25000"/>
            </a:avLst>
          </a:prstGeom>
          <a:solidFill>
            <a:schemeClr val="bg1"/>
          </a:solidFill>
          <a:ln w="12700">
            <a:solidFill>
              <a:schemeClr val="tx1"/>
            </a:solidFill>
            <a:prstDash val="dash"/>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5" name="AutoShape 11"/>
          <p:cNvSpPr>
            <a:spLocks noChangeArrowheads="1"/>
          </p:cNvSpPr>
          <p:nvPr/>
        </p:nvSpPr>
        <p:spPr bwMode="auto">
          <a:xfrm>
            <a:off x="228600" y="2598738"/>
            <a:ext cx="757238" cy="757237"/>
          </a:xfrm>
          <a:prstGeom prst="cube">
            <a:avLst>
              <a:gd name="adj" fmla="val 25000"/>
            </a:avLst>
          </a:prstGeom>
          <a:solidFill>
            <a:schemeClr val="bg1"/>
          </a:solidFill>
          <a:ln w="12700">
            <a:solidFill>
              <a:schemeClr val="tx1"/>
            </a:solidFill>
            <a:prstDash val="dash"/>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6" name="AutoShape 12"/>
          <p:cNvSpPr>
            <a:spLocks noChangeArrowheads="1"/>
          </p:cNvSpPr>
          <p:nvPr/>
        </p:nvSpPr>
        <p:spPr bwMode="auto">
          <a:xfrm>
            <a:off x="1468438" y="1908175"/>
            <a:ext cx="1444625" cy="1444625"/>
          </a:xfrm>
          <a:prstGeom prst="cube">
            <a:avLst>
              <a:gd name="adj" fmla="val 25000"/>
            </a:avLst>
          </a:prstGeom>
          <a:solidFill>
            <a:schemeClr val="bg1"/>
          </a:solidFill>
          <a:ln w="12700">
            <a:solidFill>
              <a:schemeClr val="tx1"/>
            </a:solidFill>
            <a:prstDash val="dash"/>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7" name="AutoShape 13"/>
          <p:cNvSpPr>
            <a:spLocks noChangeArrowheads="1"/>
          </p:cNvSpPr>
          <p:nvPr/>
        </p:nvSpPr>
        <p:spPr bwMode="auto">
          <a:xfrm>
            <a:off x="3124200" y="2541588"/>
            <a:ext cx="488950" cy="485775"/>
          </a:xfrm>
          <a:prstGeom prst="plus">
            <a:avLst>
              <a:gd name="adj" fmla="val 41713"/>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8" name="AutoShape 14"/>
          <p:cNvSpPr>
            <a:spLocks noChangeArrowheads="1"/>
          </p:cNvSpPr>
          <p:nvPr/>
        </p:nvSpPr>
        <p:spPr bwMode="auto">
          <a:xfrm>
            <a:off x="6415088" y="2541588"/>
            <a:ext cx="488950" cy="485775"/>
          </a:xfrm>
          <a:prstGeom prst="plus">
            <a:avLst>
              <a:gd name="adj" fmla="val 41713"/>
            </a:avLst>
          </a:prstGeom>
          <a:solidFill>
            <a:schemeClr val="tx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59" name="Line 15"/>
          <p:cNvSpPr>
            <a:spLocks noChangeShapeType="1"/>
          </p:cNvSpPr>
          <p:nvPr/>
        </p:nvSpPr>
        <p:spPr bwMode="auto">
          <a:xfrm>
            <a:off x="1108075" y="2998788"/>
            <a:ext cx="257175" cy="0"/>
          </a:xfrm>
          <a:prstGeom prst="line">
            <a:avLst/>
          </a:prstGeom>
          <a:noFill/>
          <a:ln w="1270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sp>
        <p:nvSpPr>
          <p:cNvPr id="31760" name="Freeform 16"/>
          <p:cNvSpPr>
            <a:spLocks/>
          </p:cNvSpPr>
          <p:nvPr/>
        </p:nvSpPr>
        <p:spPr bwMode="auto">
          <a:xfrm>
            <a:off x="419100" y="2597150"/>
            <a:ext cx="571500" cy="56673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61" name="AutoShape 17"/>
          <p:cNvSpPr>
            <a:spLocks noChangeAspect="1" noChangeArrowheads="1"/>
          </p:cNvSpPr>
          <p:nvPr/>
        </p:nvSpPr>
        <p:spPr bwMode="auto">
          <a:xfrm>
            <a:off x="228600" y="2978150"/>
            <a:ext cx="374650" cy="374650"/>
          </a:xfrm>
          <a:prstGeom prst="cube">
            <a:avLst>
              <a:gd name="adj" fmla="val 25000"/>
            </a:avLst>
          </a:prstGeom>
          <a:solidFill>
            <a:schemeClr val="accent2"/>
          </a:solidFill>
          <a:ln w="12700">
            <a:solidFill>
              <a:schemeClr val="tx1"/>
            </a:solidFill>
            <a:miter lim="800000"/>
            <a:headEnd type="none" w="sm" len="sm"/>
            <a:tailEnd type="none" w="sm" len="sm"/>
          </a:ln>
        </p:spPr>
        <p:txBody>
          <a:bodyPr wrap="none" anchor="ctr"/>
          <a:lstStyle/>
          <a:p>
            <a:pPr algn="ctr" eaLnBrk="0" hangingPunct="0">
              <a:defRPr/>
            </a:pPr>
            <a:r>
              <a:rPr lang="en-US" sz="1000">
                <a:solidFill>
                  <a:srgbClr val="FFFFFF"/>
                </a:solidFill>
                <a:latin typeface="Times"/>
                <a:cs typeface="+mn-cs"/>
              </a:rPr>
              <a:t>1x</a:t>
            </a:r>
          </a:p>
        </p:txBody>
      </p:sp>
      <p:sp>
        <p:nvSpPr>
          <p:cNvPr id="31762" name="Freeform 18"/>
          <p:cNvSpPr>
            <a:spLocks/>
          </p:cNvSpPr>
          <p:nvPr/>
        </p:nvSpPr>
        <p:spPr bwMode="auto">
          <a:xfrm>
            <a:off x="1828800" y="1911350"/>
            <a:ext cx="1090613" cy="108108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63" name="Line 19"/>
          <p:cNvSpPr>
            <a:spLocks noChangeShapeType="1"/>
          </p:cNvSpPr>
          <p:nvPr/>
        </p:nvSpPr>
        <p:spPr bwMode="auto">
          <a:xfrm flipH="1">
            <a:off x="1516063" y="2998788"/>
            <a:ext cx="312737" cy="312737"/>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sp>
        <p:nvSpPr>
          <p:cNvPr id="31764" name="AutoShape 20"/>
          <p:cNvSpPr>
            <a:spLocks noChangeAspect="1" noChangeArrowheads="1"/>
          </p:cNvSpPr>
          <p:nvPr/>
        </p:nvSpPr>
        <p:spPr bwMode="auto">
          <a:xfrm>
            <a:off x="1465263" y="2755900"/>
            <a:ext cx="603250" cy="603250"/>
          </a:xfrm>
          <a:prstGeom prst="cube">
            <a:avLst>
              <a:gd name="adj" fmla="val 25000"/>
            </a:avLst>
          </a:prstGeom>
          <a:solidFill>
            <a:schemeClr val="accent2"/>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65" name="Freeform 21"/>
          <p:cNvSpPr>
            <a:spLocks/>
          </p:cNvSpPr>
          <p:nvPr/>
        </p:nvSpPr>
        <p:spPr bwMode="auto">
          <a:xfrm>
            <a:off x="4737100" y="1911350"/>
            <a:ext cx="1090613" cy="108108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66" name="AutoShape 22"/>
          <p:cNvSpPr>
            <a:spLocks noChangeArrowheads="1"/>
          </p:cNvSpPr>
          <p:nvPr/>
        </p:nvSpPr>
        <p:spPr bwMode="auto">
          <a:xfrm>
            <a:off x="4378325" y="2598738"/>
            <a:ext cx="757238" cy="757237"/>
          </a:xfrm>
          <a:prstGeom prst="cube">
            <a:avLst>
              <a:gd name="adj" fmla="val 25000"/>
            </a:avLst>
          </a:prstGeom>
          <a:solidFill>
            <a:srgbClr val="DDDDDD"/>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67" name="Line 23"/>
          <p:cNvSpPr>
            <a:spLocks noChangeShapeType="1"/>
          </p:cNvSpPr>
          <p:nvPr/>
        </p:nvSpPr>
        <p:spPr bwMode="auto">
          <a:xfrm flipV="1">
            <a:off x="4603750" y="2813050"/>
            <a:ext cx="323850" cy="322263"/>
          </a:xfrm>
          <a:prstGeom prst="line">
            <a:avLst/>
          </a:prstGeom>
          <a:noFill/>
          <a:ln w="19050">
            <a:solidFill>
              <a:schemeClr val="tx1"/>
            </a:solidFill>
            <a:round/>
            <a:headEnd type="none" w="sm" len="sm"/>
            <a:tailEnd type="triangle" w="med" len="med"/>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sp>
        <p:nvSpPr>
          <p:cNvPr id="31768" name="Freeform 24"/>
          <p:cNvSpPr>
            <a:spLocks/>
          </p:cNvSpPr>
          <p:nvPr/>
        </p:nvSpPr>
        <p:spPr bwMode="auto">
          <a:xfrm>
            <a:off x="4564063" y="2597150"/>
            <a:ext cx="571500" cy="56673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69" name="AutoShape 25"/>
          <p:cNvSpPr>
            <a:spLocks noChangeArrowheads="1"/>
          </p:cNvSpPr>
          <p:nvPr/>
        </p:nvSpPr>
        <p:spPr bwMode="auto">
          <a:xfrm>
            <a:off x="4378325" y="3116263"/>
            <a:ext cx="241300" cy="239712"/>
          </a:xfrm>
          <a:prstGeom prst="cube">
            <a:avLst>
              <a:gd name="adj" fmla="val 25000"/>
            </a:avLst>
          </a:prstGeom>
          <a:solidFill>
            <a:schemeClr val="accent2"/>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70" name="Text Box 26"/>
          <p:cNvSpPr txBox="1">
            <a:spLocks noChangeArrowheads="1"/>
          </p:cNvSpPr>
          <p:nvPr/>
        </p:nvSpPr>
        <p:spPr bwMode="auto">
          <a:xfrm>
            <a:off x="457200" y="1371600"/>
            <a:ext cx="23669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a:solidFill>
                  <a:srgbClr val="000000"/>
                </a:solidFill>
                <a:cs typeface="+mn-cs"/>
              </a:rPr>
              <a:t>POSITIONING STRATEGY</a:t>
            </a:r>
          </a:p>
        </p:txBody>
      </p:sp>
      <p:sp>
        <p:nvSpPr>
          <p:cNvPr id="31771" name="Text Box 27"/>
          <p:cNvSpPr txBox="1">
            <a:spLocks noChangeArrowheads="1"/>
          </p:cNvSpPr>
          <p:nvPr/>
        </p:nvSpPr>
        <p:spPr bwMode="auto">
          <a:xfrm>
            <a:off x="4099576" y="1295400"/>
            <a:ext cx="187512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cs typeface="+mn-cs"/>
              </a:rPr>
              <a:t>VALUE EXCHANGE</a:t>
            </a:r>
          </a:p>
          <a:p>
            <a:pPr algn="ctr" eaLnBrk="0" hangingPunct="0">
              <a:defRPr/>
            </a:pPr>
            <a:r>
              <a:rPr lang="en-US" sz="1400" b="1" dirty="0">
                <a:solidFill>
                  <a:srgbClr val="000000"/>
                </a:solidFill>
              </a:rPr>
              <a:t>OPTIMIZATION</a:t>
            </a:r>
            <a:endParaRPr lang="en-US" sz="1400" b="1" dirty="0">
              <a:solidFill>
                <a:srgbClr val="000000"/>
              </a:solidFill>
              <a:cs typeface="+mn-cs"/>
            </a:endParaRPr>
          </a:p>
        </p:txBody>
      </p:sp>
      <p:sp>
        <p:nvSpPr>
          <p:cNvPr id="31772" name="Text Box 28"/>
          <p:cNvSpPr txBox="1">
            <a:spLocks noChangeArrowheads="1"/>
          </p:cNvSpPr>
          <p:nvPr/>
        </p:nvSpPr>
        <p:spPr bwMode="auto">
          <a:xfrm>
            <a:off x="7206397" y="1371600"/>
            <a:ext cx="15098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400" b="1" dirty="0">
                <a:solidFill>
                  <a:srgbClr val="000000"/>
                </a:solidFill>
                <a:cs typeface="+mn-cs"/>
              </a:rPr>
              <a:t>OPERATIONAL</a:t>
            </a:r>
          </a:p>
          <a:p>
            <a:pPr algn="ctr" eaLnBrk="0" hangingPunct="0">
              <a:defRPr/>
            </a:pPr>
            <a:r>
              <a:rPr lang="en-US" sz="1400" b="1" dirty="0">
                <a:solidFill>
                  <a:srgbClr val="000000"/>
                </a:solidFill>
              </a:rPr>
              <a:t>EXCELLENCE</a:t>
            </a:r>
            <a:endParaRPr lang="en-US" sz="1400" b="1" dirty="0">
              <a:solidFill>
                <a:srgbClr val="000000"/>
              </a:solidFill>
              <a:cs typeface="+mn-cs"/>
            </a:endParaRPr>
          </a:p>
        </p:txBody>
      </p:sp>
      <p:sp>
        <p:nvSpPr>
          <p:cNvPr id="31773" name="AutoShape 29"/>
          <p:cNvSpPr>
            <a:spLocks noChangeArrowheads="1"/>
          </p:cNvSpPr>
          <p:nvPr/>
        </p:nvSpPr>
        <p:spPr bwMode="auto">
          <a:xfrm>
            <a:off x="7162800" y="1908175"/>
            <a:ext cx="1444625" cy="1444625"/>
          </a:xfrm>
          <a:prstGeom prst="cube">
            <a:avLst>
              <a:gd name="adj" fmla="val 25000"/>
            </a:avLst>
          </a:prstGeom>
          <a:solidFill>
            <a:schemeClr val="bg1"/>
          </a:solidFill>
          <a:ln w="12700">
            <a:solidFill>
              <a:schemeClr val="tx1"/>
            </a:solidFill>
            <a:prstDash val="dash"/>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74" name="Freeform 30"/>
          <p:cNvSpPr>
            <a:spLocks/>
          </p:cNvSpPr>
          <p:nvPr/>
        </p:nvSpPr>
        <p:spPr bwMode="auto">
          <a:xfrm>
            <a:off x="7526338" y="1908175"/>
            <a:ext cx="1090612" cy="1081088"/>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prstDash val="dash"/>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75" name="Text Box 31"/>
          <p:cNvSpPr txBox="1">
            <a:spLocks noChangeArrowheads="1"/>
          </p:cNvSpPr>
          <p:nvPr/>
        </p:nvSpPr>
        <p:spPr bwMode="auto">
          <a:xfrm>
            <a:off x="7839075" y="2360613"/>
            <a:ext cx="393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000" b="1">
                <a:solidFill>
                  <a:srgbClr val="000000"/>
                </a:solidFill>
                <a:cs typeface="+mn-cs"/>
              </a:rPr>
              <a:t>50x</a:t>
            </a:r>
          </a:p>
        </p:txBody>
      </p:sp>
      <p:sp>
        <p:nvSpPr>
          <p:cNvPr id="31776" name="AutoShape 32"/>
          <p:cNvSpPr>
            <a:spLocks noChangeAspect="1" noChangeArrowheads="1"/>
          </p:cNvSpPr>
          <p:nvPr/>
        </p:nvSpPr>
        <p:spPr bwMode="auto">
          <a:xfrm>
            <a:off x="7162800" y="2401888"/>
            <a:ext cx="950913" cy="950912"/>
          </a:xfrm>
          <a:prstGeom prst="cube">
            <a:avLst>
              <a:gd name="adj" fmla="val 32056"/>
            </a:avLst>
          </a:prstGeom>
          <a:solidFill>
            <a:schemeClr val="bg1"/>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77" name="AutoShape 33"/>
          <p:cNvSpPr>
            <a:spLocks noChangeAspect="1" noChangeArrowheads="1"/>
          </p:cNvSpPr>
          <p:nvPr/>
        </p:nvSpPr>
        <p:spPr bwMode="auto">
          <a:xfrm>
            <a:off x="7162800" y="2751138"/>
            <a:ext cx="603250" cy="603250"/>
          </a:xfrm>
          <a:prstGeom prst="cube">
            <a:avLst>
              <a:gd name="adj" fmla="val 25000"/>
            </a:avLst>
          </a:prstGeom>
          <a:solidFill>
            <a:srgbClr val="EAEAEA"/>
          </a:solidFill>
          <a:ln w="12700">
            <a:solidFill>
              <a:schemeClr val="tx1"/>
            </a:solidFill>
            <a:miter lim="800000"/>
            <a:headEnd type="none" w="sm" len="sm"/>
            <a:tailEnd type="none" w="sm" len="sm"/>
          </a:ln>
        </p:spPr>
        <p:txBody>
          <a:bodyPr wrap="none" anchor="ctr"/>
          <a:lstStyle/>
          <a:p>
            <a:pPr eaLnBrk="0" hangingPunct="0">
              <a:defRPr/>
            </a:pPr>
            <a:endParaRPr lang="en-US">
              <a:solidFill>
                <a:srgbClr val="000000"/>
              </a:solidFill>
              <a:latin typeface="Times"/>
              <a:cs typeface="+mn-cs"/>
            </a:endParaRPr>
          </a:p>
        </p:txBody>
      </p:sp>
      <p:sp>
        <p:nvSpPr>
          <p:cNvPr id="31778" name="Freeform 34"/>
          <p:cNvSpPr>
            <a:spLocks/>
          </p:cNvSpPr>
          <p:nvPr/>
        </p:nvSpPr>
        <p:spPr bwMode="auto">
          <a:xfrm>
            <a:off x="7315200" y="2760663"/>
            <a:ext cx="447675" cy="438150"/>
          </a:xfrm>
          <a:custGeom>
            <a:avLst/>
            <a:gdLst>
              <a:gd name="T0" fmla="*/ 0 w 384"/>
              <a:gd name="T1" fmla="*/ 0 h 336"/>
              <a:gd name="T2" fmla="*/ 0 w 384"/>
              <a:gd name="T3" fmla="*/ 2147483647 h 336"/>
              <a:gd name="T4" fmla="*/ 2147483647 w 384"/>
              <a:gd name="T5" fmla="*/ 2147483647 h 336"/>
              <a:gd name="T6" fmla="*/ 0 60000 65536"/>
              <a:gd name="T7" fmla="*/ 0 60000 65536"/>
              <a:gd name="T8" fmla="*/ 0 60000 65536"/>
              <a:gd name="T9" fmla="*/ 0 w 384"/>
              <a:gd name="T10" fmla="*/ 0 h 336"/>
              <a:gd name="T11" fmla="*/ 384 w 384"/>
              <a:gd name="T12" fmla="*/ 336 h 336"/>
            </a:gdLst>
            <a:ahLst/>
            <a:cxnLst>
              <a:cxn ang="T6">
                <a:pos x="T0" y="T1"/>
              </a:cxn>
              <a:cxn ang="T7">
                <a:pos x="T2" y="T3"/>
              </a:cxn>
              <a:cxn ang="T8">
                <a:pos x="T4" y="T5"/>
              </a:cxn>
            </a:cxnLst>
            <a:rect l="T9" t="T10" r="T11" b="T12"/>
            <a:pathLst>
              <a:path w="384" h="336">
                <a:moveTo>
                  <a:pt x="0" y="0"/>
                </a:moveTo>
                <a:lnTo>
                  <a:pt x="0" y="336"/>
                </a:lnTo>
                <a:lnTo>
                  <a:pt x="384" y="336"/>
                </a:lnTo>
              </a:path>
            </a:pathLst>
          </a:custGeom>
          <a:noFill/>
          <a:ln w="12700">
            <a:solidFill>
              <a:schemeClr val="tx1"/>
            </a:solidFill>
            <a:prstDash val="dash"/>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eaLnBrk="0" hangingPunct="0">
              <a:defRPr/>
            </a:pPr>
            <a:endParaRPr lang="en-US">
              <a:solidFill>
                <a:srgbClr val="000000"/>
              </a:solidFill>
              <a:latin typeface="Times"/>
              <a:cs typeface="+mn-cs"/>
            </a:endParaRPr>
          </a:p>
        </p:txBody>
      </p:sp>
      <p:sp>
        <p:nvSpPr>
          <p:cNvPr id="31779" name="Line 35"/>
          <p:cNvSpPr>
            <a:spLocks noChangeShapeType="1"/>
          </p:cNvSpPr>
          <p:nvPr/>
        </p:nvSpPr>
        <p:spPr bwMode="auto">
          <a:xfrm flipH="1">
            <a:off x="7162800" y="3189288"/>
            <a:ext cx="161925" cy="161925"/>
          </a:xfrm>
          <a:prstGeom prst="line">
            <a:avLst/>
          </a:prstGeom>
          <a:noFill/>
          <a:ln w="12700">
            <a:solidFill>
              <a:schemeClr val="tx1"/>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grpSp>
        <p:nvGrpSpPr>
          <p:cNvPr id="70692" name="Group 36"/>
          <p:cNvGrpSpPr>
            <a:grpSpLocks/>
          </p:cNvGrpSpPr>
          <p:nvPr/>
        </p:nvGrpSpPr>
        <p:grpSpPr bwMode="auto">
          <a:xfrm>
            <a:off x="7162800" y="2708275"/>
            <a:ext cx="652463" cy="649288"/>
            <a:chOff x="4512" y="1656"/>
            <a:chExt cx="411" cy="409"/>
          </a:xfrm>
        </p:grpSpPr>
        <p:sp>
          <p:nvSpPr>
            <p:cNvPr id="31783" name="Line 37"/>
            <p:cNvSpPr>
              <a:spLocks noChangeShapeType="1"/>
            </p:cNvSpPr>
            <p:nvPr/>
          </p:nvSpPr>
          <p:spPr bwMode="auto">
            <a:xfrm>
              <a:off x="4512" y="1656"/>
              <a:ext cx="411"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sp>
          <p:nvSpPr>
            <p:cNvPr id="31784" name="Line 38"/>
            <p:cNvSpPr>
              <a:spLocks noChangeShapeType="1"/>
            </p:cNvSpPr>
            <p:nvPr/>
          </p:nvSpPr>
          <p:spPr bwMode="auto">
            <a:xfrm flipV="1">
              <a:off x="4920" y="1656"/>
              <a:ext cx="0" cy="409"/>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hangingPunct="0">
                <a:defRPr/>
              </a:pPr>
              <a:endParaRPr lang="en-US">
                <a:solidFill>
                  <a:srgbClr val="000000"/>
                </a:solidFill>
                <a:latin typeface="Times"/>
                <a:cs typeface="+mn-cs"/>
              </a:endParaRPr>
            </a:p>
          </p:txBody>
        </p:sp>
      </p:grpSp>
      <p:sp>
        <p:nvSpPr>
          <p:cNvPr id="31781" name="Text Box 39"/>
          <p:cNvSpPr txBox="1">
            <a:spLocks noChangeArrowheads="1"/>
          </p:cNvSpPr>
          <p:nvPr/>
        </p:nvSpPr>
        <p:spPr bwMode="auto">
          <a:xfrm>
            <a:off x="444500" y="2760663"/>
            <a:ext cx="393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000" b="1">
                <a:solidFill>
                  <a:srgbClr val="000000"/>
                </a:solidFill>
                <a:cs typeface="+mn-cs"/>
              </a:rPr>
              <a:t>10x</a:t>
            </a:r>
          </a:p>
        </p:txBody>
      </p:sp>
      <p:sp>
        <p:nvSpPr>
          <p:cNvPr id="31782" name="Text Box 40"/>
          <p:cNvSpPr txBox="1">
            <a:spLocks noChangeArrowheads="1"/>
          </p:cNvSpPr>
          <p:nvPr/>
        </p:nvSpPr>
        <p:spPr bwMode="auto">
          <a:xfrm>
            <a:off x="2112963" y="2265363"/>
            <a:ext cx="43656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0" hangingPunct="0">
              <a:defRPr/>
            </a:pPr>
            <a:r>
              <a:rPr lang="en-US" sz="1200" b="1">
                <a:solidFill>
                  <a:srgbClr val="000000"/>
                </a:solidFill>
                <a:cs typeface="+mn-cs"/>
              </a:rPr>
              <a:t>25x</a:t>
            </a:r>
          </a:p>
        </p:txBody>
      </p:sp>
      <p:sp>
        <p:nvSpPr>
          <p:cNvPr id="2" name="Rectangle 9">
            <a:extLst>
              <a:ext uri="{FF2B5EF4-FFF2-40B4-BE49-F238E27FC236}">
                <a16:creationId xmlns:a16="http://schemas.microsoft.com/office/drawing/2014/main" id="{8FD6A44B-B8E9-D747-2AAB-3F5EE35A92C8}"/>
              </a:ext>
            </a:extLst>
          </p:cNvPr>
          <p:cNvSpPr txBox="1">
            <a:spLocks noChangeArrowheads="1"/>
          </p:cNvSpPr>
          <p:nvPr/>
        </p:nvSpPr>
        <p:spPr>
          <a:xfrm>
            <a:off x="4267200" y="5983311"/>
            <a:ext cx="4606926" cy="819099"/>
          </a:xfrm>
          <a:prstGeom prst="rect">
            <a:avLst/>
          </a:prstGeom>
          <a:solidFill>
            <a:schemeClr val="bg1"/>
          </a:solidFill>
        </p:spPr>
        <p:txBody>
          <a:bodyPr vert="horz" lIns="91440" tIns="45720" rIns="91440" bIns="45720" rtlCol="0" anchor="ctr">
            <a:normAutofit/>
          </a:bodyPr>
          <a:lstStyle>
            <a:lvl1pPr algn="l" defTabSz="914354" rtl="0" eaLnBrk="1" latinLnBrk="0" hangingPunct="1">
              <a:lnSpc>
                <a:spcPct val="90000"/>
              </a:lnSpc>
              <a:spcBef>
                <a:spcPct val="0"/>
              </a:spcBef>
              <a:buNone/>
              <a:defRPr sz="3200" kern="1200">
                <a:solidFill>
                  <a:srgbClr val="2A83B4"/>
                </a:solidFill>
                <a:latin typeface="Open Sans" panose="020B0606030504020204" pitchFamily="34" charset="0"/>
                <a:ea typeface="Open Sans" panose="020B0606030504020204" pitchFamily="34" charset="0"/>
                <a:cs typeface="Open Sans" panose="020B0606030504020204" pitchFamily="34" charset="0"/>
              </a:defRPr>
            </a:lvl1pPr>
          </a:lstStyle>
          <a:p>
            <a:pPr fontAlgn="auto">
              <a:spcAft>
                <a:spcPts val="0"/>
              </a:spcAft>
              <a:defRPr/>
            </a:pPr>
            <a:r>
              <a:rPr lang="en-US" sz="2000" b="1" dirty="0">
                <a:solidFill>
                  <a:srgbClr val="C00000"/>
                </a:solidFill>
              </a:rPr>
              <a:t>The Domain of ISE and Operational Analytics is very broad today</a:t>
            </a:r>
          </a:p>
        </p:txBody>
      </p:sp>
    </p:spTree>
    <p:extLst>
      <p:ext uri="{BB962C8B-B14F-4D97-AF65-F5344CB8AC3E}">
        <p14:creationId xmlns:p14="http://schemas.microsoft.com/office/powerpoint/2010/main" val="168855384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A3F73-7249-A677-A57D-1424DFBBB0DE}"/>
              </a:ext>
            </a:extLst>
          </p:cNvPr>
          <p:cNvSpPr>
            <a:spLocks noGrp="1"/>
          </p:cNvSpPr>
          <p:nvPr>
            <p:ph type="title"/>
          </p:nvPr>
        </p:nvSpPr>
        <p:spPr>
          <a:xfrm>
            <a:off x="304800" y="76200"/>
            <a:ext cx="6477000" cy="685800"/>
          </a:xfrm>
        </p:spPr>
        <p:txBody>
          <a:bodyPr/>
          <a:lstStyle/>
          <a:p>
            <a:r>
              <a:rPr lang="en-US" dirty="0"/>
              <a:t>Building Management Systems to Optimize “B”</a:t>
            </a:r>
          </a:p>
        </p:txBody>
      </p:sp>
      <p:sp>
        <p:nvSpPr>
          <p:cNvPr id="3" name="Content Placeholder 2">
            <a:extLst>
              <a:ext uri="{FF2B5EF4-FFF2-40B4-BE49-F238E27FC236}">
                <a16:creationId xmlns:a16="http://schemas.microsoft.com/office/drawing/2014/main" id="{FAC94D57-6BE1-671D-4CF2-9C99133F4591}"/>
              </a:ext>
            </a:extLst>
          </p:cNvPr>
          <p:cNvSpPr>
            <a:spLocks noGrp="1"/>
          </p:cNvSpPr>
          <p:nvPr>
            <p:ph idx="1"/>
          </p:nvPr>
        </p:nvSpPr>
        <p:spPr>
          <a:xfrm>
            <a:off x="152400" y="1447800"/>
            <a:ext cx="2590800" cy="4525963"/>
          </a:xfrm>
        </p:spPr>
        <p:txBody>
          <a:bodyPr/>
          <a:lstStyle/>
          <a:p>
            <a:pPr marL="0" indent="0">
              <a:buNone/>
            </a:pPr>
            <a:r>
              <a:rPr lang="en-US" dirty="0"/>
              <a:t>A—”Administer”, perform the role, run the process as designed, </a:t>
            </a:r>
            <a:r>
              <a:rPr lang="en-US" dirty="0" err="1"/>
              <a:t>etc</a:t>
            </a:r>
            <a:r>
              <a:rPr lang="en-US" dirty="0"/>
              <a:t>….</a:t>
            </a:r>
          </a:p>
          <a:p>
            <a:pPr marL="0" indent="0">
              <a:buNone/>
            </a:pPr>
            <a:endParaRPr lang="en-US" dirty="0"/>
          </a:p>
          <a:p>
            <a:pPr marL="0" indent="0">
              <a:buNone/>
            </a:pPr>
            <a:r>
              <a:rPr lang="en-US" dirty="0"/>
              <a:t>C—’Cater’ to crises (fight fires).  </a:t>
            </a:r>
          </a:p>
          <a:p>
            <a:pPr marL="0" indent="0">
              <a:buNone/>
            </a:pPr>
            <a:endParaRPr lang="en-US" dirty="0"/>
          </a:p>
          <a:p>
            <a:pPr marL="0" indent="0">
              <a:buNone/>
            </a:pPr>
            <a:r>
              <a:rPr lang="en-US" dirty="0"/>
              <a:t>D—’Do’ the Dumb (non-value add, waste, …)</a:t>
            </a:r>
          </a:p>
          <a:p>
            <a:pPr marL="0" indent="0">
              <a:buNone/>
            </a:pPr>
            <a:endParaRPr lang="en-US" dirty="0"/>
          </a:p>
          <a:p>
            <a:pPr marL="0" indent="0">
              <a:buNone/>
            </a:pPr>
            <a:r>
              <a:rPr lang="en-US" dirty="0"/>
              <a:t>B—”Build” the business, BPI, PDSA, etc.  </a:t>
            </a:r>
          </a:p>
        </p:txBody>
      </p:sp>
      <p:sp>
        <p:nvSpPr>
          <p:cNvPr id="4" name="Rectangle: Rounded Corners 3">
            <a:extLst>
              <a:ext uri="{FF2B5EF4-FFF2-40B4-BE49-F238E27FC236}">
                <a16:creationId xmlns:a16="http://schemas.microsoft.com/office/drawing/2014/main" id="{01DFF16F-05A6-29EC-E909-BBDC441EB493}"/>
              </a:ext>
            </a:extLst>
          </p:cNvPr>
          <p:cNvSpPr/>
          <p:nvPr/>
        </p:nvSpPr>
        <p:spPr bwMode="auto">
          <a:xfrm>
            <a:off x="2718758" y="1371600"/>
            <a:ext cx="2362200" cy="4953000"/>
          </a:xfrm>
          <a:prstGeom prst="round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lang="en-US" dirty="0">
                <a:solidFill>
                  <a:schemeClr val="bg1"/>
                </a:solidFill>
                <a:latin typeface="Arial" charset="0"/>
                <a:ea typeface="ＭＳ Ｐゴシック" pitchFamily="1" charset="-128"/>
              </a:rPr>
              <a:t>Common Current State</a:t>
            </a:r>
          </a:p>
          <a:p>
            <a:pPr marR="0" algn="ctr" defTabSz="914400" rtl="0" eaLnBrk="0" fontAlgn="base" latinLnBrk="0" hangingPunct="0">
              <a:lnSpc>
                <a:spcPct val="100000"/>
              </a:lnSpc>
              <a:spcBef>
                <a:spcPct val="0"/>
              </a:spcBef>
              <a:spcAft>
                <a:spcPct val="0"/>
              </a:spcAft>
              <a:buClrTx/>
              <a:buSzTx/>
              <a:tabLst/>
            </a:pPr>
            <a:endParaRPr kumimoji="0" lang="en-US" sz="1300" b="0" i="0" u="none" strike="noStrike" cap="none" normalizeH="0" baseline="0" dirty="0">
              <a:ln>
                <a:noFill/>
              </a:ln>
              <a:solidFill>
                <a:schemeClr val="bg1"/>
              </a:solidFill>
              <a:effectLst/>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300" b="0" i="0" u="none" strike="noStrike" cap="none" normalizeH="0" baseline="0" dirty="0">
                <a:ln>
                  <a:noFill/>
                </a:ln>
                <a:solidFill>
                  <a:schemeClr val="bg1"/>
                </a:solidFill>
                <a:effectLst/>
                <a:latin typeface="Arial" charset="0"/>
                <a:ea typeface="ＭＳ Ｐゴシック" pitchFamily="1" charset="-128"/>
              </a:rPr>
              <a:t>‘B’ gets squeezed out by ‘C’ and ‘D’</a:t>
            </a: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dirty="0">
              <a:solidFill>
                <a:schemeClr val="bg1"/>
              </a:solidFill>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300" b="0" i="0" u="none" strike="noStrike" cap="none" normalizeH="0" baseline="0" dirty="0">
                <a:ln>
                  <a:noFill/>
                </a:ln>
                <a:solidFill>
                  <a:schemeClr val="bg1"/>
                </a:solidFill>
                <a:effectLst/>
                <a:latin typeface="Arial" charset="0"/>
                <a:ea typeface="ＭＳ Ｐゴシック" pitchFamily="1" charset="-128"/>
              </a:rPr>
              <a:t>Low maturity, capability, competence to do systematic ‘B’</a:t>
            </a: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dirty="0">
              <a:solidFill>
                <a:schemeClr val="bg1"/>
              </a:solidFill>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300" b="0" i="0" u="none" strike="noStrike" cap="none" normalizeH="0" baseline="0" dirty="0">
                <a:ln>
                  <a:noFill/>
                </a:ln>
                <a:solidFill>
                  <a:schemeClr val="bg1"/>
                </a:solidFill>
                <a:effectLst/>
                <a:latin typeface="Arial" charset="0"/>
                <a:ea typeface="ＭＳ Ｐゴシック" pitchFamily="1" charset="-128"/>
              </a:rPr>
              <a:t> ‘A’ teetering on the brink, high variation in process capabilities</a:t>
            </a: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dirty="0">
              <a:solidFill>
                <a:schemeClr val="bg1"/>
              </a:solidFill>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dirty="0">
                <a:solidFill>
                  <a:schemeClr val="bg1"/>
                </a:solidFill>
                <a:latin typeface="Arial" charset="0"/>
                <a:ea typeface="ＭＳ Ｐゴシック" pitchFamily="1" charset="-128"/>
              </a:rPr>
              <a:t>‘B’ portfolio not rationalized, ad hoc and hence impact sub optimized</a:t>
            </a: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300" b="0" i="0" u="none" strike="noStrike" cap="none" normalizeH="0" baseline="0" dirty="0">
              <a:ln>
                <a:noFill/>
              </a:ln>
              <a:solidFill>
                <a:schemeClr val="bg1"/>
              </a:solidFill>
              <a:effectLst/>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300" b="0" i="0" u="none" strike="noStrike" cap="none" normalizeH="0" baseline="0" dirty="0">
              <a:ln>
                <a:noFill/>
              </a:ln>
              <a:solidFill>
                <a:schemeClr val="bg1"/>
              </a:solidFill>
              <a:effectLst/>
              <a:latin typeface="Arial" charset="0"/>
              <a:ea typeface="ＭＳ Ｐゴシック" pitchFamily="1" charset="-128"/>
            </a:endParaRPr>
          </a:p>
        </p:txBody>
      </p:sp>
      <p:sp>
        <p:nvSpPr>
          <p:cNvPr id="5" name="Rectangle: Rounded Corners 4">
            <a:extLst>
              <a:ext uri="{FF2B5EF4-FFF2-40B4-BE49-F238E27FC236}">
                <a16:creationId xmlns:a16="http://schemas.microsoft.com/office/drawing/2014/main" id="{82CFE74B-4BCA-C76C-7053-884B610BB681}"/>
              </a:ext>
            </a:extLst>
          </p:cNvPr>
          <p:cNvSpPr/>
          <p:nvPr/>
        </p:nvSpPr>
        <p:spPr bwMode="auto">
          <a:xfrm>
            <a:off x="6627962" y="1371600"/>
            <a:ext cx="2362200" cy="4953000"/>
          </a:xfrm>
          <a:prstGeom prst="round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lang="en-US" dirty="0">
                <a:solidFill>
                  <a:schemeClr val="bg1"/>
                </a:solidFill>
                <a:latin typeface="Arial" charset="0"/>
                <a:ea typeface="ＭＳ Ｐゴシック" pitchFamily="1" charset="-128"/>
              </a:rPr>
              <a:t>Desired State</a:t>
            </a:r>
          </a:p>
          <a:p>
            <a:pPr marR="0" algn="ctr" defTabSz="914400" rtl="0" eaLnBrk="0" fontAlgn="base" latinLnBrk="0" hangingPunct="0">
              <a:lnSpc>
                <a:spcPct val="100000"/>
              </a:lnSpc>
              <a:spcBef>
                <a:spcPct val="0"/>
              </a:spcBef>
              <a:spcAft>
                <a:spcPct val="0"/>
              </a:spcAft>
              <a:buClrTx/>
              <a:buSzTx/>
              <a:tabLst/>
            </a:pPr>
            <a:endParaRPr kumimoji="0" lang="en-US" sz="1300" b="0" i="0" u="none" strike="noStrike" cap="none" normalizeH="0" baseline="0" dirty="0">
              <a:ln>
                <a:noFill/>
              </a:ln>
              <a:solidFill>
                <a:schemeClr val="bg1"/>
              </a:solidFill>
              <a:effectLst/>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300" b="0" i="0" u="none" strike="noStrike" cap="none" normalizeH="0" baseline="0" dirty="0">
                <a:ln>
                  <a:noFill/>
                </a:ln>
                <a:solidFill>
                  <a:schemeClr val="bg1"/>
                </a:solidFill>
                <a:effectLst/>
                <a:latin typeface="Arial" charset="0"/>
                <a:ea typeface="ＭＳ Ｐゴシック" pitchFamily="1" charset="-128"/>
              </a:rPr>
              <a:t>‘B’ is driving ‘C’ and ‘D’ out of business, systematically over time</a:t>
            </a: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dirty="0">
              <a:solidFill>
                <a:schemeClr val="bg1"/>
              </a:solidFill>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300" b="0" i="0" u="none" strike="noStrike" cap="none" normalizeH="0" baseline="0" dirty="0">
                <a:ln>
                  <a:noFill/>
                </a:ln>
                <a:solidFill>
                  <a:schemeClr val="bg1"/>
                </a:solidFill>
                <a:effectLst/>
                <a:latin typeface="Arial" charset="0"/>
                <a:ea typeface="ＭＳ Ｐゴシック" pitchFamily="1" charset="-128"/>
              </a:rPr>
              <a:t>A Great BPI ‘function’, Op Ex best in class</a:t>
            </a: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dirty="0">
              <a:solidFill>
                <a:schemeClr val="bg1"/>
              </a:solidFill>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300" b="0" i="0" u="none" strike="noStrike" cap="none" normalizeH="0" baseline="0" dirty="0">
                <a:ln>
                  <a:noFill/>
                </a:ln>
                <a:solidFill>
                  <a:schemeClr val="bg1"/>
                </a:solidFill>
                <a:effectLst/>
                <a:latin typeface="Arial" charset="0"/>
                <a:ea typeface="ＭＳ Ｐゴシック" pitchFamily="1" charset="-128"/>
              </a:rPr>
              <a:t> ‘A’ process capability improving dramatically due to better and faster ‘B’</a:t>
            </a: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dirty="0">
              <a:solidFill>
                <a:schemeClr val="bg1"/>
              </a:solidFill>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dirty="0">
                <a:solidFill>
                  <a:schemeClr val="bg1"/>
                </a:solidFill>
                <a:latin typeface="Arial" charset="0"/>
                <a:ea typeface="ＭＳ Ｐゴシック" pitchFamily="1" charset="-128"/>
              </a:rPr>
              <a:t>The ‘B’ portfolio is aligned to Enterprise Strategy top to bottom and front to back.</a:t>
            </a: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300" b="0" i="0" u="none" strike="noStrike" cap="none" normalizeH="0" baseline="0" dirty="0">
              <a:ln>
                <a:noFill/>
              </a:ln>
              <a:solidFill>
                <a:schemeClr val="bg1"/>
              </a:solidFill>
              <a:effectLst/>
              <a:latin typeface="Arial" charset="0"/>
              <a:ea typeface="ＭＳ Ｐゴシック" pitchFamily="1" charset="-128"/>
            </a:endParaRPr>
          </a:p>
          <a:p>
            <a:pPr marL="285750" marR="0" indent="-2857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300" b="0" i="0" u="none" strike="noStrike" cap="none" normalizeH="0" baseline="0" dirty="0">
              <a:ln>
                <a:noFill/>
              </a:ln>
              <a:solidFill>
                <a:schemeClr val="bg1"/>
              </a:solidFill>
              <a:effectLst/>
              <a:latin typeface="Arial" charset="0"/>
              <a:ea typeface="ＭＳ Ｐゴシック" pitchFamily="1" charset="-128"/>
            </a:endParaRPr>
          </a:p>
        </p:txBody>
      </p:sp>
      <p:sp>
        <p:nvSpPr>
          <p:cNvPr id="6" name="Arrow: Right 5">
            <a:extLst>
              <a:ext uri="{FF2B5EF4-FFF2-40B4-BE49-F238E27FC236}">
                <a16:creationId xmlns:a16="http://schemas.microsoft.com/office/drawing/2014/main" id="{666E7CDA-A4AA-9FCA-079E-3FFC0C47C970}"/>
              </a:ext>
            </a:extLst>
          </p:cNvPr>
          <p:cNvSpPr/>
          <p:nvPr/>
        </p:nvSpPr>
        <p:spPr bwMode="auto">
          <a:xfrm>
            <a:off x="4953000" y="2137171"/>
            <a:ext cx="1828800" cy="3147219"/>
          </a:xfrm>
          <a:prstGeom prst="rightArrow">
            <a:avLst/>
          </a:prstGeom>
          <a:solidFill>
            <a:srgbClr val="E47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dirty="0">
                <a:solidFill>
                  <a:schemeClr val="bg1"/>
                </a:solidFill>
                <a:latin typeface="Arial" charset="0"/>
                <a:ea typeface="ＭＳ Ｐゴシック" pitchFamily="1" charset="-128"/>
              </a:rPr>
              <a:t>Mgmt. Systems Eng. &amp; Op Analytics to Build Better ‘B’</a:t>
            </a:r>
            <a:endParaRPr kumimoji="0" lang="en-US" sz="1600" b="0" i="0" u="none" strike="noStrike" cap="none" normalizeH="0" baseline="0" dirty="0">
              <a:ln>
                <a:noFill/>
              </a:ln>
              <a:solidFill>
                <a:schemeClr val="bg1"/>
              </a:solidFill>
              <a:effectLst/>
              <a:latin typeface="Arial" charset="0"/>
              <a:ea typeface="ＭＳ Ｐゴシック" pitchFamily="1" charset="-128"/>
            </a:endParaRPr>
          </a:p>
        </p:txBody>
      </p:sp>
    </p:spTree>
    <p:extLst>
      <p:ext uri="{BB962C8B-B14F-4D97-AF65-F5344CB8AC3E}">
        <p14:creationId xmlns:p14="http://schemas.microsoft.com/office/powerpoint/2010/main" val="2489217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534400" cy="1143000"/>
          </a:xfrm>
          <a:solidFill>
            <a:schemeClr val="accent5">
              <a:lumMod val="50000"/>
            </a:schemeClr>
          </a:solidFill>
          <a:ln>
            <a:solidFill>
              <a:schemeClr val="accent5">
                <a:lumMod val="50000"/>
              </a:schemeClr>
            </a:solidFill>
          </a:ln>
        </p:spPr>
        <p:txBody>
          <a:bodyPr>
            <a:noAutofit/>
          </a:bodyPr>
          <a:lstStyle/>
          <a:p>
            <a:pPr algn="l"/>
            <a:r>
              <a:rPr lang="en-US" sz="3200" dirty="0">
                <a:solidFill>
                  <a:schemeClr val="bg1"/>
                </a:solidFill>
              </a:rPr>
              <a:t>Context – The Purpose of Operational Analytics</a:t>
            </a:r>
          </a:p>
        </p:txBody>
      </p:sp>
      <p:sp>
        <p:nvSpPr>
          <p:cNvPr id="6" name="Content Placeholder 5"/>
          <p:cNvSpPr>
            <a:spLocks noGrp="1"/>
          </p:cNvSpPr>
          <p:nvPr>
            <p:ph idx="1"/>
          </p:nvPr>
        </p:nvSpPr>
        <p:spPr>
          <a:xfrm>
            <a:off x="457200" y="1417638"/>
            <a:ext cx="8229600" cy="4724399"/>
          </a:xfrm>
          <a:ln>
            <a:solidFill>
              <a:schemeClr val="bg1">
                <a:lumMod val="95000"/>
              </a:schemeClr>
            </a:solidFill>
          </a:ln>
        </p:spPr>
        <p:txBody>
          <a:bodyPr>
            <a:noAutofit/>
          </a:bodyPr>
          <a:lstStyle/>
          <a:p>
            <a:pPr algn="ctr">
              <a:buNone/>
            </a:pPr>
            <a:endParaRPr lang="en-US" sz="1600" dirty="0"/>
          </a:p>
          <a:p>
            <a:pPr algn="ctr">
              <a:buNone/>
            </a:pPr>
            <a:r>
              <a:rPr lang="en-US" dirty="0"/>
              <a:t>Facilitate &amp; Enable the creation of ‘solutions’ that catalyze and enable better decisions faster </a:t>
            </a:r>
          </a:p>
          <a:p>
            <a:pPr algn="ctr">
              <a:buNone/>
            </a:pPr>
            <a:r>
              <a:rPr lang="en-US" dirty="0"/>
              <a:t>and then drive actions, improvement implementation, faster </a:t>
            </a:r>
          </a:p>
          <a:p>
            <a:pPr algn="ctr">
              <a:buNone/>
            </a:pPr>
            <a:r>
              <a:rPr lang="en-US" dirty="0"/>
              <a:t>and then drive benefits realization faster (desired and positive outcomes) </a:t>
            </a:r>
          </a:p>
          <a:p>
            <a:pPr algn="ctr">
              <a:buNone/>
            </a:pPr>
            <a:r>
              <a:rPr lang="en-US" dirty="0"/>
              <a:t>and then grow Enterprise Value (system, process, business value creation).</a:t>
            </a:r>
          </a:p>
        </p:txBody>
      </p:sp>
      <p:sp>
        <p:nvSpPr>
          <p:cNvPr id="1026" name="AutoShape 2" descr="data:image/jpeg;base64,/9j/4AAQSkZJRgABAQAAAQABAAD/2wCEAAkGBwgHBgkIBwgKCgkLDRYPDQwMDRsUFRAWIB0iIiAdHx8kKDQsJCYxJx8fLT0tMTU3Ojo6Iys/RD84QzQ5OjcBCgoKDQwNGg8PGjclHyU3Nzc3Nzc3Nzc3Nzc3Nzc3Nzc3Nzc3Nzc3Nzc3Nzc3Nzc3Nzc3Nzc3Nzc3Nzc3Nzc3N//AABEIAKAAoAMBIgACEQEDEQH/xAAbAAACAwEBAQAAAAAAAAAAAAAABAIDBQYBB//EAEoQAAIBAwMBBAUIBgcFCQEAAAECAwAEEQUSITETIkFRBmFxcrEUFTIzNIGRoUJWYoKU0RYjUlWSweElNnTi8CZFRlNjssLx8hf/xAAaAQEAAwEBAQAAAAAAAAAAAAAAAQIDBAYF/8QAKxEAAgECBAUCBwEAAAAAAAAAAAECAxESITFRBBNBkaEUUgUyM2Fx0fAj/9oADAMBAAIRAxEAPwD7jRRRQBRRRQBRXmaCcDNAe0VmHVG7OKUwBYpfoEvyRxgnjjrXsGqLNeRwLGwEsQkQngkZPP5D8aA0TRkVmW2rxzNErQyIznHUHbknGf8ACazl1OSe3ske7EXayuk8qlcrgnA56Zx19VZzmo6lowctDpM15kVzEd7LJOsVzfyRWoMoS5Uhe12kAZbGOBnp1xmqYdQvJLiIXM0q2xWNpZFGCOXwT5BsLn/Ws/UR2NORLc67IorjdebUvn6OOxuJ0JniZVBOz6qXun9klVz7RSFrcXMklpdtHdTSvcSR/I5Vk3RAzN3wRxwCM7uMAc+faqV1e5xOuk2rH0DNR3r/AGh+NfPLCC+7FIntNT+cAlp8nmKSBVwih9zHu44bIPJz501pWnzPaTrJaSxzreo5zYsjFVuN2d5+n3fwFHTt1CrN9DvK9qK9KlWRuFFFFAFFFFAB6Unqd9DptlJd3JYRRDLFRkj7qcrn/Tr/AHV1Dj9AfEVEnZZGlKCnUjF6Nin9P9A/86fj/wBBq9/p5oRRnElztUgMfk7YGenwNfN40h7ExWZDHGZrtxtCAg5UAj2+3HFe7oRb52FLFCdgJw1w48/V7Oma5edM9A/hXDdLnbN6W6FvZo7hUBO7HzcT6/Op2Gv6dd3ccFhcAzOcqE03BHXnOeOp59dfPls7q91JbaC22zynKxDgKDzn1DHNfQ9K0lfRyxBt4TdXD5M0g69Oi+qkHObz0MuM4PheHglFtyeiy/RriG5DApdhSM4K2qePXxqo2NwQ227ADfSxax8+3mqLq5kZ42+R3WGBJEbsCMEjnHHr/wDqvO0DL3ba7LdqI9pmbgkA56+z861dKD1v3Pj/AOi0t4GGsrzaE+dJgo6DsEwPzqD2N8wOdXuenhEo/wDlUI7owSNts7x25Tl2YcZ6Z+78ate/njaTdYSMA5VShzuA8T5f6VXkUv5ssnV6W7IqOl3vjrV9+H/PUG0e6YYbWb4+3/8AdW/Ok2xWOn3Gcd4Y6cH1er86ctp2nj3mGSPkjDY8Kj01J/zJdStHP9GUdCmPXVrv/D/zVja5a3Wl3MMMd9NOZV3KFJDDy4yf+hXSa+066TM1qXEwaMrs5P01pf0W06d7uW/1S2mNy30JJCuAPUOoNcXEUIuapU0098zejWlGDqzaa2yOk09Zo7KBLlt0yoA5z1OOaaqIFSr6sVZWPnt3dwoooqSAooooArn/AE6/3Vv89Ng6e8K6CsD06H/ZXUM/2B8RVZ/KzbhvrQ/KPlwEDRpI0DCyRyqoD35m69RgnkDp0q+1S4mvURLbtNRfCwQFO7AvBDH8vzrNsYry9u7e3tBI84OIwP0Oc59Qr6hoOiRaRCSW7W8l5lnbqx8vZXHSjjPTfEK8eGWbvJ9CGh6ImjWkjLia9lBaaUj6bdceoZq5tQvQjEaXISuMjfjdz4ceVTgudQLgTWSgE5LLJwBn44qUM9924Sa0QrvH9YGA7ufLPXFdiSSsjzk5SnJynZthNdXabSti78kEA88YwfzP4VFr28KSFNPbKpkAyDvHyHHqP4ivBc6lshb5EuSP6wdp0Pn7KDdajk404dDx2g/68fyoVw/Zdzw6heDuvpkhbbk7XGCfLpVou7pnXNiy5Tdkv0OTwcDyAP31A3WobT/s/pnAMoAP31FrvUWVXisBnLh0diDx0xnqD50Jw/Zdw+W33ZRt82OHzh1DDjp/rQl9eyK+7TnRhnBZs5qbXF+GlxaKwUjYA473n/lXi3V+SAdPA56iQdOf8qEWWy7jNrNJMhaWAwnOApbJPrrXgA7KM/sisuCR5IFeSPs3IOV8q1YPqo/dHwqxjLUsooooQFFFFAFFFFAFYvpfbS3no9eW9uu6WQKqjOOdwrape++zn3l+Io1fItCThJSXQ4nSoLX0ZU2/yG9ubpgDLcQ25ZWz+iD5DyrQ/pFH/dmq4/4U/wA6f1S6axsJ7tYWmEEbSNGpAJABPHr9VKy65bJ6OnXEEkkHyftkRR3m4+j7c8eQqqjZWRvOvGpLFUV3+SoekMf92ap/Cn+dWW2tpczpELDUY9xxvktyAPac8U5Y3XyuwivWXso5YxKAWzhSMjJ9hqrStVttS0xdQiJjhy+/teCm0kHPl0qbS3KOdO2UfJDWZ5LWGGVJzGHuYYiDjGGkUHr6iaSuL64gN8i3IcQTQJ2hZAVDbM8Y9ZpqDU57zTfnGxsGlhdN8KyP2ckq+YUjjPgDjrzivRqpbWINOFs2Z4DcLJuAAQFQcjrnLDj86sYhpl2093cRSTqwSaVEUOpyA2BwOeB41K/1ZbKcQtZXsx2ht8EG5efXXg1I/PbaX8mIdYBOZd427CSBxjOcg1Xp+svfHUgloYzp85gkDSjvOFVztIHTaw5OKh36FoOKeauQPpFGf+7NVx/wp/nR/SKP+7NV/hT/ADq3Q9ai1zTjdWkbrMh2S20vdeJ/7LdccYPkQQaqudeNuultJYv/ALSnWCICQd1mUsN3qwp6Z8Ki0tzXHS9vknb64k8yRDT9Rj3nG6S2IVfac8V08H1Ufuj4VjW80skk0c0BiKBWUhwwcHPj6sdK2YPqY/dHwojObi/lViyiiipKBRRRQBRRRQBS9/8AZz7y/EUxS9/9n/eX4igMLXJ4oLMLNu/rJolGxSxx2i5PHgBnNYVlbPYnVtPmjYabbGS5tpOSHEyk7APHDGTj1rius3AE98D78UBwDkOPxoTZnKaPcK3oj6PaYxkinmtLe3mDRHMIWMbwwI4J2lefFhVE1k7XXpHoC3DEapD28MxQhEmdSjpkDA+irY9Z867LeP7Y/GgOOgcfcakWZk6dq0CaTC16klrcRQqstq6HtFYDkBR9L1Yzms+V1u/TGwkkSeMHTZFbBddjsyEIWXHOM8Z8K3G1BEaUNFOOyTew2jgd7B6/sn8qlHfxSStEpfIgWYk9Apzj4GhBiQdnF6bzbTNsOnLHvkLsu8SMSu455xg4zSuiTrHH6WSMHQS38kkO5GHaKYY1BXjkFgRxXQpqkUkFtLEszJdbRGduMkqWwQehG05HgeKdVi6q3eGRnngigOYvtPmQW3pBoC7r6O3RLi36C8iUfQPk452k+PHjSeslZbX0QBjnXF9DNIFRt0Sdk4yxX6PJAz667PnNAz66E2Zm6ZNbiW4trVppVVjK8jhiAW6Dc30jwemcCujg+pj90fCs5snJrRg+pj90fCoILKKKKAKKKKAKKKKAKXv/ALP+8vxFMUvffUfvr/7hQHO6po+k3MjXeoRqGwAztKyDA488UkmiejUgkMfYsI8byLo9zPTPPFDMbn07+T3XeittOFxao3QyNIVdvaAEA8txrWvoYezuZdids9syM3iygE8+eM/n66jDE1VeqlZSZmf0f9H+yMvZx9kDjf8AKTtz7c4q+w0HR0ljurOFWZGyjrMzDP44NYVk11//ACy3X5PEY/mJOTKenYjnG2ttZmg9HdPhgDma4hihiWLarHKAsRkgZChj933UwrYOvVas5Mckt4ZRc3Ju2WK4hEZYMu1V57wOPWeuaoGm2rqZ0uiImhjifZ2ex0QknPGOckH1ZpT0Ob5Pa3ekOjI2mXBiSNsZWFu/EOCRwrBev6NZVmZPRW3ttRjVn0O7RXvYxz8jkYAmZf2CfpDwPPnVjI6G3sbUoGhvCYYbprkBGjKITuyvA4XvH8etVXVlpOrXYdroyTFQoWG6IyB5AGsu7aOaX0etCymwvL+6Z1XGyYqZGQHzGeceOK2NUvbe3vLBLiymklefbaPGEx2m1sjJYEd3d1wKhq5aE5Qd4ih0XQgWBvGBXqDfMCPb3qG0LRF27rmRdw3Lm+YZHmO9zSsHyiL0h9KmsbaKWTFvt3HGT2A8Mc1fq0MEev8AowkUaBI5LhFAH0QIxwPZUYY7GvqKvuGrPQtMSRLi1klkaNuCLpnGfXziuqg+qj90fCuL1ki09K9Be0G2e8kmhuVXjtIljLbmHjtbbg+uu0g+pj90fCpsloZTnKbvJllFFFCoUUUUAUUUUAUvf/Z/3l+Ipil777P+8vxFAZN3Y2928UkyntYWLRSoxVkJ64I8D5dDVLaVbvI8srXEkskJgZzO4OwnJAAIC5wOVAPFV39hqFxcGS21iS2jwAIlhRgMeOTS/wA1at+sNx/DR1W72NlTg1nNeRpdFsE0caQkcosRH2IjE8mezxjbu3ZxjjrUoNJtIHtGj+UA2qGOENdSkKpwOQWIPQdc0n806v8ArDcfw0dHzTq/6w3H8NHTE9ieVD3ryWXFjpVvqUl9NJLFd3EaxO4uJRuXcdq4DYHLHHtq6zk022sPk8E2baILERI7ybQwAAJbJ5BHHr9dSnsLmWwt4Xue1limilaZ1279jhug8TjFQuNNllN4VdB20sUiDLcBNmQR69n51cxepXFYaRNpq6RHEj2kBxHECwMZVs908EFSeCDkUydMt3ubeedp55LZy8BllJEZIIyAMAnBPLZPPWi2s5oZJm3qe1klfgk43HI4PGRSPzTq4/8AEU/t+TR/yqG7F4QjLWVhqPRbKK8u7yMXK3F3t7Zlu5Rv2jA43YHHHGKg2g6cXs5OzuN1kD8nIupRtLDvE97vE+JOTVHzTq/6w3H8NHR806v+sU/8NHVcT2L8qHvXk0INPtYLmS6jjY3DLsMsjs7beu0FiSBnnA4rcg+pj90fCuXg0zUo50km12aaNTlozAgDjyyK6iD6mP3R8KlMznFReTuWUUUVJQKKKKAKKKKAKXv/ALOfeX4imKXv/s595fiKAS8aT1mxOpaZcWiXE1tJJGwjnhkZHjfHDAgjoaco69PCpBwU19KNP0nVDPJEWDaZf25uJNkUxOztMZ6q4PJ8GrU1qX5m07UdUtjPKNJsmSNZbmRhLLjcWcE97A28nPLNWgfRuxefVnk3MmpriSP9FCVCsw9bbV5/ZFN2umQR6Oum3ObqMxdlM0v0ps/SLY8TyaAoj0ZBp3ZSXM73pTm+3nte0x1B8s/o/RxxjFc2+qS39h6JajcyXEb3N20V0ttJIqyhYpf0VPILIGHFdKunXiWAsE1IiAJ2YmMOZwuMfSztzjx2/dnmqbnQQzaQtjcJa2+lSdpDD2G/cdjJydw4wx+/xoCr0aMt7Z39w9xJNpt1OZLDdKxkSLaM5JO4d8MQDyPHHQT9By8noppssssss00IeSSaVnZjkjqxJq6x0d9OuL9tPu0jt7uQzG3kg3rFIR3iuHGATzjzJqrTtEurDSrTTItTU29vtG5bbEjqGzgnfgZ6cDoaAV9HrZLi812Oae8ZYb8xxD5ZL3F7NDhe9xyTTfo3ezzyapY3UjTSaddmATN9KRSiuu7H6QDYPnjPjUtP0q6sZb6SPUIWa9n7d82h7jYA7v8AWeS+Oac0vTYdMt2hgLuzu0ksspy8rk8sx/LgAAACgHD0NaMH1Mfuj4VnHpWjB9TH7o+FQCyiiigCiiigCiiigCl7/wCzn3l+Ipil7/7OfeX4igEqWu5WjeFYzlixLIvJKgHw9uKZoPn5eOKFouzM3ttQAQGMl1kYSYHBU/RIPqyP8JqMUt+YcyM4fs05eIY3be9kAefl+FRjvrj5KjhVkkaFW4XAV+pX8AePD76ujupZJsKAbd3G1wudg2gkN+fPqIqpvnsiXaXbTwHDIhRTICoPOeRkDr+HnVZ+cBfNGHZoCTh9qYHj5Z8x9y+ZqmPULprYuzIJOwRguz9Irk8e2m7mdw8BilTs5GYElc8AMc/iBUlc10RRJLqPZIYlbtBGpcMg+mGBKjjoRkZ8OOamJ7zAJiY7ZyXBTrHnAAwOcZz+7U2uZReyR5VIAcGQrnb3c/mT+WPGq47q5YxF1AVygfC8wnx3DwBHQ+HShK00IvNfi2gIWRrjjto9g29Gzg488Y58uetaMLh1/TyMA71wemf86zLPUJ2gtZLnaA8YM2FxsOMnjy6+scZrW8aIpUyQHoa0YPqY/dHwrOPQ1owfUx+6PhUmRZRRRQBRRRQBRRRQBS9/9nPvL8RTFL3/ANnPvL8RQCVeOwRGZugGTXtFSDPTWIJE3RiQkjjOME5HHX9oV4+osuxgqNmBJdoJySxxgflWjgeQo8PZUWZpijsIfOLtvEUW9kkHdDcuhGdy+vrx44qs6lLtDDsm3bMHB53bvM+rx86dmMwYdjHEw8d7kY/I1DN3x/V249W9v5e2osyccdigXYjtbuSPsQ0e5wFON3dBJP41BNUkdHbYg7MA4Ocv3iu0eR49fUe2noe2LHtliVcDGxicnx8BVtLMjHHYzJNSkCKRGjb1Z9uclACAQcnk8k446HrWkrBlDD9IA/dXtFSRJp6AehrRg+pj90fCs49DWjB9TH7o+FChZRRRQBRRRQH/2Q=="/>
          <p:cNvSpPr>
            <a:spLocks noChangeAspect="1" noChangeArrowheads="1"/>
          </p:cNvSpPr>
          <p:nvPr/>
        </p:nvSpPr>
        <p:spPr bwMode="auto">
          <a:xfrm>
            <a:off x="63500" y="-731838"/>
            <a:ext cx="1524000" cy="15240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 name="Arrow: Curved Right 2">
            <a:extLst>
              <a:ext uri="{FF2B5EF4-FFF2-40B4-BE49-F238E27FC236}">
                <a16:creationId xmlns:a16="http://schemas.microsoft.com/office/drawing/2014/main" id="{42700A28-6F82-22A9-E9ED-31FDC296AE43}"/>
              </a:ext>
            </a:extLst>
          </p:cNvPr>
          <p:cNvSpPr/>
          <p:nvPr/>
        </p:nvSpPr>
        <p:spPr>
          <a:xfrm>
            <a:off x="331254" y="2363384"/>
            <a:ext cx="731520" cy="1216152"/>
          </a:xfrm>
          <a:prstGeom prst="curv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urved Right 3">
            <a:extLst>
              <a:ext uri="{FF2B5EF4-FFF2-40B4-BE49-F238E27FC236}">
                <a16:creationId xmlns:a16="http://schemas.microsoft.com/office/drawing/2014/main" id="{9562DA58-E6CA-4A86-BD9E-53EC2AE09F79}"/>
              </a:ext>
            </a:extLst>
          </p:cNvPr>
          <p:cNvSpPr/>
          <p:nvPr/>
        </p:nvSpPr>
        <p:spPr>
          <a:xfrm>
            <a:off x="331254" y="3651363"/>
            <a:ext cx="731520" cy="1216152"/>
          </a:xfrm>
          <a:prstGeom prst="curv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urved Right 4">
            <a:extLst>
              <a:ext uri="{FF2B5EF4-FFF2-40B4-BE49-F238E27FC236}">
                <a16:creationId xmlns:a16="http://schemas.microsoft.com/office/drawing/2014/main" id="{C618778B-2A0B-5783-EBDD-C8764946F0D4}"/>
              </a:ext>
            </a:extLst>
          </p:cNvPr>
          <p:cNvSpPr/>
          <p:nvPr/>
        </p:nvSpPr>
        <p:spPr>
          <a:xfrm>
            <a:off x="331254" y="4830939"/>
            <a:ext cx="731520" cy="1216152"/>
          </a:xfrm>
          <a:prstGeom prst="curv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512051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FFB44-A94F-8F15-9B33-A981E0FC333B}"/>
              </a:ext>
            </a:extLst>
          </p:cNvPr>
          <p:cNvSpPr>
            <a:spLocks noGrp="1"/>
          </p:cNvSpPr>
          <p:nvPr>
            <p:ph type="title"/>
          </p:nvPr>
        </p:nvSpPr>
        <p:spPr>
          <a:xfrm>
            <a:off x="866978" y="377524"/>
            <a:ext cx="7886700" cy="994172"/>
          </a:xfrm>
        </p:spPr>
        <p:txBody>
          <a:bodyPr/>
          <a:lstStyle/>
          <a:p>
            <a:r>
              <a:rPr lang="en-US" dirty="0"/>
              <a:t>Succeeding at Operational Excellence and Analytics—why it’s a big deal</a:t>
            </a:r>
          </a:p>
        </p:txBody>
      </p:sp>
      <p:pic>
        <p:nvPicPr>
          <p:cNvPr id="6" name="Content Placeholder 5" descr="Chart&#10;&#10;Description automatically generated with medium confidence">
            <a:extLst>
              <a:ext uri="{FF2B5EF4-FFF2-40B4-BE49-F238E27FC236}">
                <a16:creationId xmlns:a16="http://schemas.microsoft.com/office/drawing/2014/main" id="{EF986925-9381-7662-9624-5847B0C64C1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4509" y="1796806"/>
            <a:ext cx="4260615" cy="3080185"/>
          </a:xfrm>
        </p:spPr>
      </p:pic>
      <p:sp>
        <p:nvSpPr>
          <p:cNvPr id="4" name="Slide Number Placeholder 3">
            <a:extLst>
              <a:ext uri="{FF2B5EF4-FFF2-40B4-BE49-F238E27FC236}">
                <a16:creationId xmlns:a16="http://schemas.microsoft.com/office/drawing/2014/main" id="{CA2A5D7D-1FF2-4D76-CA72-2A3F4D8051B1}"/>
              </a:ext>
            </a:extLst>
          </p:cNvPr>
          <p:cNvSpPr>
            <a:spLocks noGrp="1"/>
          </p:cNvSpPr>
          <p:nvPr>
            <p:ph type="sldNum" sz="quarter" idx="12"/>
          </p:nvPr>
        </p:nvSpPr>
        <p:spPr/>
        <p:txBody>
          <a:bodyPr/>
          <a:lstStyle/>
          <a:p>
            <a:fld id="{602F7A02-EF0D-4D82-9BFD-3DDF074AABBD}" type="slidenum">
              <a:rPr lang="en-CA" smtClean="0"/>
              <a:t>14</a:t>
            </a:fld>
            <a:endParaRPr lang="en-CA" dirty="0"/>
          </a:p>
        </p:txBody>
      </p:sp>
      <p:pic>
        <p:nvPicPr>
          <p:cNvPr id="8" name="Picture 7">
            <a:extLst>
              <a:ext uri="{FF2B5EF4-FFF2-40B4-BE49-F238E27FC236}">
                <a16:creationId xmlns:a16="http://schemas.microsoft.com/office/drawing/2014/main" id="{6C8991C7-512D-B3AA-C930-E7E4E14488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0473" y="3414711"/>
            <a:ext cx="743054" cy="28579"/>
          </a:xfrm>
          <a:prstGeom prst="rect">
            <a:avLst/>
          </a:prstGeom>
        </p:spPr>
      </p:pic>
      <p:pic>
        <p:nvPicPr>
          <p:cNvPr id="10" name="Picture 9" descr="Graphical user interface, chart, scatter chart&#10;&#10;Description automatically generated">
            <a:extLst>
              <a:ext uri="{FF2B5EF4-FFF2-40B4-BE49-F238E27FC236}">
                <a16:creationId xmlns:a16="http://schemas.microsoft.com/office/drawing/2014/main" id="{CBC2C566-4345-D162-B99C-98DC31C076C8}"/>
              </a:ext>
            </a:extLst>
          </p:cNvPr>
          <p:cNvPicPr>
            <a:picLocks noChangeAspect="1"/>
          </p:cNvPicPr>
          <p:nvPr/>
        </p:nvPicPr>
        <p:blipFill rotWithShape="1">
          <a:blip r:embed="rId4">
            <a:extLst>
              <a:ext uri="{28A0092B-C50C-407E-A947-70E740481C1C}">
                <a14:useLocalDpi xmlns:a14="http://schemas.microsoft.com/office/drawing/2010/main" val="0"/>
              </a:ext>
            </a:extLst>
          </a:blip>
          <a:srcRect r="53576"/>
          <a:stretch/>
        </p:blipFill>
        <p:spPr>
          <a:xfrm>
            <a:off x="4872356" y="2013943"/>
            <a:ext cx="3947135" cy="3658111"/>
          </a:xfrm>
          <a:prstGeom prst="rect">
            <a:avLst/>
          </a:prstGeom>
        </p:spPr>
      </p:pic>
      <p:sp>
        <p:nvSpPr>
          <p:cNvPr id="11" name="Oval 10">
            <a:extLst>
              <a:ext uri="{FF2B5EF4-FFF2-40B4-BE49-F238E27FC236}">
                <a16:creationId xmlns:a16="http://schemas.microsoft.com/office/drawing/2014/main" id="{5C859F22-F433-7F5B-F6BA-DAC49BB0F089}"/>
              </a:ext>
            </a:extLst>
          </p:cNvPr>
          <p:cNvSpPr/>
          <p:nvPr/>
        </p:nvSpPr>
        <p:spPr>
          <a:xfrm>
            <a:off x="4333673" y="5150349"/>
            <a:ext cx="476655" cy="350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88" dirty="0"/>
              <a:t>$6</a:t>
            </a:r>
          </a:p>
        </p:txBody>
      </p:sp>
      <p:sp>
        <p:nvSpPr>
          <p:cNvPr id="12" name="Oval 11">
            <a:extLst>
              <a:ext uri="{FF2B5EF4-FFF2-40B4-BE49-F238E27FC236}">
                <a16:creationId xmlns:a16="http://schemas.microsoft.com/office/drawing/2014/main" id="{0A87C8FE-DFD1-09AE-1DCD-F065915F346F}"/>
              </a:ext>
            </a:extLst>
          </p:cNvPr>
          <p:cNvSpPr/>
          <p:nvPr/>
        </p:nvSpPr>
        <p:spPr>
          <a:xfrm>
            <a:off x="8384306" y="1663143"/>
            <a:ext cx="669727" cy="3508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88" dirty="0"/>
              <a:t>$60</a:t>
            </a:r>
          </a:p>
        </p:txBody>
      </p:sp>
      <p:sp>
        <p:nvSpPr>
          <p:cNvPr id="13" name="Rectangle 12">
            <a:extLst>
              <a:ext uri="{FF2B5EF4-FFF2-40B4-BE49-F238E27FC236}">
                <a16:creationId xmlns:a16="http://schemas.microsoft.com/office/drawing/2014/main" id="{E92B1068-8EF7-92C3-80FD-7C84730B3766}"/>
              </a:ext>
            </a:extLst>
          </p:cNvPr>
          <p:cNvSpPr/>
          <p:nvPr/>
        </p:nvSpPr>
        <p:spPr>
          <a:xfrm>
            <a:off x="628650" y="4993453"/>
            <a:ext cx="3224720" cy="6241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Built to Last Data</a:t>
            </a:r>
          </a:p>
        </p:txBody>
      </p:sp>
      <p:sp>
        <p:nvSpPr>
          <p:cNvPr id="14" name="Rectangle 13">
            <a:extLst>
              <a:ext uri="{FF2B5EF4-FFF2-40B4-BE49-F238E27FC236}">
                <a16:creationId xmlns:a16="http://schemas.microsoft.com/office/drawing/2014/main" id="{9D4EF94B-5C77-6B8B-6988-47B0C094B394}"/>
              </a:ext>
            </a:extLst>
          </p:cNvPr>
          <p:cNvSpPr/>
          <p:nvPr/>
        </p:nvSpPr>
        <p:spPr>
          <a:xfrm>
            <a:off x="4872355" y="1838542"/>
            <a:ext cx="3224720" cy="6241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A Transformation that Dave played an integral role in…</a:t>
            </a:r>
          </a:p>
        </p:txBody>
      </p:sp>
    </p:spTree>
    <p:extLst>
      <p:ext uri="{BB962C8B-B14F-4D97-AF65-F5344CB8AC3E}">
        <p14:creationId xmlns:p14="http://schemas.microsoft.com/office/powerpoint/2010/main" val="11675355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 name="Slide Number Placeholder 5"/>
          <p:cNvSpPr txBox="1">
            <a:spLocks noGrp="1"/>
          </p:cNvSpPr>
          <p:nvPr>
            <p:ph type="sldNum" sz="quarter" idx="2"/>
          </p:nvPr>
        </p:nvSpPr>
        <p:spPr>
          <a:xfrm>
            <a:off x="8832979" y="5681902"/>
            <a:ext cx="173261"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15</a:t>
            </a:fld>
            <a:endParaRPr/>
          </a:p>
        </p:txBody>
      </p:sp>
      <p:sp>
        <p:nvSpPr>
          <p:cNvPr id="374" name="Title 5"/>
          <p:cNvSpPr txBox="1"/>
          <p:nvPr/>
        </p:nvSpPr>
        <p:spPr>
          <a:xfrm>
            <a:off x="460154" y="962480"/>
            <a:ext cx="3209427" cy="14158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rIns="34289" anchor="ctr">
            <a:normAutofit/>
          </a:bodyPr>
          <a:lstStyle/>
          <a:p>
            <a:pPr defTabSz="514350">
              <a:lnSpc>
                <a:spcPct val="70000"/>
              </a:lnSpc>
              <a:defRPr sz="4800" b="1">
                <a:latin typeface="+mn-lt"/>
                <a:ea typeface="+mn-ea"/>
                <a:cs typeface="+mn-cs"/>
                <a:sym typeface="Helvetica"/>
              </a:defRPr>
            </a:pPr>
            <a:r>
              <a:rPr sz="3600"/>
              <a:t>Why does it</a:t>
            </a:r>
            <a:endParaRPr sz="7200"/>
          </a:p>
          <a:p>
            <a:pPr defTabSz="514350">
              <a:lnSpc>
                <a:spcPct val="70000"/>
              </a:lnSpc>
              <a:defRPr sz="4800" b="1">
                <a:latin typeface="+mn-lt"/>
                <a:ea typeface="+mn-ea"/>
                <a:cs typeface="+mn-cs"/>
                <a:sym typeface="Helvetica"/>
              </a:defRPr>
            </a:pPr>
            <a:r>
              <a:rPr sz="3600"/>
              <a:t>Matter</a:t>
            </a:r>
          </a:p>
        </p:txBody>
      </p:sp>
      <p:sp>
        <p:nvSpPr>
          <p:cNvPr id="375" name="Rectangle 12"/>
          <p:cNvSpPr/>
          <p:nvPr/>
        </p:nvSpPr>
        <p:spPr>
          <a:xfrm>
            <a:off x="481605" y="2080417"/>
            <a:ext cx="838202" cy="57152"/>
          </a:xfrm>
          <a:prstGeom prst="rect">
            <a:avLst/>
          </a:prstGeom>
          <a:solidFill>
            <a:schemeClr val="accent2"/>
          </a:solidFill>
          <a:ln w="12700">
            <a:miter lim="400000"/>
          </a:ln>
        </p:spPr>
        <p:txBody>
          <a:bodyPr lIns="34289" rIns="34289"/>
          <a:lstStyle/>
          <a:p>
            <a:pPr>
              <a:defRPr sz="3600">
                <a:latin typeface="Arial"/>
                <a:ea typeface="Arial"/>
                <a:cs typeface="Arial"/>
                <a:sym typeface="Arial"/>
              </a:defRPr>
            </a:pPr>
            <a:endParaRPr sz="2700"/>
          </a:p>
        </p:txBody>
      </p:sp>
      <p:sp>
        <p:nvSpPr>
          <p:cNvPr id="376" name="Our aspirations to improve the delivery of care is limited by our ability to see, understand and use data"/>
          <p:cNvSpPr txBox="1"/>
          <p:nvPr/>
        </p:nvSpPr>
        <p:spPr>
          <a:xfrm>
            <a:off x="492589" y="2559626"/>
            <a:ext cx="1994160" cy="12082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nchor="ctr">
            <a:spAutoFit/>
          </a:bodyPr>
          <a:lstStyle>
            <a:lvl1pPr defTabSz="410766">
              <a:defRPr sz="2000"/>
            </a:lvl1pPr>
          </a:lstStyle>
          <a:p>
            <a:r>
              <a:rPr sz="1500"/>
              <a:t>Our aspirations to improve the delivery of care is limited by our ability to see, understand and use data </a:t>
            </a:r>
          </a:p>
        </p:txBody>
      </p:sp>
      <p:grpSp>
        <p:nvGrpSpPr>
          <p:cNvPr id="413" name="Group"/>
          <p:cNvGrpSpPr/>
          <p:nvPr/>
        </p:nvGrpSpPr>
        <p:grpSpPr>
          <a:xfrm>
            <a:off x="-1082727" y="1492929"/>
            <a:ext cx="10408378" cy="4037155"/>
            <a:chOff x="-324332" y="1737146"/>
            <a:chExt cx="13877837" cy="5382872"/>
          </a:xfrm>
        </p:grpSpPr>
        <p:sp>
          <p:nvSpPr>
            <p:cNvPr id="377" name="Arrow"/>
            <p:cNvSpPr/>
            <p:nvPr/>
          </p:nvSpPr>
          <p:spPr>
            <a:xfrm rot="19751673">
              <a:off x="5592988" y="4316632"/>
              <a:ext cx="6757032" cy="1384489"/>
            </a:xfrm>
            <a:custGeom>
              <a:avLst/>
              <a:gdLst/>
              <a:ahLst/>
              <a:cxnLst>
                <a:cxn ang="0">
                  <a:pos x="wd2" y="hd2"/>
                </a:cxn>
                <a:cxn ang="5400000">
                  <a:pos x="wd2" y="hd2"/>
                </a:cxn>
                <a:cxn ang="10800000">
                  <a:pos x="wd2" y="hd2"/>
                </a:cxn>
                <a:cxn ang="16200000">
                  <a:pos x="wd2" y="hd2"/>
                </a:cxn>
              </a:cxnLst>
              <a:rect l="0" t="0" r="r" b="b"/>
              <a:pathLst>
                <a:path w="21600" h="21600" extrusionOk="0">
                  <a:moveTo>
                    <a:pt x="2419" y="16848"/>
                  </a:moveTo>
                  <a:lnTo>
                    <a:pt x="2419" y="21600"/>
                  </a:lnTo>
                  <a:lnTo>
                    <a:pt x="0" y="10800"/>
                  </a:lnTo>
                  <a:lnTo>
                    <a:pt x="2419" y="0"/>
                  </a:lnTo>
                  <a:lnTo>
                    <a:pt x="2419" y="4752"/>
                  </a:lnTo>
                  <a:lnTo>
                    <a:pt x="21600" y="4752"/>
                  </a:lnTo>
                  <a:lnTo>
                    <a:pt x="21600" y="16848"/>
                  </a:lnTo>
                  <a:close/>
                </a:path>
              </a:pathLst>
            </a:custGeom>
            <a:solidFill>
              <a:srgbClr val="D6D5D5"/>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78" name="Arrow"/>
            <p:cNvSpPr/>
            <p:nvPr/>
          </p:nvSpPr>
          <p:spPr>
            <a:xfrm rot="8960192">
              <a:off x="-324332" y="3320525"/>
              <a:ext cx="13877837" cy="2506302"/>
            </a:xfrm>
            <a:custGeom>
              <a:avLst/>
              <a:gdLst/>
              <a:ahLst/>
              <a:cxnLst>
                <a:cxn ang="0">
                  <a:pos x="wd2" y="hd2"/>
                </a:cxn>
                <a:cxn ang="5400000">
                  <a:pos x="wd2" y="hd2"/>
                </a:cxn>
                <a:cxn ang="10800000">
                  <a:pos x="wd2" y="hd2"/>
                </a:cxn>
                <a:cxn ang="16200000">
                  <a:pos x="wd2" y="hd2"/>
                </a:cxn>
              </a:cxnLst>
              <a:rect l="0" t="0" r="r" b="b"/>
              <a:pathLst>
                <a:path w="21600" h="21600" extrusionOk="0">
                  <a:moveTo>
                    <a:pt x="2132" y="16848"/>
                  </a:moveTo>
                  <a:lnTo>
                    <a:pt x="2132" y="21600"/>
                  </a:lnTo>
                  <a:lnTo>
                    <a:pt x="0" y="10800"/>
                  </a:lnTo>
                  <a:lnTo>
                    <a:pt x="2132" y="0"/>
                  </a:lnTo>
                  <a:lnTo>
                    <a:pt x="2132" y="4752"/>
                  </a:lnTo>
                  <a:lnTo>
                    <a:pt x="21600" y="4752"/>
                  </a:lnTo>
                  <a:lnTo>
                    <a:pt x="21600" y="16848"/>
                  </a:lnTo>
                  <a:close/>
                </a:path>
              </a:pathLst>
            </a:custGeom>
            <a:solidFill>
              <a:srgbClr val="D6D5D5"/>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79" name="Data…"/>
            <p:cNvSpPr txBox="1"/>
            <p:nvPr/>
          </p:nvSpPr>
          <p:spPr>
            <a:xfrm>
              <a:off x="11482206" y="3743488"/>
              <a:ext cx="1498982" cy="71487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p>
              <a:pPr algn="ctr" defTabSz="308075">
                <a:defRPr b="1">
                  <a:latin typeface="Helvetica Neue"/>
                  <a:ea typeface="Helvetica Neue"/>
                  <a:cs typeface="Helvetica Neue"/>
                  <a:sym typeface="Helvetica Neue"/>
                </a:defRPr>
              </a:pPr>
              <a:r>
                <a:rPr sz="1350"/>
                <a:t>Data</a:t>
              </a:r>
            </a:p>
            <a:p>
              <a:pPr algn="ctr" defTabSz="308075">
                <a:defRPr sz="1200">
                  <a:latin typeface="Helvetica Neue"/>
                  <a:ea typeface="Helvetica Neue"/>
                  <a:cs typeface="Helvetica Neue"/>
                  <a:sym typeface="Helvetica Neue"/>
                </a:defRPr>
              </a:pPr>
              <a:r>
                <a:rPr sz="900"/>
                <a:t>Fragmented, siloed and quality unknown</a:t>
              </a:r>
            </a:p>
          </p:txBody>
        </p:sp>
        <p:sp>
          <p:nvSpPr>
            <p:cNvPr id="380" name="Analytics…"/>
            <p:cNvSpPr txBox="1"/>
            <p:nvPr/>
          </p:nvSpPr>
          <p:spPr>
            <a:xfrm>
              <a:off x="10117675" y="4630707"/>
              <a:ext cx="2146856" cy="71487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p>
              <a:pPr algn="ctr" defTabSz="308075">
                <a:defRPr b="1">
                  <a:latin typeface="Helvetica Neue"/>
                  <a:ea typeface="Helvetica Neue"/>
                  <a:cs typeface="Helvetica Neue"/>
                  <a:sym typeface="Helvetica Neue"/>
                </a:defRPr>
              </a:pPr>
              <a:r>
                <a:rPr sz="1350"/>
                <a:t>Analytics</a:t>
              </a:r>
            </a:p>
            <a:p>
              <a:pPr algn="ctr" defTabSz="308075">
                <a:defRPr sz="1200">
                  <a:latin typeface="Helvetica Neue"/>
                  <a:ea typeface="Helvetica Neue"/>
                  <a:cs typeface="Helvetica Neue"/>
                  <a:sym typeface="Helvetica Neue"/>
                </a:defRPr>
              </a:pPr>
              <a:r>
                <a:rPr sz="900"/>
                <a:t>Inability to respond to analytics use cases </a:t>
              </a:r>
            </a:p>
          </p:txBody>
        </p:sp>
        <p:sp>
          <p:nvSpPr>
            <p:cNvPr id="381" name="Slow Decisions…"/>
            <p:cNvSpPr txBox="1"/>
            <p:nvPr/>
          </p:nvSpPr>
          <p:spPr>
            <a:xfrm>
              <a:off x="7220065" y="6405146"/>
              <a:ext cx="2105416" cy="71487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p>
              <a:pPr algn="ctr" defTabSz="308075">
                <a:defRPr b="1">
                  <a:latin typeface="Helvetica Neue"/>
                  <a:ea typeface="Helvetica Neue"/>
                  <a:cs typeface="Helvetica Neue"/>
                  <a:sym typeface="Helvetica Neue"/>
                </a:defRPr>
              </a:pPr>
              <a:r>
                <a:rPr sz="1350"/>
                <a:t>Slow Decisions</a:t>
              </a:r>
            </a:p>
            <a:p>
              <a:pPr algn="ctr" defTabSz="308075">
                <a:defRPr sz="1200">
                  <a:latin typeface="Helvetica Neue"/>
                  <a:ea typeface="Helvetica Neue"/>
                  <a:cs typeface="Helvetica Neue"/>
                  <a:sym typeface="Helvetica Neue"/>
                </a:defRPr>
              </a:pPr>
              <a:r>
                <a:rPr sz="900"/>
                <a:t>Decision cycles limited by access to data</a:t>
              </a:r>
            </a:p>
          </p:txBody>
        </p:sp>
        <p:sp>
          <p:nvSpPr>
            <p:cNvPr id="382" name="Inconsistency…"/>
            <p:cNvSpPr txBox="1"/>
            <p:nvPr/>
          </p:nvSpPr>
          <p:spPr>
            <a:xfrm>
              <a:off x="8911861" y="5517926"/>
              <a:ext cx="1807380" cy="71487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p>
              <a:pPr algn="ctr" defTabSz="308075">
                <a:defRPr b="1">
                  <a:latin typeface="Helvetica Neue"/>
                  <a:ea typeface="Helvetica Neue"/>
                  <a:cs typeface="Helvetica Neue"/>
                  <a:sym typeface="Helvetica Neue"/>
                </a:defRPr>
              </a:pPr>
              <a:r>
                <a:rPr sz="1350"/>
                <a:t>Inconsistency</a:t>
              </a:r>
            </a:p>
            <a:p>
              <a:pPr algn="ctr" defTabSz="308075">
                <a:defRPr sz="1200">
                  <a:latin typeface="Helvetica Neue"/>
                  <a:ea typeface="Helvetica Neue"/>
                  <a:cs typeface="Helvetica Neue"/>
                  <a:sym typeface="Helvetica Neue"/>
                </a:defRPr>
              </a:pPr>
              <a:r>
                <a:rPr sz="900"/>
                <a:t>Results vary from different sources</a:t>
              </a:r>
            </a:p>
          </p:txBody>
        </p:sp>
        <p:sp>
          <p:nvSpPr>
            <p:cNvPr id="383" name="Personalized healthcare"/>
            <p:cNvSpPr txBox="1"/>
            <p:nvPr/>
          </p:nvSpPr>
          <p:spPr>
            <a:xfrm>
              <a:off x="8909970" y="1737146"/>
              <a:ext cx="1709562" cy="54814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lvl1pPr algn="ctr" defTabSz="410766">
                <a:defRPr sz="1600" b="1">
                  <a:latin typeface="Helvetica Neue"/>
                  <a:ea typeface="Helvetica Neue"/>
                  <a:cs typeface="Helvetica Neue"/>
                  <a:sym typeface="Helvetica Neue"/>
                </a:defRPr>
              </a:lvl1pPr>
            </a:lstStyle>
            <a:p>
              <a:r>
                <a:rPr sz="1200"/>
                <a:t>Personalized healthcare</a:t>
              </a:r>
            </a:p>
          </p:txBody>
        </p:sp>
        <p:sp>
          <p:nvSpPr>
            <p:cNvPr id="384" name="Non-traditional care environments"/>
            <p:cNvSpPr txBox="1"/>
            <p:nvPr/>
          </p:nvSpPr>
          <p:spPr>
            <a:xfrm>
              <a:off x="5434058" y="3775443"/>
              <a:ext cx="2105415" cy="54814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lvl1pPr algn="ctr" defTabSz="410766">
                <a:defRPr sz="1600" b="1">
                  <a:latin typeface="Helvetica Neue"/>
                  <a:ea typeface="Helvetica Neue"/>
                  <a:cs typeface="Helvetica Neue"/>
                  <a:sym typeface="Helvetica Neue"/>
                </a:defRPr>
              </a:lvl1pPr>
            </a:lstStyle>
            <a:p>
              <a:r>
                <a:rPr sz="1200"/>
                <a:t>Non-traditional care environments</a:t>
              </a:r>
            </a:p>
          </p:txBody>
        </p:sp>
        <p:sp>
          <p:nvSpPr>
            <p:cNvPr id="385" name="Predictive medicine &amp; AI"/>
            <p:cNvSpPr txBox="1"/>
            <p:nvPr/>
          </p:nvSpPr>
          <p:spPr>
            <a:xfrm>
              <a:off x="7756580" y="2416579"/>
              <a:ext cx="1709562" cy="54814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lvl1pPr algn="ctr" defTabSz="410766">
                <a:defRPr sz="1600" b="1">
                  <a:latin typeface="Helvetica Neue"/>
                  <a:ea typeface="Helvetica Neue"/>
                  <a:cs typeface="Helvetica Neue"/>
                  <a:sym typeface="Helvetica Neue"/>
                </a:defRPr>
              </a:lvl1pPr>
            </a:lstStyle>
            <a:p>
              <a:r>
                <a:rPr sz="1200"/>
                <a:t>Predictive medicine &amp; AI</a:t>
              </a:r>
            </a:p>
          </p:txBody>
        </p:sp>
        <p:sp>
          <p:nvSpPr>
            <p:cNvPr id="386" name="Population Health"/>
            <p:cNvSpPr txBox="1"/>
            <p:nvPr/>
          </p:nvSpPr>
          <p:spPr>
            <a:xfrm>
              <a:off x="6914936" y="3096010"/>
              <a:ext cx="1382616" cy="54814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lvl1pPr algn="ctr" defTabSz="410766">
                <a:defRPr sz="1600" b="1">
                  <a:latin typeface="Helvetica Neue"/>
                  <a:ea typeface="Helvetica Neue"/>
                  <a:cs typeface="Helvetica Neue"/>
                  <a:sym typeface="Helvetica Neue"/>
                </a:defRPr>
              </a:lvl1pPr>
            </a:lstStyle>
            <a:p>
              <a:r>
                <a:rPr sz="1200"/>
                <a:t>Population Health</a:t>
              </a:r>
            </a:p>
          </p:txBody>
        </p:sp>
        <p:sp>
          <p:nvSpPr>
            <p:cNvPr id="387" name="Efficiency &amp; Optimization"/>
            <p:cNvSpPr txBox="1"/>
            <p:nvPr/>
          </p:nvSpPr>
          <p:spPr>
            <a:xfrm>
              <a:off x="4437584" y="4454875"/>
              <a:ext cx="1709562" cy="54814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numCol="1" anchor="ctr">
              <a:spAutoFit/>
            </a:bodyPr>
            <a:lstStyle>
              <a:lvl1pPr algn="ctr" defTabSz="410766">
                <a:defRPr sz="1600" b="1">
                  <a:latin typeface="Helvetica Neue"/>
                  <a:ea typeface="Helvetica Neue"/>
                  <a:cs typeface="Helvetica Neue"/>
                  <a:sym typeface="Helvetica Neue"/>
                </a:defRPr>
              </a:lvl1pPr>
            </a:lstStyle>
            <a:p>
              <a:r>
                <a:rPr sz="1200"/>
                <a:t>Efficiency &amp; Optimization</a:t>
              </a:r>
            </a:p>
          </p:txBody>
        </p:sp>
        <p:grpSp>
          <p:nvGrpSpPr>
            <p:cNvPr id="390" name="Group"/>
            <p:cNvGrpSpPr/>
            <p:nvPr/>
          </p:nvGrpSpPr>
          <p:grpSpPr>
            <a:xfrm>
              <a:off x="8611744" y="4824943"/>
              <a:ext cx="707503" cy="708145"/>
              <a:chOff x="0" y="-12"/>
              <a:chExt cx="707502" cy="708143"/>
            </a:xfrm>
          </p:grpSpPr>
          <p:sp>
            <p:nvSpPr>
              <p:cNvPr id="388" name="Arrow 1"/>
              <p:cNvSpPr/>
              <p:nvPr/>
            </p:nvSpPr>
            <p:spPr>
              <a:xfrm>
                <a:off x="0" y="-2"/>
                <a:ext cx="322982" cy="708134"/>
              </a:xfrm>
              <a:custGeom>
                <a:avLst/>
                <a:gdLst/>
                <a:ahLst/>
                <a:cxnLst>
                  <a:cxn ang="0">
                    <a:pos x="wd2" y="hd2"/>
                  </a:cxn>
                  <a:cxn ang="5400000">
                    <a:pos x="wd2" y="hd2"/>
                  </a:cxn>
                  <a:cxn ang="10800000">
                    <a:pos x="wd2" y="hd2"/>
                  </a:cxn>
                  <a:cxn ang="16200000">
                    <a:pos x="wd2" y="hd2"/>
                  </a:cxn>
                </a:cxnLst>
                <a:rect l="0" t="0" r="r" b="b"/>
                <a:pathLst>
                  <a:path w="21589" h="21508" extrusionOk="0">
                    <a:moveTo>
                      <a:pt x="6851" y="2"/>
                    </a:moveTo>
                    <a:cubicBezTo>
                      <a:pt x="6743" y="16"/>
                      <a:pt x="6673" y="93"/>
                      <a:pt x="6673" y="230"/>
                    </a:cubicBezTo>
                    <a:lnTo>
                      <a:pt x="6673" y="2728"/>
                    </a:lnTo>
                    <a:cubicBezTo>
                      <a:pt x="6673" y="2997"/>
                      <a:pt x="6187" y="3225"/>
                      <a:pt x="5582" y="3225"/>
                    </a:cubicBezTo>
                    <a:lnTo>
                      <a:pt x="1091" y="3225"/>
                    </a:lnTo>
                    <a:cubicBezTo>
                      <a:pt x="497" y="3225"/>
                      <a:pt x="0" y="3446"/>
                      <a:pt x="0" y="3721"/>
                    </a:cubicBezTo>
                    <a:lnTo>
                      <a:pt x="0" y="17783"/>
                    </a:lnTo>
                    <a:cubicBezTo>
                      <a:pt x="0" y="18053"/>
                      <a:pt x="485" y="18281"/>
                      <a:pt x="1091" y="18281"/>
                    </a:cubicBezTo>
                    <a:lnTo>
                      <a:pt x="5582" y="18281"/>
                    </a:lnTo>
                    <a:cubicBezTo>
                      <a:pt x="6175" y="18281"/>
                      <a:pt x="6673" y="18501"/>
                      <a:pt x="6673" y="18777"/>
                    </a:cubicBezTo>
                    <a:lnTo>
                      <a:pt x="6673" y="21276"/>
                    </a:lnTo>
                    <a:cubicBezTo>
                      <a:pt x="6673" y="21551"/>
                      <a:pt x="6934" y="21589"/>
                      <a:pt x="7267" y="21352"/>
                    </a:cubicBezTo>
                    <a:lnTo>
                      <a:pt x="21351" y="11180"/>
                    </a:lnTo>
                    <a:cubicBezTo>
                      <a:pt x="21517" y="11061"/>
                      <a:pt x="21588" y="10909"/>
                      <a:pt x="21588" y="10753"/>
                    </a:cubicBezTo>
                    <a:cubicBezTo>
                      <a:pt x="21600" y="10602"/>
                      <a:pt x="21517" y="10445"/>
                      <a:pt x="21351" y="10326"/>
                    </a:cubicBezTo>
                    <a:lnTo>
                      <a:pt x="7267" y="154"/>
                    </a:lnTo>
                    <a:cubicBezTo>
                      <a:pt x="7106" y="38"/>
                      <a:pt x="6959" y="-11"/>
                      <a:pt x="6851" y="2"/>
                    </a:cubicBezTo>
                    <a:close/>
                  </a:path>
                </a:pathLst>
              </a:custGeom>
              <a:solidFill>
                <a:srgbClr val="929292"/>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89" name="Arrow 1"/>
              <p:cNvSpPr/>
              <p:nvPr/>
            </p:nvSpPr>
            <p:spPr>
              <a:xfrm rot="10800000">
                <a:off x="384520" y="-13"/>
                <a:ext cx="322983" cy="708134"/>
              </a:xfrm>
              <a:custGeom>
                <a:avLst/>
                <a:gdLst/>
                <a:ahLst/>
                <a:cxnLst>
                  <a:cxn ang="0">
                    <a:pos x="wd2" y="hd2"/>
                  </a:cxn>
                  <a:cxn ang="5400000">
                    <a:pos x="wd2" y="hd2"/>
                  </a:cxn>
                  <a:cxn ang="10800000">
                    <a:pos x="wd2" y="hd2"/>
                  </a:cxn>
                  <a:cxn ang="16200000">
                    <a:pos x="wd2" y="hd2"/>
                  </a:cxn>
                </a:cxnLst>
                <a:rect l="0" t="0" r="r" b="b"/>
                <a:pathLst>
                  <a:path w="21589" h="21508" extrusionOk="0">
                    <a:moveTo>
                      <a:pt x="6851" y="2"/>
                    </a:moveTo>
                    <a:cubicBezTo>
                      <a:pt x="6743" y="16"/>
                      <a:pt x="6673" y="93"/>
                      <a:pt x="6673" y="230"/>
                    </a:cubicBezTo>
                    <a:lnTo>
                      <a:pt x="6673" y="2728"/>
                    </a:lnTo>
                    <a:cubicBezTo>
                      <a:pt x="6673" y="2997"/>
                      <a:pt x="6187" y="3225"/>
                      <a:pt x="5582" y="3225"/>
                    </a:cubicBezTo>
                    <a:lnTo>
                      <a:pt x="1091" y="3225"/>
                    </a:lnTo>
                    <a:cubicBezTo>
                      <a:pt x="497" y="3225"/>
                      <a:pt x="0" y="3446"/>
                      <a:pt x="0" y="3721"/>
                    </a:cubicBezTo>
                    <a:lnTo>
                      <a:pt x="0" y="17783"/>
                    </a:lnTo>
                    <a:cubicBezTo>
                      <a:pt x="0" y="18053"/>
                      <a:pt x="485" y="18281"/>
                      <a:pt x="1091" y="18281"/>
                    </a:cubicBezTo>
                    <a:lnTo>
                      <a:pt x="5582" y="18281"/>
                    </a:lnTo>
                    <a:cubicBezTo>
                      <a:pt x="6175" y="18281"/>
                      <a:pt x="6673" y="18501"/>
                      <a:pt x="6673" y="18777"/>
                    </a:cubicBezTo>
                    <a:lnTo>
                      <a:pt x="6673" y="21276"/>
                    </a:lnTo>
                    <a:cubicBezTo>
                      <a:pt x="6673" y="21551"/>
                      <a:pt x="6934" y="21589"/>
                      <a:pt x="7267" y="21352"/>
                    </a:cubicBezTo>
                    <a:lnTo>
                      <a:pt x="21351" y="11180"/>
                    </a:lnTo>
                    <a:cubicBezTo>
                      <a:pt x="21517" y="11061"/>
                      <a:pt x="21588" y="10909"/>
                      <a:pt x="21588" y="10753"/>
                    </a:cubicBezTo>
                    <a:cubicBezTo>
                      <a:pt x="21600" y="10602"/>
                      <a:pt x="21517" y="10445"/>
                      <a:pt x="21351" y="10326"/>
                    </a:cubicBezTo>
                    <a:lnTo>
                      <a:pt x="7267" y="154"/>
                    </a:lnTo>
                    <a:cubicBezTo>
                      <a:pt x="7106" y="38"/>
                      <a:pt x="6959" y="-11"/>
                      <a:pt x="6851" y="2"/>
                    </a:cubicBez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grpSp>
        <p:grpSp>
          <p:nvGrpSpPr>
            <p:cNvPr id="400" name="Group"/>
            <p:cNvGrpSpPr/>
            <p:nvPr/>
          </p:nvGrpSpPr>
          <p:grpSpPr>
            <a:xfrm>
              <a:off x="10859587" y="2317421"/>
              <a:ext cx="1885979" cy="1683059"/>
              <a:chOff x="0" y="0"/>
              <a:chExt cx="1885978" cy="1683058"/>
            </a:xfrm>
          </p:grpSpPr>
          <p:sp>
            <p:nvSpPr>
              <p:cNvPr id="391" name="Puzzle Piece"/>
              <p:cNvSpPr/>
              <p:nvPr/>
            </p:nvSpPr>
            <p:spPr>
              <a:xfrm>
                <a:off x="270044" y="1041547"/>
                <a:ext cx="353477" cy="207282"/>
              </a:xfrm>
              <a:custGeom>
                <a:avLst/>
                <a:gdLst/>
                <a:ahLst/>
                <a:cxnLst>
                  <a:cxn ang="0">
                    <a:pos x="wd2" y="hd2"/>
                  </a:cxn>
                  <a:cxn ang="5400000">
                    <a:pos x="wd2" y="hd2"/>
                  </a:cxn>
                  <a:cxn ang="10800000">
                    <a:pos x="wd2" y="hd2"/>
                  </a:cxn>
                  <a:cxn ang="16200000">
                    <a:pos x="wd2" y="hd2"/>
                  </a:cxn>
                </a:cxnLst>
                <a:rect l="0" t="0" r="r" b="b"/>
                <a:pathLst>
                  <a:path w="21600" h="21600" extrusionOk="0">
                    <a:moveTo>
                      <a:pt x="4970" y="0"/>
                    </a:moveTo>
                    <a:cubicBezTo>
                      <a:pt x="4727" y="0"/>
                      <a:pt x="4529" y="339"/>
                      <a:pt x="4529" y="754"/>
                    </a:cubicBezTo>
                    <a:lnTo>
                      <a:pt x="4529" y="7491"/>
                    </a:lnTo>
                    <a:cubicBezTo>
                      <a:pt x="4382" y="8825"/>
                      <a:pt x="3672" y="8999"/>
                      <a:pt x="3672" y="8999"/>
                    </a:cubicBezTo>
                    <a:cubicBezTo>
                      <a:pt x="3377" y="9059"/>
                      <a:pt x="2943" y="8562"/>
                      <a:pt x="2783" y="8363"/>
                    </a:cubicBezTo>
                    <a:cubicBezTo>
                      <a:pt x="2489" y="7923"/>
                      <a:pt x="2110" y="7658"/>
                      <a:pt x="1698" y="7658"/>
                    </a:cubicBezTo>
                    <a:cubicBezTo>
                      <a:pt x="760" y="7658"/>
                      <a:pt x="0" y="9026"/>
                      <a:pt x="0" y="10717"/>
                    </a:cubicBezTo>
                    <a:cubicBezTo>
                      <a:pt x="0" y="12407"/>
                      <a:pt x="760" y="13778"/>
                      <a:pt x="1698" y="13778"/>
                    </a:cubicBezTo>
                    <a:cubicBezTo>
                      <a:pt x="2082" y="13778"/>
                      <a:pt x="2436" y="13545"/>
                      <a:pt x="2720" y="13157"/>
                    </a:cubicBezTo>
                    <a:lnTo>
                      <a:pt x="2720" y="13160"/>
                    </a:lnTo>
                    <a:cubicBezTo>
                      <a:pt x="2746" y="13124"/>
                      <a:pt x="3313" y="12370"/>
                      <a:pt x="3672" y="12443"/>
                    </a:cubicBezTo>
                    <a:cubicBezTo>
                      <a:pt x="3672" y="12443"/>
                      <a:pt x="4382" y="12617"/>
                      <a:pt x="4529" y="13951"/>
                    </a:cubicBezTo>
                    <a:lnTo>
                      <a:pt x="4529" y="20846"/>
                    </a:lnTo>
                    <a:cubicBezTo>
                      <a:pt x="4529" y="21260"/>
                      <a:pt x="4727" y="21600"/>
                      <a:pt x="4970" y="21600"/>
                    </a:cubicBezTo>
                    <a:lnTo>
                      <a:pt x="9322" y="21600"/>
                    </a:lnTo>
                    <a:cubicBezTo>
                      <a:pt x="9749" y="21162"/>
                      <a:pt x="9815" y="20388"/>
                      <a:pt x="9815" y="20388"/>
                    </a:cubicBezTo>
                    <a:cubicBezTo>
                      <a:pt x="9857" y="19778"/>
                      <a:pt x="9419" y="18814"/>
                      <a:pt x="9396" y="18765"/>
                    </a:cubicBezTo>
                    <a:lnTo>
                      <a:pt x="9394" y="18763"/>
                    </a:lnTo>
                    <a:cubicBezTo>
                      <a:pt x="9168" y="18278"/>
                      <a:pt x="9032" y="17676"/>
                      <a:pt x="9032" y="17022"/>
                    </a:cubicBezTo>
                    <a:cubicBezTo>
                      <a:pt x="9032" y="15422"/>
                      <a:pt x="9836" y="14124"/>
                      <a:pt x="10827" y="14124"/>
                    </a:cubicBezTo>
                    <a:cubicBezTo>
                      <a:pt x="11818" y="14124"/>
                      <a:pt x="12621" y="15422"/>
                      <a:pt x="12621" y="17022"/>
                    </a:cubicBezTo>
                    <a:cubicBezTo>
                      <a:pt x="12621" y="17724"/>
                      <a:pt x="12467" y="18368"/>
                      <a:pt x="12209" y="18869"/>
                    </a:cubicBezTo>
                    <a:cubicBezTo>
                      <a:pt x="12092" y="19143"/>
                      <a:pt x="11799" y="19886"/>
                      <a:pt x="11834" y="20388"/>
                    </a:cubicBezTo>
                    <a:cubicBezTo>
                      <a:pt x="11834" y="20388"/>
                      <a:pt x="11900" y="21162"/>
                      <a:pt x="12327" y="21600"/>
                    </a:cubicBezTo>
                    <a:lnTo>
                      <a:pt x="16679" y="21600"/>
                    </a:lnTo>
                    <a:cubicBezTo>
                      <a:pt x="16922" y="21600"/>
                      <a:pt x="17120" y="21261"/>
                      <a:pt x="17120" y="20846"/>
                    </a:cubicBezTo>
                    <a:lnTo>
                      <a:pt x="17120" y="13499"/>
                    </a:lnTo>
                    <a:cubicBezTo>
                      <a:pt x="17332" y="12447"/>
                      <a:pt x="17928" y="12299"/>
                      <a:pt x="17928" y="12299"/>
                    </a:cubicBezTo>
                    <a:cubicBezTo>
                      <a:pt x="18223" y="12239"/>
                      <a:pt x="18657" y="12736"/>
                      <a:pt x="18817" y="12935"/>
                    </a:cubicBezTo>
                    <a:cubicBezTo>
                      <a:pt x="19111" y="13375"/>
                      <a:pt x="19490" y="13640"/>
                      <a:pt x="19902" y="13640"/>
                    </a:cubicBezTo>
                    <a:cubicBezTo>
                      <a:pt x="20840" y="13640"/>
                      <a:pt x="21600" y="12272"/>
                      <a:pt x="21600" y="10581"/>
                    </a:cubicBezTo>
                    <a:cubicBezTo>
                      <a:pt x="21600" y="8891"/>
                      <a:pt x="20840" y="7519"/>
                      <a:pt x="19902" y="7519"/>
                    </a:cubicBezTo>
                    <a:cubicBezTo>
                      <a:pt x="19518" y="7519"/>
                      <a:pt x="19164" y="7753"/>
                      <a:pt x="18880" y="8141"/>
                    </a:cubicBezTo>
                    <a:lnTo>
                      <a:pt x="18880" y="8138"/>
                    </a:lnTo>
                    <a:cubicBezTo>
                      <a:pt x="18854" y="8174"/>
                      <a:pt x="18287" y="8928"/>
                      <a:pt x="17928" y="8855"/>
                    </a:cubicBezTo>
                    <a:cubicBezTo>
                      <a:pt x="17928" y="8855"/>
                      <a:pt x="17332" y="8707"/>
                      <a:pt x="17120" y="7655"/>
                    </a:cubicBezTo>
                    <a:lnTo>
                      <a:pt x="17120" y="754"/>
                    </a:lnTo>
                    <a:cubicBezTo>
                      <a:pt x="17120" y="340"/>
                      <a:pt x="16921" y="0"/>
                      <a:pt x="16678" y="0"/>
                    </a:cubicBezTo>
                    <a:lnTo>
                      <a:pt x="12109" y="0"/>
                    </a:lnTo>
                    <a:cubicBezTo>
                      <a:pt x="11780" y="445"/>
                      <a:pt x="11725" y="1085"/>
                      <a:pt x="11725" y="1085"/>
                    </a:cubicBezTo>
                    <a:cubicBezTo>
                      <a:pt x="11682" y="1697"/>
                      <a:pt x="12124" y="2664"/>
                      <a:pt x="12145" y="2708"/>
                    </a:cubicBezTo>
                    <a:lnTo>
                      <a:pt x="12142" y="2708"/>
                    </a:lnTo>
                    <a:cubicBezTo>
                      <a:pt x="12369" y="3193"/>
                      <a:pt x="12506" y="3796"/>
                      <a:pt x="12506" y="4452"/>
                    </a:cubicBezTo>
                    <a:cubicBezTo>
                      <a:pt x="12506" y="6051"/>
                      <a:pt x="11704" y="7347"/>
                      <a:pt x="10712" y="7347"/>
                    </a:cubicBezTo>
                    <a:cubicBezTo>
                      <a:pt x="9721" y="7347"/>
                      <a:pt x="8917" y="6051"/>
                      <a:pt x="8917" y="4452"/>
                    </a:cubicBezTo>
                    <a:cubicBezTo>
                      <a:pt x="8917" y="3749"/>
                      <a:pt x="9072" y="3103"/>
                      <a:pt x="9330" y="2601"/>
                    </a:cubicBezTo>
                    <a:cubicBezTo>
                      <a:pt x="9447" y="2328"/>
                      <a:pt x="9738" y="1588"/>
                      <a:pt x="9703" y="1085"/>
                    </a:cubicBezTo>
                    <a:cubicBezTo>
                      <a:pt x="9703" y="1085"/>
                      <a:pt x="9648" y="445"/>
                      <a:pt x="9318" y="0"/>
                    </a:cubicBezTo>
                    <a:lnTo>
                      <a:pt x="4970" y="0"/>
                    </a:ln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92" name="Puzzle Piece"/>
              <p:cNvSpPr/>
              <p:nvPr/>
            </p:nvSpPr>
            <p:spPr>
              <a:xfrm rot="6519746">
                <a:off x="474591" y="1290298"/>
                <a:ext cx="353478" cy="207282"/>
              </a:xfrm>
              <a:custGeom>
                <a:avLst/>
                <a:gdLst/>
                <a:ahLst/>
                <a:cxnLst>
                  <a:cxn ang="0">
                    <a:pos x="wd2" y="hd2"/>
                  </a:cxn>
                  <a:cxn ang="5400000">
                    <a:pos x="wd2" y="hd2"/>
                  </a:cxn>
                  <a:cxn ang="10800000">
                    <a:pos x="wd2" y="hd2"/>
                  </a:cxn>
                  <a:cxn ang="16200000">
                    <a:pos x="wd2" y="hd2"/>
                  </a:cxn>
                </a:cxnLst>
                <a:rect l="0" t="0" r="r" b="b"/>
                <a:pathLst>
                  <a:path w="21600" h="21600" extrusionOk="0">
                    <a:moveTo>
                      <a:pt x="4970" y="0"/>
                    </a:moveTo>
                    <a:cubicBezTo>
                      <a:pt x="4727" y="0"/>
                      <a:pt x="4529" y="339"/>
                      <a:pt x="4529" y="754"/>
                    </a:cubicBezTo>
                    <a:lnTo>
                      <a:pt x="4529" y="7491"/>
                    </a:lnTo>
                    <a:cubicBezTo>
                      <a:pt x="4382" y="8825"/>
                      <a:pt x="3672" y="8999"/>
                      <a:pt x="3672" y="8999"/>
                    </a:cubicBezTo>
                    <a:cubicBezTo>
                      <a:pt x="3377" y="9059"/>
                      <a:pt x="2943" y="8562"/>
                      <a:pt x="2783" y="8363"/>
                    </a:cubicBezTo>
                    <a:cubicBezTo>
                      <a:pt x="2489" y="7923"/>
                      <a:pt x="2110" y="7658"/>
                      <a:pt x="1698" y="7658"/>
                    </a:cubicBezTo>
                    <a:cubicBezTo>
                      <a:pt x="760" y="7658"/>
                      <a:pt x="0" y="9026"/>
                      <a:pt x="0" y="10717"/>
                    </a:cubicBezTo>
                    <a:cubicBezTo>
                      <a:pt x="0" y="12407"/>
                      <a:pt x="760" y="13778"/>
                      <a:pt x="1698" y="13778"/>
                    </a:cubicBezTo>
                    <a:cubicBezTo>
                      <a:pt x="2082" y="13778"/>
                      <a:pt x="2436" y="13545"/>
                      <a:pt x="2720" y="13157"/>
                    </a:cubicBezTo>
                    <a:lnTo>
                      <a:pt x="2720" y="13160"/>
                    </a:lnTo>
                    <a:cubicBezTo>
                      <a:pt x="2746" y="13124"/>
                      <a:pt x="3313" y="12370"/>
                      <a:pt x="3672" y="12443"/>
                    </a:cubicBezTo>
                    <a:cubicBezTo>
                      <a:pt x="3672" y="12443"/>
                      <a:pt x="4382" y="12617"/>
                      <a:pt x="4529" y="13951"/>
                    </a:cubicBezTo>
                    <a:lnTo>
                      <a:pt x="4529" y="20846"/>
                    </a:lnTo>
                    <a:cubicBezTo>
                      <a:pt x="4529" y="21260"/>
                      <a:pt x="4727" y="21600"/>
                      <a:pt x="4970" y="21600"/>
                    </a:cubicBezTo>
                    <a:lnTo>
                      <a:pt x="9322" y="21600"/>
                    </a:lnTo>
                    <a:cubicBezTo>
                      <a:pt x="9749" y="21162"/>
                      <a:pt x="9815" y="20388"/>
                      <a:pt x="9815" y="20388"/>
                    </a:cubicBezTo>
                    <a:cubicBezTo>
                      <a:pt x="9857" y="19778"/>
                      <a:pt x="9419" y="18814"/>
                      <a:pt x="9396" y="18765"/>
                    </a:cubicBezTo>
                    <a:lnTo>
                      <a:pt x="9394" y="18763"/>
                    </a:lnTo>
                    <a:cubicBezTo>
                      <a:pt x="9168" y="18278"/>
                      <a:pt x="9032" y="17676"/>
                      <a:pt x="9032" y="17022"/>
                    </a:cubicBezTo>
                    <a:cubicBezTo>
                      <a:pt x="9032" y="15422"/>
                      <a:pt x="9836" y="14124"/>
                      <a:pt x="10827" y="14124"/>
                    </a:cubicBezTo>
                    <a:cubicBezTo>
                      <a:pt x="11818" y="14124"/>
                      <a:pt x="12621" y="15422"/>
                      <a:pt x="12621" y="17022"/>
                    </a:cubicBezTo>
                    <a:cubicBezTo>
                      <a:pt x="12621" y="17724"/>
                      <a:pt x="12467" y="18368"/>
                      <a:pt x="12209" y="18869"/>
                    </a:cubicBezTo>
                    <a:cubicBezTo>
                      <a:pt x="12092" y="19143"/>
                      <a:pt x="11799" y="19886"/>
                      <a:pt x="11834" y="20388"/>
                    </a:cubicBezTo>
                    <a:cubicBezTo>
                      <a:pt x="11834" y="20388"/>
                      <a:pt x="11900" y="21162"/>
                      <a:pt x="12327" y="21600"/>
                    </a:cubicBezTo>
                    <a:lnTo>
                      <a:pt x="16679" y="21600"/>
                    </a:lnTo>
                    <a:cubicBezTo>
                      <a:pt x="16922" y="21600"/>
                      <a:pt x="17120" y="21261"/>
                      <a:pt x="17120" y="20846"/>
                    </a:cubicBezTo>
                    <a:lnTo>
                      <a:pt x="17120" y="13499"/>
                    </a:lnTo>
                    <a:cubicBezTo>
                      <a:pt x="17332" y="12447"/>
                      <a:pt x="17928" y="12299"/>
                      <a:pt x="17928" y="12299"/>
                    </a:cubicBezTo>
                    <a:cubicBezTo>
                      <a:pt x="18223" y="12239"/>
                      <a:pt x="18657" y="12736"/>
                      <a:pt x="18817" y="12935"/>
                    </a:cubicBezTo>
                    <a:cubicBezTo>
                      <a:pt x="19111" y="13375"/>
                      <a:pt x="19490" y="13640"/>
                      <a:pt x="19902" y="13640"/>
                    </a:cubicBezTo>
                    <a:cubicBezTo>
                      <a:pt x="20840" y="13640"/>
                      <a:pt x="21600" y="12272"/>
                      <a:pt x="21600" y="10581"/>
                    </a:cubicBezTo>
                    <a:cubicBezTo>
                      <a:pt x="21600" y="8891"/>
                      <a:pt x="20840" y="7519"/>
                      <a:pt x="19902" y="7519"/>
                    </a:cubicBezTo>
                    <a:cubicBezTo>
                      <a:pt x="19518" y="7519"/>
                      <a:pt x="19164" y="7753"/>
                      <a:pt x="18880" y="8141"/>
                    </a:cubicBezTo>
                    <a:lnTo>
                      <a:pt x="18880" y="8138"/>
                    </a:lnTo>
                    <a:cubicBezTo>
                      <a:pt x="18854" y="8174"/>
                      <a:pt x="18287" y="8928"/>
                      <a:pt x="17928" y="8855"/>
                    </a:cubicBezTo>
                    <a:cubicBezTo>
                      <a:pt x="17928" y="8855"/>
                      <a:pt x="17332" y="8707"/>
                      <a:pt x="17120" y="7655"/>
                    </a:cubicBezTo>
                    <a:lnTo>
                      <a:pt x="17120" y="754"/>
                    </a:lnTo>
                    <a:cubicBezTo>
                      <a:pt x="17120" y="340"/>
                      <a:pt x="16921" y="0"/>
                      <a:pt x="16678" y="0"/>
                    </a:cubicBezTo>
                    <a:lnTo>
                      <a:pt x="12109" y="0"/>
                    </a:lnTo>
                    <a:cubicBezTo>
                      <a:pt x="11780" y="445"/>
                      <a:pt x="11725" y="1085"/>
                      <a:pt x="11725" y="1085"/>
                    </a:cubicBezTo>
                    <a:cubicBezTo>
                      <a:pt x="11682" y="1697"/>
                      <a:pt x="12124" y="2664"/>
                      <a:pt x="12145" y="2708"/>
                    </a:cubicBezTo>
                    <a:lnTo>
                      <a:pt x="12142" y="2708"/>
                    </a:lnTo>
                    <a:cubicBezTo>
                      <a:pt x="12369" y="3193"/>
                      <a:pt x="12506" y="3796"/>
                      <a:pt x="12506" y="4452"/>
                    </a:cubicBezTo>
                    <a:cubicBezTo>
                      <a:pt x="12506" y="6051"/>
                      <a:pt x="11704" y="7347"/>
                      <a:pt x="10712" y="7347"/>
                    </a:cubicBezTo>
                    <a:cubicBezTo>
                      <a:pt x="9721" y="7347"/>
                      <a:pt x="8917" y="6051"/>
                      <a:pt x="8917" y="4452"/>
                    </a:cubicBezTo>
                    <a:cubicBezTo>
                      <a:pt x="8917" y="3749"/>
                      <a:pt x="9072" y="3103"/>
                      <a:pt x="9330" y="2601"/>
                    </a:cubicBezTo>
                    <a:cubicBezTo>
                      <a:pt x="9447" y="2328"/>
                      <a:pt x="9738" y="1588"/>
                      <a:pt x="9703" y="1085"/>
                    </a:cubicBezTo>
                    <a:cubicBezTo>
                      <a:pt x="9703" y="1085"/>
                      <a:pt x="9648" y="445"/>
                      <a:pt x="9318" y="0"/>
                    </a:cubicBezTo>
                    <a:lnTo>
                      <a:pt x="4970" y="0"/>
                    </a:ln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93" name="Puzzle Piece"/>
              <p:cNvSpPr/>
              <p:nvPr/>
            </p:nvSpPr>
            <p:spPr>
              <a:xfrm>
                <a:off x="701566" y="990322"/>
                <a:ext cx="244294" cy="245172"/>
              </a:xfrm>
              <a:custGeom>
                <a:avLst/>
                <a:gdLst/>
                <a:ahLst/>
                <a:cxnLst>
                  <a:cxn ang="0">
                    <a:pos x="wd2" y="hd2"/>
                  </a:cxn>
                  <a:cxn ang="5400000">
                    <a:pos x="wd2" y="hd2"/>
                  </a:cxn>
                  <a:cxn ang="10800000">
                    <a:pos x="wd2" y="hd2"/>
                  </a:cxn>
                  <a:cxn ang="16200000">
                    <a:pos x="wd2" y="hd2"/>
                  </a:cxn>
                </a:cxnLst>
                <a:rect l="0" t="0" r="r" b="b"/>
                <a:pathLst>
                  <a:path w="21600" h="21600" extrusionOk="0">
                    <a:moveTo>
                      <a:pt x="559" y="0"/>
                    </a:moveTo>
                    <a:cubicBezTo>
                      <a:pt x="251" y="0"/>
                      <a:pt x="0" y="250"/>
                      <a:pt x="0" y="557"/>
                    </a:cubicBezTo>
                    <a:lnTo>
                      <a:pt x="0" y="15411"/>
                    </a:lnTo>
                    <a:cubicBezTo>
                      <a:pt x="0" y="15717"/>
                      <a:pt x="251" y="15967"/>
                      <a:pt x="559" y="15967"/>
                    </a:cubicBezTo>
                    <a:lnTo>
                      <a:pt x="5699" y="15967"/>
                    </a:lnTo>
                    <a:cubicBezTo>
                      <a:pt x="6442" y="16247"/>
                      <a:pt x="6547" y="16971"/>
                      <a:pt x="6547" y="16971"/>
                    </a:cubicBezTo>
                    <a:cubicBezTo>
                      <a:pt x="6592" y="17343"/>
                      <a:pt x="6223" y="17890"/>
                      <a:pt x="6075" y="18092"/>
                    </a:cubicBezTo>
                    <a:cubicBezTo>
                      <a:pt x="5749" y="18463"/>
                      <a:pt x="5552" y="18940"/>
                      <a:pt x="5552" y="19460"/>
                    </a:cubicBezTo>
                    <a:cubicBezTo>
                      <a:pt x="5552" y="20642"/>
                      <a:pt x="6569" y="21600"/>
                      <a:pt x="7823" y="21600"/>
                    </a:cubicBezTo>
                    <a:cubicBezTo>
                      <a:pt x="9077" y="21600"/>
                      <a:pt x="10095" y="20642"/>
                      <a:pt x="10095" y="19460"/>
                    </a:cubicBezTo>
                    <a:cubicBezTo>
                      <a:pt x="10095" y="18976"/>
                      <a:pt x="9923" y="18530"/>
                      <a:pt x="9636" y="18172"/>
                    </a:cubicBezTo>
                    <a:lnTo>
                      <a:pt x="9634" y="18170"/>
                    </a:lnTo>
                    <a:cubicBezTo>
                      <a:pt x="9604" y="18133"/>
                      <a:pt x="9050" y="17422"/>
                      <a:pt x="9104" y="16971"/>
                    </a:cubicBezTo>
                    <a:cubicBezTo>
                      <a:pt x="9104" y="16971"/>
                      <a:pt x="9211" y="16247"/>
                      <a:pt x="9955" y="15967"/>
                    </a:cubicBezTo>
                    <a:lnTo>
                      <a:pt x="15373" y="15967"/>
                    </a:lnTo>
                    <a:cubicBezTo>
                      <a:pt x="15681" y="15967"/>
                      <a:pt x="15932" y="15717"/>
                      <a:pt x="15932" y="15411"/>
                    </a:cubicBezTo>
                    <a:lnTo>
                      <a:pt x="15932" y="9979"/>
                    </a:lnTo>
                    <a:cubicBezTo>
                      <a:pt x="16201" y="9201"/>
                      <a:pt x="16953" y="9092"/>
                      <a:pt x="16953" y="9092"/>
                    </a:cubicBezTo>
                    <a:cubicBezTo>
                      <a:pt x="17326" y="9047"/>
                      <a:pt x="17877" y="9415"/>
                      <a:pt x="18080" y="9562"/>
                    </a:cubicBezTo>
                    <a:cubicBezTo>
                      <a:pt x="18452" y="9888"/>
                      <a:pt x="18930" y="10084"/>
                      <a:pt x="19452" y="10084"/>
                    </a:cubicBezTo>
                    <a:cubicBezTo>
                      <a:pt x="20639" y="10084"/>
                      <a:pt x="21600" y="9070"/>
                      <a:pt x="21600" y="7820"/>
                    </a:cubicBezTo>
                    <a:cubicBezTo>
                      <a:pt x="21600" y="6571"/>
                      <a:pt x="20639" y="5559"/>
                      <a:pt x="19452" y="5559"/>
                    </a:cubicBezTo>
                    <a:cubicBezTo>
                      <a:pt x="18965" y="5559"/>
                      <a:pt x="18518" y="5731"/>
                      <a:pt x="18158" y="6018"/>
                    </a:cubicBezTo>
                    <a:lnTo>
                      <a:pt x="18158" y="6015"/>
                    </a:lnTo>
                    <a:cubicBezTo>
                      <a:pt x="18125" y="6041"/>
                      <a:pt x="17407" y="6598"/>
                      <a:pt x="16953" y="6544"/>
                    </a:cubicBezTo>
                    <a:cubicBezTo>
                      <a:pt x="16953" y="6544"/>
                      <a:pt x="16201" y="6436"/>
                      <a:pt x="15932" y="5658"/>
                    </a:cubicBezTo>
                    <a:lnTo>
                      <a:pt x="15932" y="557"/>
                    </a:lnTo>
                    <a:cubicBezTo>
                      <a:pt x="15932" y="250"/>
                      <a:pt x="15681" y="0"/>
                      <a:pt x="15373" y="0"/>
                    </a:cubicBezTo>
                    <a:lnTo>
                      <a:pt x="9592" y="0"/>
                    </a:lnTo>
                    <a:cubicBezTo>
                      <a:pt x="9174" y="329"/>
                      <a:pt x="9104" y="800"/>
                      <a:pt x="9104" y="800"/>
                    </a:cubicBezTo>
                    <a:cubicBezTo>
                      <a:pt x="9050" y="1253"/>
                      <a:pt x="9609" y="1969"/>
                      <a:pt x="9636" y="2001"/>
                    </a:cubicBezTo>
                    <a:lnTo>
                      <a:pt x="9634" y="2001"/>
                    </a:lnTo>
                    <a:cubicBezTo>
                      <a:pt x="9922" y="2360"/>
                      <a:pt x="10095" y="2804"/>
                      <a:pt x="10095" y="3289"/>
                    </a:cubicBezTo>
                    <a:cubicBezTo>
                      <a:pt x="10095" y="4471"/>
                      <a:pt x="9077" y="5431"/>
                      <a:pt x="7823" y="5431"/>
                    </a:cubicBezTo>
                    <a:cubicBezTo>
                      <a:pt x="6569" y="5431"/>
                      <a:pt x="5552" y="4471"/>
                      <a:pt x="5552" y="3289"/>
                    </a:cubicBezTo>
                    <a:cubicBezTo>
                      <a:pt x="5552" y="2769"/>
                      <a:pt x="5749" y="2294"/>
                      <a:pt x="6075" y="1924"/>
                    </a:cubicBezTo>
                    <a:cubicBezTo>
                      <a:pt x="6223" y="1721"/>
                      <a:pt x="6592" y="1172"/>
                      <a:pt x="6547" y="800"/>
                    </a:cubicBezTo>
                    <a:cubicBezTo>
                      <a:pt x="6547" y="800"/>
                      <a:pt x="6479" y="329"/>
                      <a:pt x="6061" y="0"/>
                    </a:cubicBezTo>
                    <a:lnTo>
                      <a:pt x="559" y="0"/>
                    </a:lnTo>
                    <a:close/>
                  </a:path>
                </a:pathLst>
              </a:custGeom>
              <a:solidFill>
                <a:srgbClr val="929292"/>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94" name="Puzzle Piece"/>
              <p:cNvSpPr/>
              <p:nvPr/>
            </p:nvSpPr>
            <p:spPr>
              <a:xfrm rot="7616283">
                <a:off x="1130189" y="761220"/>
                <a:ext cx="353477" cy="207281"/>
              </a:xfrm>
              <a:custGeom>
                <a:avLst/>
                <a:gdLst/>
                <a:ahLst/>
                <a:cxnLst>
                  <a:cxn ang="0">
                    <a:pos x="wd2" y="hd2"/>
                  </a:cxn>
                  <a:cxn ang="5400000">
                    <a:pos x="wd2" y="hd2"/>
                  </a:cxn>
                  <a:cxn ang="10800000">
                    <a:pos x="wd2" y="hd2"/>
                  </a:cxn>
                  <a:cxn ang="16200000">
                    <a:pos x="wd2" y="hd2"/>
                  </a:cxn>
                </a:cxnLst>
                <a:rect l="0" t="0" r="r" b="b"/>
                <a:pathLst>
                  <a:path w="21600" h="21600" extrusionOk="0">
                    <a:moveTo>
                      <a:pt x="4970" y="0"/>
                    </a:moveTo>
                    <a:cubicBezTo>
                      <a:pt x="4727" y="0"/>
                      <a:pt x="4529" y="339"/>
                      <a:pt x="4529" y="754"/>
                    </a:cubicBezTo>
                    <a:lnTo>
                      <a:pt x="4529" y="7491"/>
                    </a:lnTo>
                    <a:cubicBezTo>
                      <a:pt x="4382" y="8825"/>
                      <a:pt x="3672" y="8999"/>
                      <a:pt x="3672" y="8999"/>
                    </a:cubicBezTo>
                    <a:cubicBezTo>
                      <a:pt x="3377" y="9059"/>
                      <a:pt x="2943" y="8562"/>
                      <a:pt x="2783" y="8363"/>
                    </a:cubicBezTo>
                    <a:cubicBezTo>
                      <a:pt x="2489" y="7923"/>
                      <a:pt x="2110" y="7658"/>
                      <a:pt x="1698" y="7658"/>
                    </a:cubicBezTo>
                    <a:cubicBezTo>
                      <a:pt x="760" y="7658"/>
                      <a:pt x="0" y="9026"/>
                      <a:pt x="0" y="10717"/>
                    </a:cubicBezTo>
                    <a:cubicBezTo>
                      <a:pt x="0" y="12407"/>
                      <a:pt x="760" y="13778"/>
                      <a:pt x="1698" y="13778"/>
                    </a:cubicBezTo>
                    <a:cubicBezTo>
                      <a:pt x="2082" y="13778"/>
                      <a:pt x="2436" y="13545"/>
                      <a:pt x="2720" y="13157"/>
                    </a:cubicBezTo>
                    <a:lnTo>
                      <a:pt x="2720" y="13160"/>
                    </a:lnTo>
                    <a:cubicBezTo>
                      <a:pt x="2746" y="13124"/>
                      <a:pt x="3313" y="12370"/>
                      <a:pt x="3672" y="12443"/>
                    </a:cubicBezTo>
                    <a:cubicBezTo>
                      <a:pt x="3672" y="12443"/>
                      <a:pt x="4382" y="12617"/>
                      <a:pt x="4529" y="13951"/>
                    </a:cubicBezTo>
                    <a:lnTo>
                      <a:pt x="4529" y="20846"/>
                    </a:lnTo>
                    <a:cubicBezTo>
                      <a:pt x="4529" y="21260"/>
                      <a:pt x="4727" y="21600"/>
                      <a:pt x="4970" y="21600"/>
                    </a:cubicBezTo>
                    <a:lnTo>
                      <a:pt x="9322" y="21600"/>
                    </a:lnTo>
                    <a:cubicBezTo>
                      <a:pt x="9749" y="21162"/>
                      <a:pt x="9815" y="20388"/>
                      <a:pt x="9815" y="20388"/>
                    </a:cubicBezTo>
                    <a:cubicBezTo>
                      <a:pt x="9857" y="19778"/>
                      <a:pt x="9419" y="18814"/>
                      <a:pt x="9396" y="18765"/>
                    </a:cubicBezTo>
                    <a:lnTo>
                      <a:pt x="9394" y="18763"/>
                    </a:lnTo>
                    <a:cubicBezTo>
                      <a:pt x="9168" y="18278"/>
                      <a:pt x="9032" y="17676"/>
                      <a:pt x="9032" y="17022"/>
                    </a:cubicBezTo>
                    <a:cubicBezTo>
                      <a:pt x="9032" y="15422"/>
                      <a:pt x="9836" y="14124"/>
                      <a:pt x="10827" y="14124"/>
                    </a:cubicBezTo>
                    <a:cubicBezTo>
                      <a:pt x="11818" y="14124"/>
                      <a:pt x="12621" y="15422"/>
                      <a:pt x="12621" y="17022"/>
                    </a:cubicBezTo>
                    <a:cubicBezTo>
                      <a:pt x="12621" y="17724"/>
                      <a:pt x="12467" y="18368"/>
                      <a:pt x="12209" y="18869"/>
                    </a:cubicBezTo>
                    <a:cubicBezTo>
                      <a:pt x="12092" y="19143"/>
                      <a:pt x="11799" y="19886"/>
                      <a:pt x="11834" y="20388"/>
                    </a:cubicBezTo>
                    <a:cubicBezTo>
                      <a:pt x="11834" y="20388"/>
                      <a:pt x="11900" y="21162"/>
                      <a:pt x="12327" y="21600"/>
                    </a:cubicBezTo>
                    <a:lnTo>
                      <a:pt x="16679" y="21600"/>
                    </a:lnTo>
                    <a:cubicBezTo>
                      <a:pt x="16922" y="21600"/>
                      <a:pt x="17120" y="21261"/>
                      <a:pt x="17120" y="20846"/>
                    </a:cubicBezTo>
                    <a:lnTo>
                      <a:pt x="17120" y="13499"/>
                    </a:lnTo>
                    <a:cubicBezTo>
                      <a:pt x="17332" y="12447"/>
                      <a:pt x="17928" y="12299"/>
                      <a:pt x="17928" y="12299"/>
                    </a:cubicBezTo>
                    <a:cubicBezTo>
                      <a:pt x="18223" y="12239"/>
                      <a:pt x="18657" y="12736"/>
                      <a:pt x="18817" y="12935"/>
                    </a:cubicBezTo>
                    <a:cubicBezTo>
                      <a:pt x="19111" y="13375"/>
                      <a:pt x="19490" y="13640"/>
                      <a:pt x="19902" y="13640"/>
                    </a:cubicBezTo>
                    <a:cubicBezTo>
                      <a:pt x="20840" y="13640"/>
                      <a:pt x="21600" y="12272"/>
                      <a:pt x="21600" y="10581"/>
                    </a:cubicBezTo>
                    <a:cubicBezTo>
                      <a:pt x="21600" y="8891"/>
                      <a:pt x="20840" y="7519"/>
                      <a:pt x="19902" y="7519"/>
                    </a:cubicBezTo>
                    <a:cubicBezTo>
                      <a:pt x="19518" y="7519"/>
                      <a:pt x="19164" y="7753"/>
                      <a:pt x="18880" y="8141"/>
                    </a:cubicBezTo>
                    <a:lnTo>
                      <a:pt x="18880" y="8138"/>
                    </a:lnTo>
                    <a:cubicBezTo>
                      <a:pt x="18854" y="8174"/>
                      <a:pt x="18287" y="8928"/>
                      <a:pt x="17928" y="8855"/>
                    </a:cubicBezTo>
                    <a:cubicBezTo>
                      <a:pt x="17928" y="8855"/>
                      <a:pt x="17332" y="8707"/>
                      <a:pt x="17120" y="7655"/>
                    </a:cubicBezTo>
                    <a:lnTo>
                      <a:pt x="17120" y="754"/>
                    </a:lnTo>
                    <a:cubicBezTo>
                      <a:pt x="17120" y="340"/>
                      <a:pt x="16921" y="0"/>
                      <a:pt x="16678" y="0"/>
                    </a:cubicBezTo>
                    <a:lnTo>
                      <a:pt x="12109" y="0"/>
                    </a:lnTo>
                    <a:cubicBezTo>
                      <a:pt x="11780" y="445"/>
                      <a:pt x="11725" y="1085"/>
                      <a:pt x="11725" y="1085"/>
                    </a:cubicBezTo>
                    <a:cubicBezTo>
                      <a:pt x="11682" y="1697"/>
                      <a:pt x="12124" y="2664"/>
                      <a:pt x="12145" y="2708"/>
                    </a:cubicBezTo>
                    <a:lnTo>
                      <a:pt x="12142" y="2708"/>
                    </a:lnTo>
                    <a:cubicBezTo>
                      <a:pt x="12369" y="3193"/>
                      <a:pt x="12506" y="3796"/>
                      <a:pt x="12506" y="4452"/>
                    </a:cubicBezTo>
                    <a:cubicBezTo>
                      <a:pt x="12506" y="6051"/>
                      <a:pt x="11704" y="7347"/>
                      <a:pt x="10712" y="7347"/>
                    </a:cubicBezTo>
                    <a:cubicBezTo>
                      <a:pt x="9721" y="7347"/>
                      <a:pt x="8917" y="6051"/>
                      <a:pt x="8917" y="4452"/>
                    </a:cubicBezTo>
                    <a:cubicBezTo>
                      <a:pt x="8917" y="3749"/>
                      <a:pt x="9072" y="3103"/>
                      <a:pt x="9330" y="2601"/>
                    </a:cubicBezTo>
                    <a:cubicBezTo>
                      <a:pt x="9447" y="2328"/>
                      <a:pt x="9738" y="1588"/>
                      <a:pt x="9703" y="1085"/>
                    </a:cubicBezTo>
                    <a:cubicBezTo>
                      <a:pt x="9703" y="1085"/>
                      <a:pt x="9648" y="445"/>
                      <a:pt x="9318" y="0"/>
                    </a:cubicBezTo>
                    <a:lnTo>
                      <a:pt x="4970" y="0"/>
                    </a:ln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95" name="Puzzle Piece"/>
              <p:cNvSpPr/>
              <p:nvPr/>
            </p:nvSpPr>
            <p:spPr>
              <a:xfrm rot="11634474">
                <a:off x="1233705" y="473677"/>
                <a:ext cx="353477" cy="207282"/>
              </a:xfrm>
              <a:custGeom>
                <a:avLst/>
                <a:gdLst/>
                <a:ahLst/>
                <a:cxnLst>
                  <a:cxn ang="0">
                    <a:pos x="wd2" y="hd2"/>
                  </a:cxn>
                  <a:cxn ang="5400000">
                    <a:pos x="wd2" y="hd2"/>
                  </a:cxn>
                  <a:cxn ang="10800000">
                    <a:pos x="wd2" y="hd2"/>
                  </a:cxn>
                  <a:cxn ang="16200000">
                    <a:pos x="wd2" y="hd2"/>
                  </a:cxn>
                </a:cxnLst>
                <a:rect l="0" t="0" r="r" b="b"/>
                <a:pathLst>
                  <a:path w="21600" h="21600" extrusionOk="0">
                    <a:moveTo>
                      <a:pt x="4970" y="0"/>
                    </a:moveTo>
                    <a:cubicBezTo>
                      <a:pt x="4727" y="0"/>
                      <a:pt x="4529" y="339"/>
                      <a:pt x="4529" y="754"/>
                    </a:cubicBezTo>
                    <a:lnTo>
                      <a:pt x="4529" y="7491"/>
                    </a:lnTo>
                    <a:cubicBezTo>
                      <a:pt x="4382" y="8825"/>
                      <a:pt x="3672" y="8999"/>
                      <a:pt x="3672" y="8999"/>
                    </a:cubicBezTo>
                    <a:cubicBezTo>
                      <a:pt x="3377" y="9059"/>
                      <a:pt x="2943" y="8562"/>
                      <a:pt x="2783" y="8363"/>
                    </a:cubicBezTo>
                    <a:cubicBezTo>
                      <a:pt x="2489" y="7923"/>
                      <a:pt x="2110" y="7658"/>
                      <a:pt x="1698" y="7658"/>
                    </a:cubicBezTo>
                    <a:cubicBezTo>
                      <a:pt x="760" y="7658"/>
                      <a:pt x="0" y="9026"/>
                      <a:pt x="0" y="10717"/>
                    </a:cubicBezTo>
                    <a:cubicBezTo>
                      <a:pt x="0" y="12407"/>
                      <a:pt x="760" y="13778"/>
                      <a:pt x="1698" y="13778"/>
                    </a:cubicBezTo>
                    <a:cubicBezTo>
                      <a:pt x="2082" y="13778"/>
                      <a:pt x="2436" y="13545"/>
                      <a:pt x="2720" y="13157"/>
                    </a:cubicBezTo>
                    <a:lnTo>
                      <a:pt x="2720" y="13160"/>
                    </a:lnTo>
                    <a:cubicBezTo>
                      <a:pt x="2746" y="13124"/>
                      <a:pt x="3313" y="12370"/>
                      <a:pt x="3672" y="12443"/>
                    </a:cubicBezTo>
                    <a:cubicBezTo>
                      <a:pt x="3672" y="12443"/>
                      <a:pt x="4382" y="12617"/>
                      <a:pt x="4529" y="13951"/>
                    </a:cubicBezTo>
                    <a:lnTo>
                      <a:pt x="4529" y="20846"/>
                    </a:lnTo>
                    <a:cubicBezTo>
                      <a:pt x="4529" y="21260"/>
                      <a:pt x="4727" y="21600"/>
                      <a:pt x="4970" y="21600"/>
                    </a:cubicBezTo>
                    <a:lnTo>
                      <a:pt x="9322" y="21600"/>
                    </a:lnTo>
                    <a:cubicBezTo>
                      <a:pt x="9749" y="21162"/>
                      <a:pt x="9815" y="20388"/>
                      <a:pt x="9815" y="20388"/>
                    </a:cubicBezTo>
                    <a:cubicBezTo>
                      <a:pt x="9857" y="19778"/>
                      <a:pt x="9419" y="18814"/>
                      <a:pt x="9396" y="18765"/>
                    </a:cubicBezTo>
                    <a:lnTo>
                      <a:pt x="9394" y="18763"/>
                    </a:lnTo>
                    <a:cubicBezTo>
                      <a:pt x="9168" y="18278"/>
                      <a:pt x="9032" y="17676"/>
                      <a:pt x="9032" y="17022"/>
                    </a:cubicBezTo>
                    <a:cubicBezTo>
                      <a:pt x="9032" y="15422"/>
                      <a:pt x="9836" y="14124"/>
                      <a:pt x="10827" y="14124"/>
                    </a:cubicBezTo>
                    <a:cubicBezTo>
                      <a:pt x="11818" y="14124"/>
                      <a:pt x="12621" y="15422"/>
                      <a:pt x="12621" y="17022"/>
                    </a:cubicBezTo>
                    <a:cubicBezTo>
                      <a:pt x="12621" y="17724"/>
                      <a:pt x="12467" y="18368"/>
                      <a:pt x="12209" y="18869"/>
                    </a:cubicBezTo>
                    <a:cubicBezTo>
                      <a:pt x="12092" y="19143"/>
                      <a:pt x="11799" y="19886"/>
                      <a:pt x="11834" y="20388"/>
                    </a:cubicBezTo>
                    <a:cubicBezTo>
                      <a:pt x="11834" y="20388"/>
                      <a:pt x="11900" y="21162"/>
                      <a:pt x="12327" y="21600"/>
                    </a:cubicBezTo>
                    <a:lnTo>
                      <a:pt x="16679" y="21600"/>
                    </a:lnTo>
                    <a:cubicBezTo>
                      <a:pt x="16922" y="21600"/>
                      <a:pt x="17120" y="21261"/>
                      <a:pt x="17120" y="20846"/>
                    </a:cubicBezTo>
                    <a:lnTo>
                      <a:pt x="17120" y="13499"/>
                    </a:lnTo>
                    <a:cubicBezTo>
                      <a:pt x="17332" y="12447"/>
                      <a:pt x="17928" y="12299"/>
                      <a:pt x="17928" y="12299"/>
                    </a:cubicBezTo>
                    <a:cubicBezTo>
                      <a:pt x="18223" y="12239"/>
                      <a:pt x="18657" y="12736"/>
                      <a:pt x="18817" y="12935"/>
                    </a:cubicBezTo>
                    <a:cubicBezTo>
                      <a:pt x="19111" y="13375"/>
                      <a:pt x="19490" y="13640"/>
                      <a:pt x="19902" y="13640"/>
                    </a:cubicBezTo>
                    <a:cubicBezTo>
                      <a:pt x="20840" y="13640"/>
                      <a:pt x="21600" y="12272"/>
                      <a:pt x="21600" y="10581"/>
                    </a:cubicBezTo>
                    <a:cubicBezTo>
                      <a:pt x="21600" y="8891"/>
                      <a:pt x="20840" y="7519"/>
                      <a:pt x="19902" y="7519"/>
                    </a:cubicBezTo>
                    <a:cubicBezTo>
                      <a:pt x="19518" y="7519"/>
                      <a:pt x="19164" y="7753"/>
                      <a:pt x="18880" y="8141"/>
                    </a:cubicBezTo>
                    <a:lnTo>
                      <a:pt x="18880" y="8138"/>
                    </a:lnTo>
                    <a:cubicBezTo>
                      <a:pt x="18854" y="8174"/>
                      <a:pt x="18287" y="8928"/>
                      <a:pt x="17928" y="8855"/>
                    </a:cubicBezTo>
                    <a:cubicBezTo>
                      <a:pt x="17928" y="8855"/>
                      <a:pt x="17332" y="8707"/>
                      <a:pt x="17120" y="7655"/>
                    </a:cubicBezTo>
                    <a:lnTo>
                      <a:pt x="17120" y="754"/>
                    </a:lnTo>
                    <a:cubicBezTo>
                      <a:pt x="17120" y="340"/>
                      <a:pt x="16921" y="0"/>
                      <a:pt x="16678" y="0"/>
                    </a:cubicBezTo>
                    <a:lnTo>
                      <a:pt x="12109" y="0"/>
                    </a:lnTo>
                    <a:cubicBezTo>
                      <a:pt x="11780" y="445"/>
                      <a:pt x="11725" y="1085"/>
                      <a:pt x="11725" y="1085"/>
                    </a:cubicBezTo>
                    <a:cubicBezTo>
                      <a:pt x="11682" y="1697"/>
                      <a:pt x="12124" y="2664"/>
                      <a:pt x="12145" y="2708"/>
                    </a:cubicBezTo>
                    <a:lnTo>
                      <a:pt x="12142" y="2708"/>
                    </a:lnTo>
                    <a:cubicBezTo>
                      <a:pt x="12369" y="3193"/>
                      <a:pt x="12506" y="3796"/>
                      <a:pt x="12506" y="4452"/>
                    </a:cubicBezTo>
                    <a:cubicBezTo>
                      <a:pt x="12506" y="6051"/>
                      <a:pt x="11704" y="7347"/>
                      <a:pt x="10712" y="7347"/>
                    </a:cubicBezTo>
                    <a:cubicBezTo>
                      <a:pt x="9721" y="7347"/>
                      <a:pt x="8917" y="6051"/>
                      <a:pt x="8917" y="4452"/>
                    </a:cubicBezTo>
                    <a:cubicBezTo>
                      <a:pt x="8917" y="3749"/>
                      <a:pt x="9072" y="3103"/>
                      <a:pt x="9330" y="2601"/>
                    </a:cubicBezTo>
                    <a:cubicBezTo>
                      <a:pt x="9447" y="2328"/>
                      <a:pt x="9738" y="1588"/>
                      <a:pt x="9703" y="1085"/>
                    </a:cubicBezTo>
                    <a:cubicBezTo>
                      <a:pt x="9703" y="1085"/>
                      <a:pt x="9648" y="445"/>
                      <a:pt x="9318" y="0"/>
                    </a:cubicBezTo>
                    <a:lnTo>
                      <a:pt x="4970" y="0"/>
                    </a:ln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96" name="Puzzle Piece"/>
              <p:cNvSpPr/>
              <p:nvPr/>
            </p:nvSpPr>
            <p:spPr>
              <a:xfrm rot="4475912">
                <a:off x="1509765" y="1008100"/>
                <a:ext cx="354050" cy="207618"/>
              </a:xfrm>
              <a:custGeom>
                <a:avLst/>
                <a:gdLst/>
                <a:ahLst/>
                <a:cxnLst>
                  <a:cxn ang="0">
                    <a:pos x="wd2" y="hd2"/>
                  </a:cxn>
                  <a:cxn ang="5400000">
                    <a:pos x="wd2" y="hd2"/>
                  </a:cxn>
                  <a:cxn ang="10800000">
                    <a:pos x="wd2" y="hd2"/>
                  </a:cxn>
                  <a:cxn ang="16200000">
                    <a:pos x="wd2" y="hd2"/>
                  </a:cxn>
                </a:cxnLst>
                <a:rect l="0" t="0" r="r" b="b"/>
                <a:pathLst>
                  <a:path w="21600" h="21600" extrusionOk="0">
                    <a:moveTo>
                      <a:pt x="4970" y="0"/>
                    </a:moveTo>
                    <a:cubicBezTo>
                      <a:pt x="4727" y="0"/>
                      <a:pt x="4529" y="339"/>
                      <a:pt x="4529" y="754"/>
                    </a:cubicBezTo>
                    <a:lnTo>
                      <a:pt x="4529" y="7491"/>
                    </a:lnTo>
                    <a:cubicBezTo>
                      <a:pt x="4382" y="8825"/>
                      <a:pt x="3672" y="8999"/>
                      <a:pt x="3672" y="8999"/>
                    </a:cubicBezTo>
                    <a:cubicBezTo>
                      <a:pt x="3377" y="9059"/>
                      <a:pt x="2943" y="8562"/>
                      <a:pt x="2783" y="8363"/>
                    </a:cubicBezTo>
                    <a:cubicBezTo>
                      <a:pt x="2489" y="7923"/>
                      <a:pt x="2110" y="7658"/>
                      <a:pt x="1698" y="7658"/>
                    </a:cubicBezTo>
                    <a:cubicBezTo>
                      <a:pt x="760" y="7658"/>
                      <a:pt x="0" y="9026"/>
                      <a:pt x="0" y="10717"/>
                    </a:cubicBezTo>
                    <a:cubicBezTo>
                      <a:pt x="0" y="12407"/>
                      <a:pt x="760" y="13778"/>
                      <a:pt x="1698" y="13778"/>
                    </a:cubicBezTo>
                    <a:cubicBezTo>
                      <a:pt x="2082" y="13778"/>
                      <a:pt x="2436" y="13545"/>
                      <a:pt x="2720" y="13157"/>
                    </a:cubicBezTo>
                    <a:lnTo>
                      <a:pt x="2720" y="13160"/>
                    </a:lnTo>
                    <a:cubicBezTo>
                      <a:pt x="2746" y="13124"/>
                      <a:pt x="3313" y="12370"/>
                      <a:pt x="3672" y="12443"/>
                    </a:cubicBezTo>
                    <a:cubicBezTo>
                      <a:pt x="3672" y="12443"/>
                      <a:pt x="4382" y="12617"/>
                      <a:pt x="4529" y="13951"/>
                    </a:cubicBezTo>
                    <a:lnTo>
                      <a:pt x="4529" y="20846"/>
                    </a:lnTo>
                    <a:cubicBezTo>
                      <a:pt x="4529" y="21260"/>
                      <a:pt x="4727" y="21600"/>
                      <a:pt x="4970" y="21600"/>
                    </a:cubicBezTo>
                    <a:lnTo>
                      <a:pt x="9322" y="21600"/>
                    </a:lnTo>
                    <a:cubicBezTo>
                      <a:pt x="9749" y="21162"/>
                      <a:pt x="9814" y="20388"/>
                      <a:pt x="9814" y="20388"/>
                    </a:cubicBezTo>
                    <a:cubicBezTo>
                      <a:pt x="9857" y="19778"/>
                      <a:pt x="9419" y="18814"/>
                      <a:pt x="9396" y="18765"/>
                    </a:cubicBezTo>
                    <a:lnTo>
                      <a:pt x="9394" y="18763"/>
                    </a:lnTo>
                    <a:cubicBezTo>
                      <a:pt x="9168" y="18278"/>
                      <a:pt x="9031" y="17676"/>
                      <a:pt x="9031" y="17022"/>
                    </a:cubicBezTo>
                    <a:cubicBezTo>
                      <a:pt x="9031" y="15422"/>
                      <a:pt x="9836" y="14124"/>
                      <a:pt x="10827" y="14124"/>
                    </a:cubicBezTo>
                    <a:cubicBezTo>
                      <a:pt x="11818" y="14124"/>
                      <a:pt x="12621" y="15422"/>
                      <a:pt x="12621" y="17022"/>
                    </a:cubicBezTo>
                    <a:cubicBezTo>
                      <a:pt x="12621" y="17724"/>
                      <a:pt x="12467" y="18368"/>
                      <a:pt x="12209" y="18869"/>
                    </a:cubicBezTo>
                    <a:cubicBezTo>
                      <a:pt x="12092" y="19143"/>
                      <a:pt x="11799" y="19886"/>
                      <a:pt x="11834" y="20388"/>
                    </a:cubicBezTo>
                    <a:cubicBezTo>
                      <a:pt x="11834" y="20388"/>
                      <a:pt x="11900" y="21162"/>
                      <a:pt x="12327" y="21600"/>
                    </a:cubicBezTo>
                    <a:lnTo>
                      <a:pt x="16679" y="21600"/>
                    </a:lnTo>
                    <a:cubicBezTo>
                      <a:pt x="16922" y="21600"/>
                      <a:pt x="17120" y="21261"/>
                      <a:pt x="17120" y="20846"/>
                    </a:cubicBezTo>
                    <a:lnTo>
                      <a:pt x="17120" y="13499"/>
                    </a:lnTo>
                    <a:cubicBezTo>
                      <a:pt x="17332" y="12447"/>
                      <a:pt x="17928" y="12299"/>
                      <a:pt x="17928" y="12299"/>
                    </a:cubicBezTo>
                    <a:cubicBezTo>
                      <a:pt x="18223" y="12239"/>
                      <a:pt x="18657" y="12736"/>
                      <a:pt x="18817" y="12935"/>
                    </a:cubicBezTo>
                    <a:cubicBezTo>
                      <a:pt x="19111" y="13375"/>
                      <a:pt x="19490" y="13640"/>
                      <a:pt x="19902" y="13640"/>
                    </a:cubicBezTo>
                    <a:cubicBezTo>
                      <a:pt x="20840" y="13640"/>
                      <a:pt x="21600" y="12272"/>
                      <a:pt x="21600" y="10581"/>
                    </a:cubicBezTo>
                    <a:cubicBezTo>
                      <a:pt x="21600" y="8891"/>
                      <a:pt x="20840" y="7519"/>
                      <a:pt x="19902" y="7519"/>
                    </a:cubicBezTo>
                    <a:cubicBezTo>
                      <a:pt x="19518" y="7519"/>
                      <a:pt x="19164" y="7753"/>
                      <a:pt x="18880" y="8141"/>
                    </a:cubicBezTo>
                    <a:lnTo>
                      <a:pt x="18880" y="8138"/>
                    </a:lnTo>
                    <a:cubicBezTo>
                      <a:pt x="18854" y="8174"/>
                      <a:pt x="18287" y="8928"/>
                      <a:pt x="17928" y="8855"/>
                    </a:cubicBezTo>
                    <a:cubicBezTo>
                      <a:pt x="17928" y="8855"/>
                      <a:pt x="17332" y="8707"/>
                      <a:pt x="17120" y="7655"/>
                    </a:cubicBezTo>
                    <a:lnTo>
                      <a:pt x="17120" y="754"/>
                    </a:lnTo>
                    <a:cubicBezTo>
                      <a:pt x="17120" y="340"/>
                      <a:pt x="16921" y="0"/>
                      <a:pt x="16678" y="0"/>
                    </a:cubicBezTo>
                    <a:lnTo>
                      <a:pt x="12110" y="0"/>
                    </a:lnTo>
                    <a:cubicBezTo>
                      <a:pt x="11780" y="445"/>
                      <a:pt x="11725" y="1085"/>
                      <a:pt x="11725" y="1085"/>
                    </a:cubicBezTo>
                    <a:cubicBezTo>
                      <a:pt x="11682" y="1697"/>
                      <a:pt x="12124" y="2664"/>
                      <a:pt x="12145" y="2708"/>
                    </a:cubicBezTo>
                    <a:lnTo>
                      <a:pt x="12142" y="2708"/>
                    </a:lnTo>
                    <a:cubicBezTo>
                      <a:pt x="12369" y="3193"/>
                      <a:pt x="12506" y="3796"/>
                      <a:pt x="12506" y="4452"/>
                    </a:cubicBezTo>
                    <a:cubicBezTo>
                      <a:pt x="12506" y="6051"/>
                      <a:pt x="11704" y="7347"/>
                      <a:pt x="10712" y="7347"/>
                    </a:cubicBezTo>
                    <a:cubicBezTo>
                      <a:pt x="9721" y="7347"/>
                      <a:pt x="8917" y="6051"/>
                      <a:pt x="8917" y="4452"/>
                    </a:cubicBezTo>
                    <a:cubicBezTo>
                      <a:pt x="8917" y="3749"/>
                      <a:pt x="9072" y="3103"/>
                      <a:pt x="9330" y="2601"/>
                    </a:cubicBezTo>
                    <a:cubicBezTo>
                      <a:pt x="9447" y="2328"/>
                      <a:pt x="9738" y="1588"/>
                      <a:pt x="9703" y="1085"/>
                    </a:cubicBezTo>
                    <a:cubicBezTo>
                      <a:pt x="9703" y="1085"/>
                      <a:pt x="9648" y="445"/>
                      <a:pt x="9318" y="0"/>
                    </a:cubicBezTo>
                    <a:lnTo>
                      <a:pt x="4970" y="0"/>
                    </a:lnTo>
                    <a:close/>
                  </a:path>
                </a:pathLst>
              </a:custGeom>
              <a:solidFill>
                <a:srgbClr val="929292"/>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97" name="Puzzle Piece"/>
              <p:cNvSpPr/>
              <p:nvPr/>
            </p:nvSpPr>
            <p:spPr>
              <a:xfrm rot="13467629">
                <a:off x="1510503" y="94121"/>
                <a:ext cx="353477" cy="207282"/>
              </a:xfrm>
              <a:custGeom>
                <a:avLst/>
                <a:gdLst/>
                <a:ahLst/>
                <a:cxnLst>
                  <a:cxn ang="0">
                    <a:pos x="wd2" y="hd2"/>
                  </a:cxn>
                  <a:cxn ang="5400000">
                    <a:pos x="wd2" y="hd2"/>
                  </a:cxn>
                  <a:cxn ang="10800000">
                    <a:pos x="wd2" y="hd2"/>
                  </a:cxn>
                  <a:cxn ang="16200000">
                    <a:pos x="wd2" y="hd2"/>
                  </a:cxn>
                </a:cxnLst>
                <a:rect l="0" t="0" r="r" b="b"/>
                <a:pathLst>
                  <a:path w="21600" h="21600" extrusionOk="0">
                    <a:moveTo>
                      <a:pt x="4970" y="0"/>
                    </a:moveTo>
                    <a:cubicBezTo>
                      <a:pt x="4727" y="0"/>
                      <a:pt x="4529" y="339"/>
                      <a:pt x="4529" y="754"/>
                    </a:cubicBezTo>
                    <a:lnTo>
                      <a:pt x="4529" y="7491"/>
                    </a:lnTo>
                    <a:cubicBezTo>
                      <a:pt x="4382" y="8825"/>
                      <a:pt x="3672" y="8999"/>
                      <a:pt x="3672" y="8999"/>
                    </a:cubicBezTo>
                    <a:cubicBezTo>
                      <a:pt x="3377" y="9059"/>
                      <a:pt x="2943" y="8562"/>
                      <a:pt x="2783" y="8363"/>
                    </a:cubicBezTo>
                    <a:cubicBezTo>
                      <a:pt x="2489" y="7923"/>
                      <a:pt x="2110" y="7658"/>
                      <a:pt x="1698" y="7658"/>
                    </a:cubicBezTo>
                    <a:cubicBezTo>
                      <a:pt x="760" y="7658"/>
                      <a:pt x="0" y="9026"/>
                      <a:pt x="0" y="10717"/>
                    </a:cubicBezTo>
                    <a:cubicBezTo>
                      <a:pt x="0" y="12407"/>
                      <a:pt x="760" y="13778"/>
                      <a:pt x="1698" y="13778"/>
                    </a:cubicBezTo>
                    <a:cubicBezTo>
                      <a:pt x="2082" y="13778"/>
                      <a:pt x="2436" y="13545"/>
                      <a:pt x="2720" y="13157"/>
                    </a:cubicBezTo>
                    <a:lnTo>
                      <a:pt x="2720" y="13160"/>
                    </a:lnTo>
                    <a:cubicBezTo>
                      <a:pt x="2746" y="13124"/>
                      <a:pt x="3313" y="12370"/>
                      <a:pt x="3672" y="12443"/>
                    </a:cubicBezTo>
                    <a:cubicBezTo>
                      <a:pt x="3672" y="12443"/>
                      <a:pt x="4382" y="12617"/>
                      <a:pt x="4529" y="13951"/>
                    </a:cubicBezTo>
                    <a:lnTo>
                      <a:pt x="4529" y="20846"/>
                    </a:lnTo>
                    <a:cubicBezTo>
                      <a:pt x="4529" y="21260"/>
                      <a:pt x="4727" y="21600"/>
                      <a:pt x="4970" y="21600"/>
                    </a:cubicBezTo>
                    <a:lnTo>
                      <a:pt x="9322" y="21600"/>
                    </a:lnTo>
                    <a:cubicBezTo>
                      <a:pt x="9749" y="21162"/>
                      <a:pt x="9815" y="20388"/>
                      <a:pt x="9815" y="20388"/>
                    </a:cubicBezTo>
                    <a:cubicBezTo>
                      <a:pt x="9857" y="19778"/>
                      <a:pt x="9419" y="18814"/>
                      <a:pt x="9396" y="18765"/>
                    </a:cubicBezTo>
                    <a:lnTo>
                      <a:pt x="9394" y="18763"/>
                    </a:lnTo>
                    <a:cubicBezTo>
                      <a:pt x="9168" y="18278"/>
                      <a:pt x="9032" y="17676"/>
                      <a:pt x="9032" y="17022"/>
                    </a:cubicBezTo>
                    <a:cubicBezTo>
                      <a:pt x="9032" y="15422"/>
                      <a:pt x="9836" y="14124"/>
                      <a:pt x="10827" y="14124"/>
                    </a:cubicBezTo>
                    <a:cubicBezTo>
                      <a:pt x="11818" y="14124"/>
                      <a:pt x="12621" y="15422"/>
                      <a:pt x="12621" y="17022"/>
                    </a:cubicBezTo>
                    <a:cubicBezTo>
                      <a:pt x="12621" y="17724"/>
                      <a:pt x="12467" y="18368"/>
                      <a:pt x="12209" y="18869"/>
                    </a:cubicBezTo>
                    <a:cubicBezTo>
                      <a:pt x="12092" y="19143"/>
                      <a:pt x="11799" y="19886"/>
                      <a:pt x="11834" y="20388"/>
                    </a:cubicBezTo>
                    <a:cubicBezTo>
                      <a:pt x="11834" y="20388"/>
                      <a:pt x="11900" y="21162"/>
                      <a:pt x="12327" y="21600"/>
                    </a:cubicBezTo>
                    <a:lnTo>
                      <a:pt x="16679" y="21600"/>
                    </a:lnTo>
                    <a:cubicBezTo>
                      <a:pt x="16922" y="21600"/>
                      <a:pt x="17120" y="21261"/>
                      <a:pt x="17120" y="20846"/>
                    </a:cubicBezTo>
                    <a:lnTo>
                      <a:pt x="17120" y="13499"/>
                    </a:lnTo>
                    <a:cubicBezTo>
                      <a:pt x="17332" y="12447"/>
                      <a:pt x="17928" y="12299"/>
                      <a:pt x="17928" y="12299"/>
                    </a:cubicBezTo>
                    <a:cubicBezTo>
                      <a:pt x="18223" y="12239"/>
                      <a:pt x="18657" y="12736"/>
                      <a:pt x="18817" y="12935"/>
                    </a:cubicBezTo>
                    <a:cubicBezTo>
                      <a:pt x="19111" y="13375"/>
                      <a:pt x="19490" y="13640"/>
                      <a:pt x="19902" y="13640"/>
                    </a:cubicBezTo>
                    <a:cubicBezTo>
                      <a:pt x="20840" y="13640"/>
                      <a:pt x="21600" y="12272"/>
                      <a:pt x="21600" y="10581"/>
                    </a:cubicBezTo>
                    <a:cubicBezTo>
                      <a:pt x="21600" y="8891"/>
                      <a:pt x="20840" y="7519"/>
                      <a:pt x="19902" y="7519"/>
                    </a:cubicBezTo>
                    <a:cubicBezTo>
                      <a:pt x="19518" y="7519"/>
                      <a:pt x="19164" y="7753"/>
                      <a:pt x="18880" y="8141"/>
                    </a:cubicBezTo>
                    <a:lnTo>
                      <a:pt x="18880" y="8138"/>
                    </a:lnTo>
                    <a:cubicBezTo>
                      <a:pt x="18854" y="8174"/>
                      <a:pt x="18287" y="8928"/>
                      <a:pt x="17928" y="8855"/>
                    </a:cubicBezTo>
                    <a:cubicBezTo>
                      <a:pt x="17928" y="8855"/>
                      <a:pt x="17332" y="8707"/>
                      <a:pt x="17120" y="7655"/>
                    </a:cubicBezTo>
                    <a:lnTo>
                      <a:pt x="17120" y="754"/>
                    </a:lnTo>
                    <a:cubicBezTo>
                      <a:pt x="17120" y="340"/>
                      <a:pt x="16921" y="0"/>
                      <a:pt x="16678" y="0"/>
                    </a:cubicBezTo>
                    <a:lnTo>
                      <a:pt x="12109" y="0"/>
                    </a:lnTo>
                    <a:cubicBezTo>
                      <a:pt x="11780" y="445"/>
                      <a:pt x="11725" y="1085"/>
                      <a:pt x="11725" y="1085"/>
                    </a:cubicBezTo>
                    <a:cubicBezTo>
                      <a:pt x="11682" y="1697"/>
                      <a:pt x="12124" y="2664"/>
                      <a:pt x="12145" y="2708"/>
                    </a:cubicBezTo>
                    <a:lnTo>
                      <a:pt x="12142" y="2708"/>
                    </a:lnTo>
                    <a:cubicBezTo>
                      <a:pt x="12369" y="3193"/>
                      <a:pt x="12506" y="3796"/>
                      <a:pt x="12506" y="4452"/>
                    </a:cubicBezTo>
                    <a:cubicBezTo>
                      <a:pt x="12506" y="6051"/>
                      <a:pt x="11704" y="7347"/>
                      <a:pt x="10712" y="7347"/>
                    </a:cubicBezTo>
                    <a:cubicBezTo>
                      <a:pt x="9721" y="7347"/>
                      <a:pt x="8917" y="6051"/>
                      <a:pt x="8917" y="4452"/>
                    </a:cubicBezTo>
                    <a:cubicBezTo>
                      <a:pt x="8917" y="3749"/>
                      <a:pt x="9072" y="3103"/>
                      <a:pt x="9330" y="2601"/>
                    </a:cubicBezTo>
                    <a:cubicBezTo>
                      <a:pt x="9447" y="2328"/>
                      <a:pt x="9738" y="1588"/>
                      <a:pt x="9703" y="1085"/>
                    </a:cubicBezTo>
                    <a:cubicBezTo>
                      <a:pt x="9703" y="1085"/>
                      <a:pt x="9648" y="445"/>
                      <a:pt x="9318" y="0"/>
                    </a:cubicBezTo>
                    <a:lnTo>
                      <a:pt x="4970" y="0"/>
                    </a:lnTo>
                    <a:close/>
                  </a:path>
                </a:pathLst>
              </a:custGeom>
              <a:solidFill>
                <a:srgbClr val="929292"/>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98" name="Puzzle Piece"/>
              <p:cNvSpPr/>
              <p:nvPr/>
            </p:nvSpPr>
            <p:spPr>
              <a:xfrm rot="20976031">
                <a:off x="1086307" y="131940"/>
                <a:ext cx="353477" cy="207282"/>
              </a:xfrm>
              <a:custGeom>
                <a:avLst/>
                <a:gdLst/>
                <a:ahLst/>
                <a:cxnLst>
                  <a:cxn ang="0">
                    <a:pos x="wd2" y="hd2"/>
                  </a:cxn>
                  <a:cxn ang="5400000">
                    <a:pos x="wd2" y="hd2"/>
                  </a:cxn>
                  <a:cxn ang="10800000">
                    <a:pos x="wd2" y="hd2"/>
                  </a:cxn>
                  <a:cxn ang="16200000">
                    <a:pos x="wd2" y="hd2"/>
                  </a:cxn>
                </a:cxnLst>
                <a:rect l="0" t="0" r="r" b="b"/>
                <a:pathLst>
                  <a:path w="21600" h="21600" extrusionOk="0">
                    <a:moveTo>
                      <a:pt x="4970" y="0"/>
                    </a:moveTo>
                    <a:cubicBezTo>
                      <a:pt x="4727" y="0"/>
                      <a:pt x="4529" y="339"/>
                      <a:pt x="4529" y="754"/>
                    </a:cubicBezTo>
                    <a:lnTo>
                      <a:pt x="4529" y="7491"/>
                    </a:lnTo>
                    <a:cubicBezTo>
                      <a:pt x="4382" y="8825"/>
                      <a:pt x="3672" y="8999"/>
                      <a:pt x="3672" y="8999"/>
                    </a:cubicBezTo>
                    <a:cubicBezTo>
                      <a:pt x="3377" y="9059"/>
                      <a:pt x="2943" y="8562"/>
                      <a:pt x="2783" y="8363"/>
                    </a:cubicBezTo>
                    <a:cubicBezTo>
                      <a:pt x="2489" y="7923"/>
                      <a:pt x="2110" y="7658"/>
                      <a:pt x="1698" y="7658"/>
                    </a:cubicBezTo>
                    <a:cubicBezTo>
                      <a:pt x="760" y="7658"/>
                      <a:pt x="0" y="9026"/>
                      <a:pt x="0" y="10717"/>
                    </a:cubicBezTo>
                    <a:cubicBezTo>
                      <a:pt x="0" y="12407"/>
                      <a:pt x="760" y="13778"/>
                      <a:pt x="1698" y="13778"/>
                    </a:cubicBezTo>
                    <a:cubicBezTo>
                      <a:pt x="2082" y="13778"/>
                      <a:pt x="2436" y="13545"/>
                      <a:pt x="2720" y="13157"/>
                    </a:cubicBezTo>
                    <a:lnTo>
                      <a:pt x="2720" y="13160"/>
                    </a:lnTo>
                    <a:cubicBezTo>
                      <a:pt x="2746" y="13124"/>
                      <a:pt x="3313" y="12370"/>
                      <a:pt x="3672" y="12443"/>
                    </a:cubicBezTo>
                    <a:cubicBezTo>
                      <a:pt x="3672" y="12443"/>
                      <a:pt x="4382" y="12617"/>
                      <a:pt x="4529" y="13951"/>
                    </a:cubicBezTo>
                    <a:lnTo>
                      <a:pt x="4529" y="20846"/>
                    </a:lnTo>
                    <a:cubicBezTo>
                      <a:pt x="4529" y="21260"/>
                      <a:pt x="4727" y="21600"/>
                      <a:pt x="4970" y="21600"/>
                    </a:cubicBezTo>
                    <a:lnTo>
                      <a:pt x="9322" y="21600"/>
                    </a:lnTo>
                    <a:cubicBezTo>
                      <a:pt x="9749" y="21162"/>
                      <a:pt x="9815" y="20388"/>
                      <a:pt x="9815" y="20388"/>
                    </a:cubicBezTo>
                    <a:cubicBezTo>
                      <a:pt x="9857" y="19778"/>
                      <a:pt x="9419" y="18814"/>
                      <a:pt x="9396" y="18765"/>
                    </a:cubicBezTo>
                    <a:lnTo>
                      <a:pt x="9394" y="18763"/>
                    </a:lnTo>
                    <a:cubicBezTo>
                      <a:pt x="9168" y="18278"/>
                      <a:pt x="9032" y="17676"/>
                      <a:pt x="9032" y="17022"/>
                    </a:cubicBezTo>
                    <a:cubicBezTo>
                      <a:pt x="9032" y="15422"/>
                      <a:pt x="9836" y="14124"/>
                      <a:pt x="10827" y="14124"/>
                    </a:cubicBezTo>
                    <a:cubicBezTo>
                      <a:pt x="11818" y="14124"/>
                      <a:pt x="12621" y="15422"/>
                      <a:pt x="12621" y="17022"/>
                    </a:cubicBezTo>
                    <a:cubicBezTo>
                      <a:pt x="12621" y="17724"/>
                      <a:pt x="12467" y="18368"/>
                      <a:pt x="12209" y="18869"/>
                    </a:cubicBezTo>
                    <a:cubicBezTo>
                      <a:pt x="12092" y="19143"/>
                      <a:pt x="11799" y="19886"/>
                      <a:pt x="11834" y="20388"/>
                    </a:cubicBezTo>
                    <a:cubicBezTo>
                      <a:pt x="11834" y="20388"/>
                      <a:pt x="11900" y="21162"/>
                      <a:pt x="12327" y="21600"/>
                    </a:cubicBezTo>
                    <a:lnTo>
                      <a:pt x="16679" y="21600"/>
                    </a:lnTo>
                    <a:cubicBezTo>
                      <a:pt x="16922" y="21600"/>
                      <a:pt x="17120" y="21261"/>
                      <a:pt x="17120" y="20846"/>
                    </a:cubicBezTo>
                    <a:lnTo>
                      <a:pt x="17120" y="13499"/>
                    </a:lnTo>
                    <a:cubicBezTo>
                      <a:pt x="17332" y="12447"/>
                      <a:pt x="17928" y="12299"/>
                      <a:pt x="17928" y="12299"/>
                    </a:cubicBezTo>
                    <a:cubicBezTo>
                      <a:pt x="18223" y="12239"/>
                      <a:pt x="18657" y="12736"/>
                      <a:pt x="18817" y="12935"/>
                    </a:cubicBezTo>
                    <a:cubicBezTo>
                      <a:pt x="19111" y="13375"/>
                      <a:pt x="19490" y="13640"/>
                      <a:pt x="19902" y="13640"/>
                    </a:cubicBezTo>
                    <a:cubicBezTo>
                      <a:pt x="20840" y="13640"/>
                      <a:pt x="21600" y="12272"/>
                      <a:pt x="21600" y="10581"/>
                    </a:cubicBezTo>
                    <a:cubicBezTo>
                      <a:pt x="21600" y="8891"/>
                      <a:pt x="20840" y="7519"/>
                      <a:pt x="19902" y="7519"/>
                    </a:cubicBezTo>
                    <a:cubicBezTo>
                      <a:pt x="19518" y="7519"/>
                      <a:pt x="19164" y="7753"/>
                      <a:pt x="18880" y="8141"/>
                    </a:cubicBezTo>
                    <a:lnTo>
                      <a:pt x="18880" y="8138"/>
                    </a:lnTo>
                    <a:cubicBezTo>
                      <a:pt x="18854" y="8174"/>
                      <a:pt x="18287" y="8928"/>
                      <a:pt x="17928" y="8855"/>
                    </a:cubicBezTo>
                    <a:cubicBezTo>
                      <a:pt x="17928" y="8855"/>
                      <a:pt x="17332" y="8707"/>
                      <a:pt x="17120" y="7655"/>
                    </a:cubicBezTo>
                    <a:lnTo>
                      <a:pt x="17120" y="754"/>
                    </a:lnTo>
                    <a:cubicBezTo>
                      <a:pt x="17120" y="340"/>
                      <a:pt x="16921" y="0"/>
                      <a:pt x="16678" y="0"/>
                    </a:cubicBezTo>
                    <a:lnTo>
                      <a:pt x="12109" y="0"/>
                    </a:lnTo>
                    <a:cubicBezTo>
                      <a:pt x="11780" y="445"/>
                      <a:pt x="11725" y="1085"/>
                      <a:pt x="11725" y="1085"/>
                    </a:cubicBezTo>
                    <a:cubicBezTo>
                      <a:pt x="11682" y="1697"/>
                      <a:pt x="12124" y="2664"/>
                      <a:pt x="12145" y="2708"/>
                    </a:cubicBezTo>
                    <a:lnTo>
                      <a:pt x="12142" y="2708"/>
                    </a:lnTo>
                    <a:cubicBezTo>
                      <a:pt x="12369" y="3193"/>
                      <a:pt x="12506" y="3796"/>
                      <a:pt x="12506" y="4452"/>
                    </a:cubicBezTo>
                    <a:cubicBezTo>
                      <a:pt x="12506" y="6051"/>
                      <a:pt x="11704" y="7347"/>
                      <a:pt x="10712" y="7347"/>
                    </a:cubicBezTo>
                    <a:cubicBezTo>
                      <a:pt x="9721" y="7347"/>
                      <a:pt x="8917" y="6051"/>
                      <a:pt x="8917" y="4452"/>
                    </a:cubicBezTo>
                    <a:cubicBezTo>
                      <a:pt x="8917" y="3749"/>
                      <a:pt x="9072" y="3103"/>
                      <a:pt x="9330" y="2601"/>
                    </a:cubicBezTo>
                    <a:cubicBezTo>
                      <a:pt x="9447" y="2328"/>
                      <a:pt x="9738" y="1588"/>
                      <a:pt x="9703" y="1085"/>
                    </a:cubicBezTo>
                    <a:cubicBezTo>
                      <a:pt x="9703" y="1085"/>
                      <a:pt x="9648" y="445"/>
                      <a:pt x="9318" y="0"/>
                    </a:cubicBezTo>
                    <a:lnTo>
                      <a:pt x="4970" y="0"/>
                    </a:ln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399" name="Puzzle Piece"/>
              <p:cNvSpPr/>
              <p:nvPr/>
            </p:nvSpPr>
            <p:spPr>
              <a:xfrm rot="12128228">
                <a:off x="26024" y="1416817"/>
                <a:ext cx="353478" cy="207282"/>
              </a:xfrm>
              <a:custGeom>
                <a:avLst/>
                <a:gdLst/>
                <a:ahLst/>
                <a:cxnLst>
                  <a:cxn ang="0">
                    <a:pos x="wd2" y="hd2"/>
                  </a:cxn>
                  <a:cxn ang="5400000">
                    <a:pos x="wd2" y="hd2"/>
                  </a:cxn>
                  <a:cxn ang="10800000">
                    <a:pos x="wd2" y="hd2"/>
                  </a:cxn>
                  <a:cxn ang="16200000">
                    <a:pos x="wd2" y="hd2"/>
                  </a:cxn>
                </a:cxnLst>
                <a:rect l="0" t="0" r="r" b="b"/>
                <a:pathLst>
                  <a:path w="21600" h="21600" extrusionOk="0">
                    <a:moveTo>
                      <a:pt x="4970" y="0"/>
                    </a:moveTo>
                    <a:cubicBezTo>
                      <a:pt x="4727" y="0"/>
                      <a:pt x="4529" y="339"/>
                      <a:pt x="4529" y="754"/>
                    </a:cubicBezTo>
                    <a:lnTo>
                      <a:pt x="4529" y="7491"/>
                    </a:lnTo>
                    <a:cubicBezTo>
                      <a:pt x="4382" y="8825"/>
                      <a:pt x="3672" y="8999"/>
                      <a:pt x="3672" y="8999"/>
                    </a:cubicBezTo>
                    <a:cubicBezTo>
                      <a:pt x="3377" y="9059"/>
                      <a:pt x="2943" y="8562"/>
                      <a:pt x="2783" y="8363"/>
                    </a:cubicBezTo>
                    <a:cubicBezTo>
                      <a:pt x="2489" y="7923"/>
                      <a:pt x="2110" y="7658"/>
                      <a:pt x="1698" y="7658"/>
                    </a:cubicBezTo>
                    <a:cubicBezTo>
                      <a:pt x="760" y="7658"/>
                      <a:pt x="0" y="9026"/>
                      <a:pt x="0" y="10717"/>
                    </a:cubicBezTo>
                    <a:cubicBezTo>
                      <a:pt x="0" y="12407"/>
                      <a:pt x="760" y="13778"/>
                      <a:pt x="1698" y="13778"/>
                    </a:cubicBezTo>
                    <a:cubicBezTo>
                      <a:pt x="2082" y="13778"/>
                      <a:pt x="2436" y="13545"/>
                      <a:pt x="2720" y="13157"/>
                    </a:cubicBezTo>
                    <a:lnTo>
                      <a:pt x="2720" y="13160"/>
                    </a:lnTo>
                    <a:cubicBezTo>
                      <a:pt x="2746" y="13124"/>
                      <a:pt x="3313" y="12370"/>
                      <a:pt x="3672" y="12443"/>
                    </a:cubicBezTo>
                    <a:cubicBezTo>
                      <a:pt x="3672" y="12443"/>
                      <a:pt x="4382" y="12617"/>
                      <a:pt x="4529" y="13951"/>
                    </a:cubicBezTo>
                    <a:lnTo>
                      <a:pt x="4529" y="20846"/>
                    </a:lnTo>
                    <a:cubicBezTo>
                      <a:pt x="4529" y="21260"/>
                      <a:pt x="4727" y="21600"/>
                      <a:pt x="4970" y="21600"/>
                    </a:cubicBezTo>
                    <a:lnTo>
                      <a:pt x="9322" y="21600"/>
                    </a:lnTo>
                    <a:cubicBezTo>
                      <a:pt x="9749" y="21162"/>
                      <a:pt x="9815" y="20388"/>
                      <a:pt x="9815" y="20388"/>
                    </a:cubicBezTo>
                    <a:cubicBezTo>
                      <a:pt x="9857" y="19778"/>
                      <a:pt x="9419" y="18814"/>
                      <a:pt x="9396" y="18765"/>
                    </a:cubicBezTo>
                    <a:lnTo>
                      <a:pt x="9394" y="18763"/>
                    </a:lnTo>
                    <a:cubicBezTo>
                      <a:pt x="9168" y="18278"/>
                      <a:pt x="9032" y="17676"/>
                      <a:pt x="9032" y="17022"/>
                    </a:cubicBezTo>
                    <a:cubicBezTo>
                      <a:pt x="9032" y="15422"/>
                      <a:pt x="9836" y="14124"/>
                      <a:pt x="10827" y="14124"/>
                    </a:cubicBezTo>
                    <a:cubicBezTo>
                      <a:pt x="11818" y="14124"/>
                      <a:pt x="12621" y="15422"/>
                      <a:pt x="12621" y="17022"/>
                    </a:cubicBezTo>
                    <a:cubicBezTo>
                      <a:pt x="12621" y="17724"/>
                      <a:pt x="12467" y="18368"/>
                      <a:pt x="12209" y="18869"/>
                    </a:cubicBezTo>
                    <a:cubicBezTo>
                      <a:pt x="12092" y="19143"/>
                      <a:pt x="11799" y="19886"/>
                      <a:pt x="11834" y="20388"/>
                    </a:cubicBezTo>
                    <a:cubicBezTo>
                      <a:pt x="11834" y="20388"/>
                      <a:pt x="11900" y="21162"/>
                      <a:pt x="12327" y="21600"/>
                    </a:cubicBezTo>
                    <a:lnTo>
                      <a:pt x="16679" y="21600"/>
                    </a:lnTo>
                    <a:cubicBezTo>
                      <a:pt x="16922" y="21600"/>
                      <a:pt x="17120" y="21261"/>
                      <a:pt x="17120" y="20846"/>
                    </a:cubicBezTo>
                    <a:lnTo>
                      <a:pt x="17120" y="13499"/>
                    </a:lnTo>
                    <a:cubicBezTo>
                      <a:pt x="17332" y="12447"/>
                      <a:pt x="17928" y="12299"/>
                      <a:pt x="17928" y="12299"/>
                    </a:cubicBezTo>
                    <a:cubicBezTo>
                      <a:pt x="18223" y="12239"/>
                      <a:pt x="18657" y="12736"/>
                      <a:pt x="18817" y="12935"/>
                    </a:cubicBezTo>
                    <a:cubicBezTo>
                      <a:pt x="19111" y="13375"/>
                      <a:pt x="19490" y="13640"/>
                      <a:pt x="19902" y="13640"/>
                    </a:cubicBezTo>
                    <a:cubicBezTo>
                      <a:pt x="20840" y="13640"/>
                      <a:pt x="21600" y="12272"/>
                      <a:pt x="21600" y="10581"/>
                    </a:cubicBezTo>
                    <a:cubicBezTo>
                      <a:pt x="21600" y="8891"/>
                      <a:pt x="20840" y="7519"/>
                      <a:pt x="19902" y="7519"/>
                    </a:cubicBezTo>
                    <a:cubicBezTo>
                      <a:pt x="19518" y="7519"/>
                      <a:pt x="19164" y="7753"/>
                      <a:pt x="18880" y="8141"/>
                    </a:cubicBezTo>
                    <a:lnTo>
                      <a:pt x="18880" y="8138"/>
                    </a:lnTo>
                    <a:cubicBezTo>
                      <a:pt x="18854" y="8174"/>
                      <a:pt x="18287" y="8928"/>
                      <a:pt x="17928" y="8855"/>
                    </a:cubicBezTo>
                    <a:cubicBezTo>
                      <a:pt x="17928" y="8855"/>
                      <a:pt x="17332" y="8707"/>
                      <a:pt x="17120" y="7655"/>
                    </a:cubicBezTo>
                    <a:lnTo>
                      <a:pt x="17120" y="754"/>
                    </a:lnTo>
                    <a:cubicBezTo>
                      <a:pt x="17120" y="340"/>
                      <a:pt x="16921" y="0"/>
                      <a:pt x="16678" y="0"/>
                    </a:cubicBezTo>
                    <a:lnTo>
                      <a:pt x="12109" y="0"/>
                    </a:lnTo>
                    <a:cubicBezTo>
                      <a:pt x="11780" y="445"/>
                      <a:pt x="11725" y="1085"/>
                      <a:pt x="11725" y="1085"/>
                    </a:cubicBezTo>
                    <a:cubicBezTo>
                      <a:pt x="11682" y="1697"/>
                      <a:pt x="12124" y="2664"/>
                      <a:pt x="12145" y="2708"/>
                    </a:cubicBezTo>
                    <a:lnTo>
                      <a:pt x="12142" y="2708"/>
                    </a:lnTo>
                    <a:cubicBezTo>
                      <a:pt x="12369" y="3193"/>
                      <a:pt x="12506" y="3796"/>
                      <a:pt x="12506" y="4452"/>
                    </a:cubicBezTo>
                    <a:cubicBezTo>
                      <a:pt x="12506" y="6051"/>
                      <a:pt x="11704" y="7347"/>
                      <a:pt x="10712" y="7347"/>
                    </a:cubicBezTo>
                    <a:cubicBezTo>
                      <a:pt x="9721" y="7347"/>
                      <a:pt x="8917" y="6051"/>
                      <a:pt x="8917" y="4452"/>
                    </a:cubicBezTo>
                    <a:cubicBezTo>
                      <a:pt x="8917" y="3749"/>
                      <a:pt x="9072" y="3103"/>
                      <a:pt x="9330" y="2601"/>
                    </a:cubicBezTo>
                    <a:cubicBezTo>
                      <a:pt x="9447" y="2328"/>
                      <a:pt x="9738" y="1588"/>
                      <a:pt x="9703" y="1085"/>
                    </a:cubicBezTo>
                    <a:cubicBezTo>
                      <a:pt x="9703" y="1085"/>
                      <a:pt x="9648" y="445"/>
                      <a:pt x="9318" y="0"/>
                    </a:cubicBezTo>
                    <a:lnTo>
                      <a:pt x="4970" y="0"/>
                    </a:lnTo>
                    <a:close/>
                  </a:path>
                </a:pathLst>
              </a:custGeom>
              <a:solidFill>
                <a:srgbClr val="929292"/>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grpSp>
        <p:grpSp>
          <p:nvGrpSpPr>
            <p:cNvPr id="403" name="Group"/>
            <p:cNvGrpSpPr/>
            <p:nvPr/>
          </p:nvGrpSpPr>
          <p:grpSpPr>
            <a:xfrm>
              <a:off x="9997709" y="3991325"/>
              <a:ext cx="638862" cy="635914"/>
              <a:chOff x="0" y="0"/>
              <a:chExt cx="638860" cy="635913"/>
            </a:xfrm>
          </p:grpSpPr>
          <p:sp>
            <p:nvSpPr>
              <p:cNvPr id="401" name="Bell Curve"/>
              <p:cNvSpPr/>
              <p:nvPr/>
            </p:nvSpPr>
            <p:spPr>
              <a:xfrm>
                <a:off x="-1" y="0"/>
                <a:ext cx="637605" cy="635914"/>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2165" y="20628"/>
                    </a:lnTo>
                    <a:lnTo>
                      <a:pt x="12165" y="19779"/>
                    </a:lnTo>
                    <a:lnTo>
                      <a:pt x="11626" y="19779"/>
                    </a:lnTo>
                    <a:lnTo>
                      <a:pt x="11626" y="20628"/>
                    </a:lnTo>
                    <a:lnTo>
                      <a:pt x="1163" y="20628"/>
                    </a:lnTo>
                    <a:cubicBezTo>
                      <a:pt x="1056" y="20628"/>
                      <a:pt x="970" y="20539"/>
                      <a:pt x="970" y="20432"/>
                    </a:cubicBezTo>
                    <a:lnTo>
                      <a:pt x="970" y="194"/>
                    </a:lnTo>
                    <a:cubicBezTo>
                      <a:pt x="970" y="87"/>
                      <a:pt x="883" y="0"/>
                      <a:pt x="776" y="0"/>
                    </a:cubicBezTo>
                    <a:lnTo>
                      <a:pt x="194" y="0"/>
                    </a:lnTo>
                    <a:close/>
                    <a:moveTo>
                      <a:pt x="11876" y="5159"/>
                    </a:moveTo>
                    <a:cubicBezTo>
                      <a:pt x="10741" y="5159"/>
                      <a:pt x="10243" y="6260"/>
                      <a:pt x="10080" y="6621"/>
                    </a:cubicBezTo>
                    <a:cubicBezTo>
                      <a:pt x="9717" y="7423"/>
                      <a:pt x="9465" y="8488"/>
                      <a:pt x="9172" y="9720"/>
                    </a:cubicBezTo>
                    <a:cubicBezTo>
                      <a:pt x="8905" y="10847"/>
                      <a:pt x="8601" y="12125"/>
                      <a:pt x="8166" y="13338"/>
                    </a:cubicBezTo>
                    <a:cubicBezTo>
                      <a:pt x="7432" y="15385"/>
                      <a:pt x="6483" y="16961"/>
                      <a:pt x="5344" y="18024"/>
                    </a:cubicBezTo>
                    <a:cubicBezTo>
                      <a:pt x="4185" y="19106"/>
                      <a:pt x="2822" y="19654"/>
                      <a:pt x="1293" y="19654"/>
                    </a:cubicBezTo>
                    <a:lnTo>
                      <a:pt x="1293" y="20410"/>
                    </a:lnTo>
                    <a:cubicBezTo>
                      <a:pt x="4654" y="20410"/>
                      <a:pt x="7277" y="18053"/>
                      <a:pt x="8876" y="13593"/>
                    </a:cubicBezTo>
                    <a:cubicBezTo>
                      <a:pt x="9325" y="12340"/>
                      <a:pt x="9634" y="11040"/>
                      <a:pt x="9906" y="9894"/>
                    </a:cubicBezTo>
                    <a:cubicBezTo>
                      <a:pt x="10433" y="7671"/>
                      <a:pt x="10849" y="5916"/>
                      <a:pt x="11876" y="5916"/>
                    </a:cubicBezTo>
                    <a:cubicBezTo>
                      <a:pt x="12815" y="5916"/>
                      <a:pt x="13161" y="7265"/>
                      <a:pt x="13648" y="9467"/>
                    </a:cubicBezTo>
                    <a:cubicBezTo>
                      <a:pt x="13935" y="10763"/>
                      <a:pt x="14259" y="12232"/>
                      <a:pt x="14842" y="13651"/>
                    </a:cubicBezTo>
                    <a:cubicBezTo>
                      <a:pt x="16579" y="17884"/>
                      <a:pt x="19106" y="20410"/>
                      <a:pt x="21600" y="20410"/>
                    </a:cubicBezTo>
                    <a:lnTo>
                      <a:pt x="21600" y="19654"/>
                    </a:lnTo>
                    <a:cubicBezTo>
                      <a:pt x="20557" y="19654"/>
                      <a:pt x="19457" y="19095"/>
                      <a:pt x="18417" y="18035"/>
                    </a:cubicBezTo>
                    <a:cubicBezTo>
                      <a:pt x="17339" y="16937"/>
                      <a:pt x="16343" y="15322"/>
                      <a:pt x="15538" y="13362"/>
                    </a:cubicBezTo>
                    <a:cubicBezTo>
                      <a:pt x="14981" y="12004"/>
                      <a:pt x="14664" y="10569"/>
                      <a:pt x="14384" y="9303"/>
                    </a:cubicBezTo>
                    <a:cubicBezTo>
                      <a:pt x="14136" y="8183"/>
                      <a:pt x="13923" y="7216"/>
                      <a:pt x="13593" y="6489"/>
                    </a:cubicBezTo>
                    <a:cubicBezTo>
                      <a:pt x="13186" y="5595"/>
                      <a:pt x="12624" y="5159"/>
                      <a:pt x="11876" y="5159"/>
                    </a:cubicBezTo>
                    <a:close/>
                    <a:moveTo>
                      <a:pt x="11626" y="6692"/>
                    </a:moveTo>
                    <a:lnTo>
                      <a:pt x="11626" y="7703"/>
                    </a:lnTo>
                    <a:lnTo>
                      <a:pt x="12165" y="7703"/>
                    </a:lnTo>
                    <a:lnTo>
                      <a:pt x="12165" y="6692"/>
                    </a:lnTo>
                    <a:lnTo>
                      <a:pt x="11626" y="6692"/>
                    </a:lnTo>
                    <a:close/>
                    <a:moveTo>
                      <a:pt x="11596" y="8905"/>
                    </a:moveTo>
                    <a:lnTo>
                      <a:pt x="11596" y="9916"/>
                    </a:lnTo>
                    <a:lnTo>
                      <a:pt x="12135" y="9916"/>
                    </a:lnTo>
                    <a:lnTo>
                      <a:pt x="12135" y="8905"/>
                    </a:lnTo>
                    <a:lnTo>
                      <a:pt x="11596" y="8905"/>
                    </a:lnTo>
                    <a:close/>
                    <a:moveTo>
                      <a:pt x="11626" y="11293"/>
                    </a:moveTo>
                    <a:lnTo>
                      <a:pt x="11626" y="12305"/>
                    </a:lnTo>
                    <a:lnTo>
                      <a:pt x="12165" y="12305"/>
                    </a:lnTo>
                    <a:lnTo>
                      <a:pt x="12165" y="11293"/>
                    </a:lnTo>
                    <a:lnTo>
                      <a:pt x="11626" y="11293"/>
                    </a:lnTo>
                    <a:close/>
                    <a:moveTo>
                      <a:pt x="11596" y="13316"/>
                    </a:moveTo>
                    <a:lnTo>
                      <a:pt x="11596" y="14327"/>
                    </a:lnTo>
                    <a:lnTo>
                      <a:pt x="12135" y="14327"/>
                    </a:lnTo>
                    <a:lnTo>
                      <a:pt x="12135" y="13316"/>
                    </a:lnTo>
                    <a:lnTo>
                      <a:pt x="11596" y="13316"/>
                    </a:lnTo>
                    <a:close/>
                    <a:moveTo>
                      <a:pt x="11626" y="15435"/>
                    </a:moveTo>
                    <a:lnTo>
                      <a:pt x="11626" y="16446"/>
                    </a:lnTo>
                    <a:lnTo>
                      <a:pt x="12165" y="16446"/>
                    </a:lnTo>
                    <a:lnTo>
                      <a:pt x="12165" y="15435"/>
                    </a:lnTo>
                    <a:lnTo>
                      <a:pt x="11626" y="15435"/>
                    </a:lnTo>
                    <a:close/>
                    <a:moveTo>
                      <a:pt x="11596" y="17590"/>
                    </a:moveTo>
                    <a:lnTo>
                      <a:pt x="11596" y="18601"/>
                    </a:lnTo>
                    <a:lnTo>
                      <a:pt x="12135" y="18601"/>
                    </a:lnTo>
                    <a:lnTo>
                      <a:pt x="12135" y="17590"/>
                    </a:lnTo>
                    <a:lnTo>
                      <a:pt x="11596" y="17590"/>
                    </a:ln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402" name="Function Graph"/>
              <p:cNvSpPr/>
              <p:nvPr/>
            </p:nvSpPr>
            <p:spPr>
              <a:xfrm>
                <a:off x="-1" y="1268"/>
                <a:ext cx="638862" cy="634646"/>
              </a:xfrm>
              <a:custGeom>
                <a:avLst/>
                <a:gdLst/>
                <a:ahLst/>
                <a:cxnLst>
                  <a:cxn ang="0">
                    <a:pos x="wd2" y="hd2"/>
                  </a:cxn>
                  <a:cxn ang="5400000">
                    <a:pos x="wd2" y="hd2"/>
                  </a:cxn>
                  <a:cxn ang="10800000">
                    <a:pos x="wd2" y="hd2"/>
                  </a:cxn>
                  <a:cxn ang="16200000">
                    <a:pos x="wd2" y="hd2"/>
                  </a:cxn>
                </a:cxnLst>
                <a:rect l="0" t="0" r="r" b="b"/>
                <a:pathLst>
                  <a:path w="21600" h="21600" extrusionOk="0">
                    <a:moveTo>
                      <a:pt x="193" y="0"/>
                    </a:moveTo>
                    <a:cubicBezTo>
                      <a:pt x="87" y="0"/>
                      <a:pt x="0" y="87"/>
                      <a:pt x="0" y="194"/>
                    </a:cubicBezTo>
                    <a:lnTo>
                      <a:pt x="0" y="21404"/>
                    </a:lnTo>
                    <a:cubicBezTo>
                      <a:pt x="0" y="21511"/>
                      <a:pt x="87" y="21600"/>
                      <a:pt x="193" y="21600"/>
                    </a:cubicBezTo>
                    <a:lnTo>
                      <a:pt x="21322" y="21600"/>
                    </a:lnTo>
                    <a:cubicBezTo>
                      <a:pt x="21428" y="21600"/>
                      <a:pt x="21514" y="21511"/>
                      <a:pt x="21514" y="21404"/>
                    </a:cubicBezTo>
                    <a:lnTo>
                      <a:pt x="21514" y="20822"/>
                    </a:lnTo>
                    <a:cubicBezTo>
                      <a:pt x="21514" y="20715"/>
                      <a:pt x="21428" y="20628"/>
                      <a:pt x="21322" y="20628"/>
                    </a:cubicBezTo>
                    <a:lnTo>
                      <a:pt x="1159" y="20628"/>
                    </a:lnTo>
                    <a:cubicBezTo>
                      <a:pt x="1052" y="20628"/>
                      <a:pt x="966" y="20539"/>
                      <a:pt x="966" y="20432"/>
                    </a:cubicBezTo>
                    <a:lnTo>
                      <a:pt x="966" y="194"/>
                    </a:lnTo>
                    <a:cubicBezTo>
                      <a:pt x="966" y="87"/>
                      <a:pt x="879" y="0"/>
                      <a:pt x="773" y="0"/>
                    </a:cubicBezTo>
                    <a:lnTo>
                      <a:pt x="193" y="0"/>
                    </a:lnTo>
                    <a:close/>
                    <a:moveTo>
                      <a:pt x="4579" y="3635"/>
                    </a:moveTo>
                    <a:cubicBezTo>
                      <a:pt x="4069" y="3635"/>
                      <a:pt x="3973" y="4313"/>
                      <a:pt x="3893" y="5269"/>
                    </a:cubicBezTo>
                    <a:cubicBezTo>
                      <a:pt x="3826" y="6066"/>
                      <a:pt x="3789" y="7155"/>
                      <a:pt x="3747" y="8309"/>
                    </a:cubicBezTo>
                    <a:cubicBezTo>
                      <a:pt x="3722" y="9023"/>
                      <a:pt x="3694" y="9757"/>
                      <a:pt x="3660" y="10474"/>
                    </a:cubicBezTo>
                    <a:lnTo>
                      <a:pt x="1430" y="10474"/>
                    </a:lnTo>
                    <a:lnTo>
                      <a:pt x="1430" y="11230"/>
                    </a:lnTo>
                    <a:lnTo>
                      <a:pt x="4374" y="11230"/>
                    </a:lnTo>
                    <a:lnTo>
                      <a:pt x="4393" y="10873"/>
                    </a:lnTo>
                    <a:cubicBezTo>
                      <a:pt x="4437" y="10037"/>
                      <a:pt x="4467" y="9172"/>
                      <a:pt x="4497" y="8336"/>
                    </a:cubicBezTo>
                    <a:cubicBezTo>
                      <a:pt x="4526" y="7507"/>
                      <a:pt x="4560" y="6578"/>
                      <a:pt x="4607" y="5814"/>
                    </a:cubicBezTo>
                    <a:cubicBezTo>
                      <a:pt x="4621" y="5979"/>
                      <a:pt x="4635" y="6160"/>
                      <a:pt x="4648" y="6361"/>
                    </a:cubicBezTo>
                    <a:cubicBezTo>
                      <a:pt x="4720" y="7486"/>
                      <a:pt x="4764" y="8893"/>
                      <a:pt x="4805" y="10253"/>
                    </a:cubicBezTo>
                    <a:cubicBezTo>
                      <a:pt x="4814" y="10545"/>
                      <a:pt x="4823" y="10836"/>
                      <a:pt x="4832" y="11121"/>
                    </a:cubicBezTo>
                    <a:lnTo>
                      <a:pt x="4839" y="11340"/>
                    </a:lnTo>
                    <a:cubicBezTo>
                      <a:pt x="4882" y="12712"/>
                      <a:pt x="4923" y="14008"/>
                      <a:pt x="5011" y="14987"/>
                    </a:cubicBezTo>
                    <a:cubicBezTo>
                      <a:pt x="5108" y="16050"/>
                      <a:pt x="5236" y="16930"/>
                      <a:pt x="5835" y="16930"/>
                    </a:cubicBezTo>
                    <a:cubicBezTo>
                      <a:pt x="6373" y="16930"/>
                      <a:pt x="6497" y="16190"/>
                      <a:pt x="6594" y="15296"/>
                    </a:cubicBezTo>
                    <a:cubicBezTo>
                      <a:pt x="6678" y="14518"/>
                      <a:pt x="6726" y="13520"/>
                      <a:pt x="6772" y="12555"/>
                    </a:cubicBezTo>
                    <a:cubicBezTo>
                      <a:pt x="6796" y="12043"/>
                      <a:pt x="6820" y="11560"/>
                      <a:pt x="6847" y="11132"/>
                    </a:cubicBezTo>
                    <a:cubicBezTo>
                      <a:pt x="6861" y="10921"/>
                      <a:pt x="6874" y="10707"/>
                      <a:pt x="6888" y="10495"/>
                    </a:cubicBezTo>
                    <a:cubicBezTo>
                      <a:pt x="6933" y="9765"/>
                      <a:pt x="6992" y="8813"/>
                      <a:pt x="7072" y="8108"/>
                    </a:cubicBezTo>
                    <a:cubicBezTo>
                      <a:pt x="7130" y="8632"/>
                      <a:pt x="7171" y="9283"/>
                      <a:pt x="7206" y="9828"/>
                    </a:cubicBezTo>
                    <a:cubicBezTo>
                      <a:pt x="7234" y="10257"/>
                      <a:pt x="7265" y="10701"/>
                      <a:pt x="7300" y="11138"/>
                    </a:cubicBezTo>
                    <a:cubicBezTo>
                      <a:pt x="7355" y="11811"/>
                      <a:pt x="7430" y="12670"/>
                      <a:pt x="7538" y="13325"/>
                    </a:cubicBezTo>
                    <a:cubicBezTo>
                      <a:pt x="7649" y="13995"/>
                      <a:pt x="7799" y="14650"/>
                      <a:pt x="8291" y="14650"/>
                    </a:cubicBezTo>
                    <a:cubicBezTo>
                      <a:pt x="8807" y="14650"/>
                      <a:pt x="8920" y="13936"/>
                      <a:pt x="8993" y="13463"/>
                    </a:cubicBezTo>
                    <a:cubicBezTo>
                      <a:pt x="9075" y="12940"/>
                      <a:pt x="9130" y="12285"/>
                      <a:pt x="9183" y="11651"/>
                    </a:cubicBezTo>
                    <a:cubicBezTo>
                      <a:pt x="9198" y="11475"/>
                      <a:pt x="9212" y="11303"/>
                      <a:pt x="9226" y="11141"/>
                    </a:cubicBezTo>
                    <a:cubicBezTo>
                      <a:pt x="9311" y="10194"/>
                      <a:pt x="9403" y="9541"/>
                      <a:pt x="9501" y="9185"/>
                    </a:cubicBezTo>
                    <a:cubicBezTo>
                      <a:pt x="9633" y="9696"/>
                      <a:pt x="9726" y="10669"/>
                      <a:pt x="9771" y="11144"/>
                    </a:cubicBezTo>
                    <a:cubicBezTo>
                      <a:pt x="9831" y="11767"/>
                      <a:pt x="9905" y="12254"/>
                      <a:pt x="9993" y="12594"/>
                    </a:cubicBezTo>
                    <a:cubicBezTo>
                      <a:pt x="10054" y="12832"/>
                      <a:pt x="10198" y="13391"/>
                      <a:pt x="10653" y="13391"/>
                    </a:cubicBezTo>
                    <a:cubicBezTo>
                      <a:pt x="11032" y="13391"/>
                      <a:pt x="11217" y="12975"/>
                      <a:pt x="11349" y="12567"/>
                    </a:cubicBezTo>
                    <a:cubicBezTo>
                      <a:pt x="11467" y="12203"/>
                      <a:pt x="11579" y="11704"/>
                      <a:pt x="11661" y="11165"/>
                    </a:cubicBezTo>
                    <a:cubicBezTo>
                      <a:pt x="11745" y="10615"/>
                      <a:pt x="11876" y="10261"/>
                      <a:pt x="11971" y="10086"/>
                    </a:cubicBezTo>
                    <a:cubicBezTo>
                      <a:pt x="12053" y="10269"/>
                      <a:pt x="12153" y="10639"/>
                      <a:pt x="12271" y="11188"/>
                    </a:cubicBezTo>
                    <a:cubicBezTo>
                      <a:pt x="12485" y="12183"/>
                      <a:pt x="12763" y="12626"/>
                      <a:pt x="13173" y="12626"/>
                    </a:cubicBezTo>
                    <a:cubicBezTo>
                      <a:pt x="13612" y="12626"/>
                      <a:pt x="13946" y="12143"/>
                      <a:pt x="14166" y="11193"/>
                    </a:cubicBezTo>
                    <a:cubicBezTo>
                      <a:pt x="14230" y="10915"/>
                      <a:pt x="14317" y="10721"/>
                      <a:pt x="14384" y="10609"/>
                    </a:cubicBezTo>
                    <a:cubicBezTo>
                      <a:pt x="14442" y="10712"/>
                      <a:pt x="14507" y="10855"/>
                      <a:pt x="14553" y="10955"/>
                    </a:cubicBezTo>
                    <a:cubicBezTo>
                      <a:pt x="14603" y="11064"/>
                      <a:pt x="14655" y="11175"/>
                      <a:pt x="14711" y="11283"/>
                    </a:cubicBezTo>
                    <a:cubicBezTo>
                      <a:pt x="14963" y="11766"/>
                      <a:pt x="15162" y="12149"/>
                      <a:pt x="15638" y="12149"/>
                    </a:cubicBezTo>
                    <a:cubicBezTo>
                      <a:pt x="16094" y="12149"/>
                      <a:pt x="16314" y="11747"/>
                      <a:pt x="16475" y="11453"/>
                    </a:cubicBezTo>
                    <a:cubicBezTo>
                      <a:pt x="16502" y="11402"/>
                      <a:pt x="16532" y="11350"/>
                      <a:pt x="16562" y="11300"/>
                    </a:cubicBezTo>
                    <a:cubicBezTo>
                      <a:pt x="16588" y="11255"/>
                      <a:pt x="16611" y="11213"/>
                      <a:pt x="16634" y="11173"/>
                    </a:cubicBezTo>
                    <a:cubicBezTo>
                      <a:pt x="16703" y="11053"/>
                      <a:pt x="16782" y="10918"/>
                      <a:pt x="16828" y="10864"/>
                    </a:cubicBezTo>
                    <a:cubicBezTo>
                      <a:pt x="16903" y="10914"/>
                      <a:pt x="17032" y="11105"/>
                      <a:pt x="17112" y="11224"/>
                    </a:cubicBezTo>
                    <a:lnTo>
                      <a:pt x="17155" y="11291"/>
                    </a:lnTo>
                    <a:cubicBezTo>
                      <a:pt x="17177" y="11324"/>
                      <a:pt x="17200" y="11356"/>
                      <a:pt x="17222" y="11389"/>
                    </a:cubicBezTo>
                    <a:cubicBezTo>
                      <a:pt x="17416" y="11682"/>
                      <a:pt x="17656" y="12047"/>
                      <a:pt x="18076" y="12047"/>
                    </a:cubicBezTo>
                    <a:cubicBezTo>
                      <a:pt x="18508" y="12047"/>
                      <a:pt x="18724" y="11727"/>
                      <a:pt x="18882" y="11494"/>
                    </a:cubicBezTo>
                    <a:cubicBezTo>
                      <a:pt x="18919" y="11439"/>
                      <a:pt x="18953" y="11387"/>
                      <a:pt x="18989" y="11340"/>
                    </a:cubicBezTo>
                    <a:cubicBezTo>
                      <a:pt x="19096" y="11202"/>
                      <a:pt x="19183" y="11125"/>
                      <a:pt x="19231" y="11090"/>
                    </a:cubicBezTo>
                    <a:cubicBezTo>
                      <a:pt x="19285" y="11117"/>
                      <a:pt x="19403" y="11188"/>
                      <a:pt x="19622" y="11387"/>
                    </a:cubicBezTo>
                    <a:cubicBezTo>
                      <a:pt x="19919" y="11658"/>
                      <a:pt x="20277" y="11689"/>
                      <a:pt x="20520" y="11689"/>
                    </a:cubicBezTo>
                    <a:cubicBezTo>
                      <a:pt x="20701" y="11689"/>
                      <a:pt x="20939" y="11612"/>
                      <a:pt x="21281" y="11494"/>
                    </a:cubicBezTo>
                    <a:cubicBezTo>
                      <a:pt x="21406" y="11451"/>
                      <a:pt x="21535" y="11406"/>
                      <a:pt x="21600" y="11391"/>
                    </a:cubicBezTo>
                    <a:lnTo>
                      <a:pt x="21429" y="10655"/>
                    </a:lnTo>
                    <a:cubicBezTo>
                      <a:pt x="21326" y="10679"/>
                      <a:pt x="21192" y="10724"/>
                      <a:pt x="21037" y="10778"/>
                    </a:cubicBezTo>
                    <a:cubicBezTo>
                      <a:pt x="20885" y="10831"/>
                      <a:pt x="20601" y="10929"/>
                      <a:pt x="20520" y="10933"/>
                    </a:cubicBezTo>
                    <a:cubicBezTo>
                      <a:pt x="20323" y="10933"/>
                      <a:pt x="20208" y="10903"/>
                      <a:pt x="20125" y="10827"/>
                    </a:cubicBezTo>
                    <a:cubicBezTo>
                      <a:pt x="19729" y="10468"/>
                      <a:pt x="19465" y="10321"/>
                      <a:pt x="19209" y="10321"/>
                    </a:cubicBezTo>
                    <a:cubicBezTo>
                      <a:pt x="18891" y="10321"/>
                      <a:pt x="18593" y="10623"/>
                      <a:pt x="18398" y="10876"/>
                    </a:cubicBezTo>
                    <a:cubicBezTo>
                      <a:pt x="18347" y="10942"/>
                      <a:pt x="18300" y="11009"/>
                      <a:pt x="18260" y="11068"/>
                    </a:cubicBezTo>
                    <a:cubicBezTo>
                      <a:pt x="18214" y="11137"/>
                      <a:pt x="18131" y="11262"/>
                      <a:pt x="18089" y="11288"/>
                    </a:cubicBezTo>
                    <a:cubicBezTo>
                      <a:pt x="18025" y="11240"/>
                      <a:pt x="17915" y="11074"/>
                      <a:pt x="17848" y="10972"/>
                    </a:cubicBezTo>
                    <a:cubicBezTo>
                      <a:pt x="17824" y="10936"/>
                      <a:pt x="17800" y="10899"/>
                      <a:pt x="17776" y="10864"/>
                    </a:cubicBezTo>
                    <a:lnTo>
                      <a:pt x="17734" y="10800"/>
                    </a:lnTo>
                    <a:cubicBezTo>
                      <a:pt x="17524" y="10488"/>
                      <a:pt x="17262" y="10100"/>
                      <a:pt x="16820" y="10100"/>
                    </a:cubicBezTo>
                    <a:cubicBezTo>
                      <a:pt x="16386" y="10100"/>
                      <a:pt x="16200" y="10421"/>
                      <a:pt x="15985" y="10793"/>
                    </a:cubicBezTo>
                    <a:cubicBezTo>
                      <a:pt x="15963" y="10832"/>
                      <a:pt x="15940" y="10873"/>
                      <a:pt x="15915" y="10916"/>
                    </a:cubicBezTo>
                    <a:cubicBezTo>
                      <a:pt x="15881" y="10974"/>
                      <a:pt x="15849" y="11031"/>
                      <a:pt x="15817" y="11089"/>
                    </a:cubicBezTo>
                    <a:cubicBezTo>
                      <a:pt x="15768" y="11179"/>
                      <a:pt x="15689" y="11322"/>
                      <a:pt x="15636" y="11379"/>
                    </a:cubicBezTo>
                    <a:cubicBezTo>
                      <a:pt x="15569" y="11303"/>
                      <a:pt x="15455" y="11083"/>
                      <a:pt x="15376" y="10932"/>
                    </a:cubicBezTo>
                    <a:cubicBezTo>
                      <a:pt x="15329" y="10841"/>
                      <a:pt x="15281" y="10738"/>
                      <a:pt x="15236" y="10638"/>
                    </a:cubicBezTo>
                    <a:cubicBezTo>
                      <a:pt x="15037" y="10207"/>
                      <a:pt x="14832" y="9760"/>
                      <a:pt x="14392" y="9760"/>
                    </a:cubicBezTo>
                    <a:cubicBezTo>
                      <a:pt x="14192" y="9760"/>
                      <a:pt x="13698" y="9883"/>
                      <a:pt x="13435" y="11021"/>
                    </a:cubicBezTo>
                    <a:cubicBezTo>
                      <a:pt x="13357" y="11357"/>
                      <a:pt x="13273" y="11579"/>
                      <a:pt x="13205" y="11715"/>
                    </a:cubicBezTo>
                    <a:cubicBezTo>
                      <a:pt x="13148" y="11575"/>
                      <a:pt x="13076" y="11355"/>
                      <a:pt x="13006" y="11028"/>
                    </a:cubicBezTo>
                    <a:cubicBezTo>
                      <a:pt x="12807" y="10105"/>
                      <a:pt x="12620" y="9232"/>
                      <a:pt x="11964" y="9232"/>
                    </a:cubicBezTo>
                    <a:cubicBezTo>
                      <a:pt x="11677" y="9232"/>
                      <a:pt x="11160" y="9468"/>
                      <a:pt x="10918" y="11050"/>
                    </a:cubicBezTo>
                    <a:cubicBezTo>
                      <a:pt x="10841" y="11554"/>
                      <a:pt x="10754" y="11935"/>
                      <a:pt x="10675" y="12204"/>
                    </a:cubicBezTo>
                    <a:cubicBezTo>
                      <a:pt x="10626" y="11959"/>
                      <a:pt x="10570" y="11599"/>
                      <a:pt x="10519" y="11072"/>
                    </a:cubicBezTo>
                    <a:cubicBezTo>
                      <a:pt x="10347" y="9278"/>
                      <a:pt x="10207" y="8177"/>
                      <a:pt x="9518" y="8177"/>
                    </a:cubicBezTo>
                    <a:cubicBezTo>
                      <a:pt x="8791" y="8177"/>
                      <a:pt x="8635" y="9324"/>
                      <a:pt x="8479" y="11073"/>
                    </a:cubicBezTo>
                    <a:cubicBezTo>
                      <a:pt x="8464" y="11237"/>
                      <a:pt x="8450" y="11410"/>
                      <a:pt x="8435" y="11586"/>
                    </a:cubicBezTo>
                    <a:cubicBezTo>
                      <a:pt x="8399" y="12017"/>
                      <a:pt x="8343" y="12660"/>
                      <a:pt x="8274" y="13176"/>
                    </a:cubicBezTo>
                    <a:cubicBezTo>
                      <a:pt x="8205" y="12735"/>
                      <a:pt x="8129" y="12070"/>
                      <a:pt x="8048" y="11077"/>
                    </a:cubicBezTo>
                    <a:cubicBezTo>
                      <a:pt x="8013" y="10647"/>
                      <a:pt x="7985" y="10205"/>
                      <a:pt x="7957" y="9779"/>
                    </a:cubicBezTo>
                    <a:cubicBezTo>
                      <a:pt x="7906" y="8996"/>
                      <a:pt x="7857" y="8257"/>
                      <a:pt x="7778" y="7708"/>
                    </a:cubicBezTo>
                    <a:cubicBezTo>
                      <a:pt x="7718" y="7289"/>
                      <a:pt x="7605" y="6511"/>
                      <a:pt x="7054" y="6511"/>
                    </a:cubicBezTo>
                    <a:cubicBezTo>
                      <a:pt x="6549" y="6511"/>
                      <a:pt x="6428" y="7160"/>
                      <a:pt x="6333" y="7946"/>
                    </a:cubicBezTo>
                    <a:cubicBezTo>
                      <a:pt x="6250" y="8624"/>
                      <a:pt x="6196" y="9510"/>
                      <a:pt x="6138" y="10447"/>
                    </a:cubicBezTo>
                    <a:cubicBezTo>
                      <a:pt x="6125" y="10659"/>
                      <a:pt x="6111" y="10872"/>
                      <a:pt x="6098" y="11084"/>
                    </a:cubicBezTo>
                    <a:cubicBezTo>
                      <a:pt x="6070" y="11517"/>
                      <a:pt x="6047" y="12003"/>
                      <a:pt x="6022" y="12518"/>
                    </a:cubicBezTo>
                    <a:cubicBezTo>
                      <a:pt x="5981" y="13382"/>
                      <a:pt x="5921" y="14640"/>
                      <a:pt x="5820" y="15463"/>
                    </a:cubicBezTo>
                    <a:cubicBezTo>
                      <a:pt x="5790" y="15243"/>
                      <a:pt x="5761" y="14961"/>
                      <a:pt x="5734" y="14601"/>
                    </a:cubicBezTo>
                    <a:cubicBezTo>
                      <a:pt x="5665" y="13683"/>
                      <a:pt x="5629" y="12532"/>
                      <a:pt x="5590" y="11315"/>
                    </a:cubicBezTo>
                    <a:lnTo>
                      <a:pt x="5581" y="11095"/>
                    </a:lnTo>
                    <a:cubicBezTo>
                      <a:pt x="5572" y="10811"/>
                      <a:pt x="5564" y="10521"/>
                      <a:pt x="5555" y="10230"/>
                    </a:cubicBezTo>
                    <a:cubicBezTo>
                      <a:pt x="5509" y="8720"/>
                      <a:pt x="5461" y="7158"/>
                      <a:pt x="5374" y="5970"/>
                    </a:cubicBezTo>
                    <a:cubicBezTo>
                      <a:pt x="5325" y="5317"/>
                      <a:pt x="5270" y="4832"/>
                      <a:pt x="5203" y="4489"/>
                    </a:cubicBezTo>
                    <a:cubicBezTo>
                      <a:pt x="5148" y="4212"/>
                      <a:pt x="5034" y="3635"/>
                      <a:pt x="4579" y="3635"/>
                    </a:cubicBezTo>
                    <a:close/>
                  </a:path>
                </a:pathLst>
              </a:custGeom>
              <a:solidFill>
                <a:srgbClr val="929292"/>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grpSp>
        <p:pic>
          <p:nvPicPr>
            <p:cNvPr id="404" name="pasted-image.tiff" descr="pasted-image.tiff"/>
            <p:cNvPicPr>
              <a:picLocks noChangeAspect="1"/>
            </p:cNvPicPr>
            <p:nvPr/>
          </p:nvPicPr>
          <p:blipFill>
            <a:blip r:embed="rId2"/>
            <a:stretch>
              <a:fillRect/>
            </a:stretch>
          </p:blipFill>
          <p:spPr>
            <a:xfrm>
              <a:off x="10438085" y="2165049"/>
              <a:ext cx="830843" cy="830842"/>
            </a:xfrm>
            <a:prstGeom prst="rect">
              <a:avLst/>
            </a:prstGeom>
            <a:ln w="12700" cap="flat">
              <a:noFill/>
              <a:miter lim="400000"/>
            </a:ln>
            <a:effectLst/>
          </p:spPr>
        </p:pic>
        <p:pic>
          <p:nvPicPr>
            <p:cNvPr id="405" name="pasted-image.tiff" descr="pasted-image.tiff"/>
            <p:cNvPicPr>
              <a:picLocks noChangeAspect="1"/>
            </p:cNvPicPr>
            <p:nvPr/>
          </p:nvPicPr>
          <p:blipFill>
            <a:blip r:embed="rId3"/>
            <a:stretch>
              <a:fillRect/>
            </a:stretch>
          </p:blipFill>
          <p:spPr>
            <a:xfrm>
              <a:off x="8386233" y="3532488"/>
              <a:ext cx="719834" cy="753574"/>
            </a:xfrm>
            <a:prstGeom prst="rect">
              <a:avLst/>
            </a:prstGeom>
            <a:ln w="12700" cap="flat">
              <a:noFill/>
              <a:miter lim="400000"/>
            </a:ln>
            <a:effectLst/>
          </p:spPr>
        </p:pic>
        <p:pic>
          <p:nvPicPr>
            <p:cNvPr id="406" name="pasted-image.tiff" descr="pasted-image.tiff"/>
            <p:cNvPicPr>
              <a:picLocks noChangeAspect="1"/>
            </p:cNvPicPr>
            <p:nvPr/>
          </p:nvPicPr>
          <p:blipFill>
            <a:blip r:embed="rId4"/>
            <a:stretch>
              <a:fillRect/>
            </a:stretch>
          </p:blipFill>
          <p:spPr>
            <a:xfrm>
              <a:off x="7296308" y="4197369"/>
              <a:ext cx="752616" cy="752617"/>
            </a:xfrm>
            <a:prstGeom prst="rect">
              <a:avLst/>
            </a:prstGeom>
            <a:ln w="12700" cap="flat">
              <a:noFill/>
              <a:miter lim="400000"/>
            </a:ln>
            <a:effectLst/>
          </p:spPr>
        </p:pic>
        <p:pic>
          <p:nvPicPr>
            <p:cNvPr id="407" name="pasted-image.tiff" descr="pasted-image.tiff"/>
            <p:cNvPicPr>
              <a:picLocks noChangeAspect="1"/>
            </p:cNvPicPr>
            <p:nvPr/>
          </p:nvPicPr>
          <p:blipFill>
            <a:blip r:embed="rId5"/>
            <a:stretch>
              <a:fillRect/>
            </a:stretch>
          </p:blipFill>
          <p:spPr>
            <a:xfrm>
              <a:off x="6183813" y="4876188"/>
              <a:ext cx="707503" cy="723784"/>
            </a:xfrm>
            <a:prstGeom prst="rect">
              <a:avLst/>
            </a:prstGeom>
            <a:ln w="12700" cap="flat">
              <a:noFill/>
              <a:miter lim="400000"/>
            </a:ln>
            <a:effectLst/>
          </p:spPr>
        </p:pic>
        <p:sp>
          <p:nvSpPr>
            <p:cNvPr id="408" name="Arrow 4"/>
            <p:cNvSpPr/>
            <p:nvPr/>
          </p:nvSpPr>
          <p:spPr>
            <a:xfrm>
              <a:off x="7051379" y="5590444"/>
              <a:ext cx="693747" cy="708119"/>
            </a:xfrm>
            <a:custGeom>
              <a:avLst/>
              <a:gdLst/>
              <a:ahLst/>
              <a:cxnLst>
                <a:cxn ang="0">
                  <a:pos x="wd2" y="hd2"/>
                </a:cxn>
                <a:cxn ang="5400000">
                  <a:pos x="wd2" y="hd2"/>
                </a:cxn>
                <a:cxn ang="10800000">
                  <a:pos x="wd2" y="hd2"/>
                </a:cxn>
                <a:cxn ang="16200000">
                  <a:pos x="wd2" y="hd2"/>
                </a:cxn>
              </a:cxnLst>
              <a:rect l="0" t="0" r="r" b="b"/>
              <a:pathLst>
                <a:path w="21600" h="21600" extrusionOk="0">
                  <a:moveTo>
                    <a:pt x="12228" y="0"/>
                  </a:moveTo>
                  <a:cubicBezTo>
                    <a:pt x="7061" y="0"/>
                    <a:pt x="2855" y="4119"/>
                    <a:pt x="2855" y="9181"/>
                  </a:cubicBezTo>
                  <a:cubicBezTo>
                    <a:pt x="2855" y="9198"/>
                    <a:pt x="2856" y="9214"/>
                    <a:pt x="2857" y="9231"/>
                  </a:cubicBezTo>
                  <a:lnTo>
                    <a:pt x="2855" y="14548"/>
                  </a:lnTo>
                  <a:lnTo>
                    <a:pt x="0" y="14548"/>
                  </a:lnTo>
                  <a:lnTo>
                    <a:pt x="5299" y="21597"/>
                  </a:lnTo>
                  <a:lnTo>
                    <a:pt x="10598" y="14548"/>
                  </a:lnTo>
                  <a:lnTo>
                    <a:pt x="7729" y="14548"/>
                  </a:lnTo>
                  <a:lnTo>
                    <a:pt x="7729" y="9210"/>
                  </a:lnTo>
                  <a:cubicBezTo>
                    <a:pt x="7729" y="9201"/>
                    <a:pt x="7729" y="9191"/>
                    <a:pt x="7729" y="9181"/>
                  </a:cubicBezTo>
                  <a:cubicBezTo>
                    <a:pt x="7729" y="6751"/>
                    <a:pt x="9747" y="4773"/>
                    <a:pt x="12228" y="4773"/>
                  </a:cubicBezTo>
                  <a:lnTo>
                    <a:pt x="12230" y="4773"/>
                  </a:lnTo>
                  <a:cubicBezTo>
                    <a:pt x="14711" y="4774"/>
                    <a:pt x="16728" y="6751"/>
                    <a:pt x="16728" y="9181"/>
                  </a:cubicBezTo>
                  <a:cubicBezTo>
                    <a:pt x="16728" y="9191"/>
                    <a:pt x="16714" y="21600"/>
                    <a:pt x="16714" y="21600"/>
                  </a:cubicBezTo>
                  <a:lnTo>
                    <a:pt x="21591" y="21600"/>
                  </a:lnTo>
                  <a:cubicBezTo>
                    <a:pt x="21591" y="21600"/>
                    <a:pt x="21600" y="9202"/>
                    <a:pt x="21600" y="9181"/>
                  </a:cubicBezTo>
                  <a:cubicBezTo>
                    <a:pt x="21600" y="4144"/>
                    <a:pt x="17438" y="41"/>
                    <a:pt x="12306" y="0"/>
                  </a:cubicBezTo>
                  <a:lnTo>
                    <a:pt x="12230" y="0"/>
                  </a:lnTo>
                  <a:cubicBezTo>
                    <a:pt x="12230" y="0"/>
                    <a:pt x="12229" y="0"/>
                    <a:pt x="12228" y="0"/>
                  </a:cubicBez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409" name="Puzzle Piece"/>
            <p:cNvSpPr/>
            <p:nvPr/>
          </p:nvSpPr>
          <p:spPr>
            <a:xfrm>
              <a:off x="11791170" y="2947604"/>
              <a:ext cx="240986" cy="241852"/>
            </a:xfrm>
            <a:custGeom>
              <a:avLst/>
              <a:gdLst/>
              <a:ahLst/>
              <a:cxnLst>
                <a:cxn ang="0">
                  <a:pos x="wd2" y="hd2"/>
                </a:cxn>
                <a:cxn ang="5400000">
                  <a:pos x="wd2" y="hd2"/>
                </a:cxn>
                <a:cxn ang="10800000">
                  <a:pos x="wd2" y="hd2"/>
                </a:cxn>
                <a:cxn ang="16200000">
                  <a:pos x="wd2" y="hd2"/>
                </a:cxn>
              </a:cxnLst>
              <a:rect l="0" t="0" r="r" b="b"/>
              <a:pathLst>
                <a:path w="21600" h="21600" extrusionOk="0">
                  <a:moveTo>
                    <a:pt x="559" y="0"/>
                  </a:moveTo>
                  <a:cubicBezTo>
                    <a:pt x="251" y="0"/>
                    <a:pt x="0" y="250"/>
                    <a:pt x="0" y="557"/>
                  </a:cubicBezTo>
                  <a:lnTo>
                    <a:pt x="0" y="15411"/>
                  </a:lnTo>
                  <a:cubicBezTo>
                    <a:pt x="0" y="15717"/>
                    <a:pt x="251" y="15967"/>
                    <a:pt x="559" y="15967"/>
                  </a:cubicBezTo>
                  <a:lnTo>
                    <a:pt x="5699" y="15967"/>
                  </a:lnTo>
                  <a:cubicBezTo>
                    <a:pt x="6442" y="16247"/>
                    <a:pt x="6547" y="16971"/>
                    <a:pt x="6547" y="16971"/>
                  </a:cubicBezTo>
                  <a:cubicBezTo>
                    <a:pt x="6592" y="17343"/>
                    <a:pt x="6223" y="17890"/>
                    <a:pt x="6075" y="18092"/>
                  </a:cubicBezTo>
                  <a:cubicBezTo>
                    <a:pt x="5749" y="18463"/>
                    <a:pt x="5552" y="18940"/>
                    <a:pt x="5552" y="19460"/>
                  </a:cubicBezTo>
                  <a:cubicBezTo>
                    <a:pt x="5552" y="20642"/>
                    <a:pt x="6569" y="21600"/>
                    <a:pt x="7823" y="21600"/>
                  </a:cubicBezTo>
                  <a:cubicBezTo>
                    <a:pt x="9077" y="21600"/>
                    <a:pt x="10095" y="20642"/>
                    <a:pt x="10095" y="19460"/>
                  </a:cubicBezTo>
                  <a:cubicBezTo>
                    <a:pt x="10095" y="18976"/>
                    <a:pt x="9923" y="18530"/>
                    <a:pt x="9636" y="18172"/>
                  </a:cubicBezTo>
                  <a:lnTo>
                    <a:pt x="9634" y="18170"/>
                  </a:lnTo>
                  <a:cubicBezTo>
                    <a:pt x="9604" y="18133"/>
                    <a:pt x="9050" y="17422"/>
                    <a:pt x="9104" y="16971"/>
                  </a:cubicBezTo>
                  <a:cubicBezTo>
                    <a:pt x="9104" y="16971"/>
                    <a:pt x="9211" y="16247"/>
                    <a:pt x="9955" y="15967"/>
                  </a:cubicBezTo>
                  <a:lnTo>
                    <a:pt x="15373" y="15967"/>
                  </a:lnTo>
                  <a:cubicBezTo>
                    <a:pt x="15681" y="15967"/>
                    <a:pt x="15932" y="15717"/>
                    <a:pt x="15932" y="15411"/>
                  </a:cubicBezTo>
                  <a:lnTo>
                    <a:pt x="15932" y="9979"/>
                  </a:lnTo>
                  <a:cubicBezTo>
                    <a:pt x="16201" y="9201"/>
                    <a:pt x="16953" y="9092"/>
                    <a:pt x="16953" y="9092"/>
                  </a:cubicBezTo>
                  <a:cubicBezTo>
                    <a:pt x="17326" y="9047"/>
                    <a:pt x="17877" y="9415"/>
                    <a:pt x="18080" y="9562"/>
                  </a:cubicBezTo>
                  <a:cubicBezTo>
                    <a:pt x="18452" y="9888"/>
                    <a:pt x="18930" y="10084"/>
                    <a:pt x="19452" y="10084"/>
                  </a:cubicBezTo>
                  <a:cubicBezTo>
                    <a:pt x="20639" y="10084"/>
                    <a:pt x="21600" y="9070"/>
                    <a:pt x="21600" y="7820"/>
                  </a:cubicBezTo>
                  <a:cubicBezTo>
                    <a:pt x="21600" y="6571"/>
                    <a:pt x="20639" y="5559"/>
                    <a:pt x="19452" y="5559"/>
                  </a:cubicBezTo>
                  <a:cubicBezTo>
                    <a:pt x="18965" y="5559"/>
                    <a:pt x="18518" y="5731"/>
                    <a:pt x="18158" y="6018"/>
                  </a:cubicBezTo>
                  <a:lnTo>
                    <a:pt x="18158" y="6015"/>
                  </a:lnTo>
                  <a:cubicBezTo>
                    <a:pt x="18125" y="6041"/>
                    <a:pt x="17407" y="6598"/>
                    <a:pt x="16953" y="6544"/>
                  </a:cubicBezTo>
                  <a:cubicBezTo>
                    <a:pt x="16953" y="6544"/>
                    <a:pt x="16201" y="6436"/>
                    <a:pt x="15932" y="5658"/>
                  </a:cubicBezTo>
                  <a:lnTo>
                    <a:pt x="15932" y="557"/>
                  </a:lnTo>
                  <a:cubicBezTo>
                    <a:pt x="15932" y="250"/>
                    <a:pt x="15681" y="0"/>
                    <a:pt x="15373" y="0"/>
                  </a:cubicBezTo>
                  <a:lnTo>
                    <a:pt x="9592" y="0"/>
                  </a:lnTo>
                  <a:cubicBezTo>
                    <a:pt x="9174" y="329"/>
                    <a:pt x="9104" y="800"/>
                    <a:pt x="9104" y="800"/>
                  </a:cubicBezTo>
                  <a:cubicBezTo>
                    <a:pt x="9050" y="1253"/>
                    <a:pt x="9609" y="1969"/>
                    <a:pt x="9636" y="2001"/>
                  </a:cubicBezTo>
                  <a:lnTo>
                    <a:pt x="9634" y="2001"/>
                  </a:lnTo>
                  <a:cubicBezTo>
                    <a:pt x="9922" y="2360"/>
                    <a:pt x="10095" y="2804"/>
                    <a:pt x="10095" y="3289"/>
                  </a:cubicBezTo>
                  <a:cubicBezTo>
                    <a:pt x="10095" y="4471"/>
                    <a:pt x="9077" y="5431"/>
                    <a:pt x="7823" y="5431"/>
                  </a:cubicBezTo>
                  <a:cubicBezTo>
                    <a:pt x="6569" y="5431"/>
                    <a:pt x="5552" y="4471"/>
                    <a:pt x="5552" y="3289"/>
                  </a:cubicBezTo>
                  <a:cubicBezTo>
                    <a:pt x="5552" y="2769"/>
                    <a:pt x="5749" y="2294"/>
                    <a:pt x="6075" y="1924"/>
                  </a:cubicBezTo>
                  <a:cubicBezTo>
                    <a:pt x="6223" y="1721"/>
                    <a:pt x="6592" y="1172"/>
                    <a:pt x="6547" y="800"/>
                  </a:cubicBezTo>
                  <a:cubicBezTo>
                    <a:pt x="6547" y="800"/>
                    <a:pt x="6479" y="329"/>
                    <a:pt x="6061" y="0"/>
                  </a:cubicBezTo>
                  <a:lnTo>
                    <a:pt x="559" y="0"/>
                  </a:lnTo>
                  <a:close/>
                </a:path>
              </a:pathLst>
            </a:custGeom>
            <a:solidFill>
              <a:srgbClr val="000000"/>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sp>
          <p:nvSpPr>
            <p:cNvPr id="410" name="Puzzle Piece"/>
            <p:cNvSpPr/>
            <p:nvPr/>
          </p:nvSpPr>
          <p:spPr>
            <a:xfrm rot="14990858">
              <a:off x="11881986" y="3353560"/>
              <a:ext cx="240986" cy="241852"/>
            </a:xfrm>
            <a:custGeom>
              <a:avLst/>
              <a:gdLst/>
              <a:ahLst/>
              <a:cxnLst>
                <a:cxn ang="0">
                  <a:pos x="wd2" y="hd2"/>
                </a:cxn>
                <a:cxn ang="5400000">
                  <a:pos x="wd2" y="hd2"/>
                </a:cxn>
                <a:cxn ang="10800000">
                  <a:pos x="wd2" y="hd2"/>
                </a:cxn>
                <a:cxn ang="16200000">
                  <a:pos x="wd2" y="hd2"/>
                </a:cxn>
              </a:cxnLst>
              <a:rect l="0" t="0" r="r" b="b"/>
              <a:pathLst>
                <a:path w="21600" h="21600" extrusionOk="0">
                  <a:moveTo>
                    <a:pt x="559" y="0"/>
                  </a:moveTo>
                  <a:cubicBezTo>
                    <a:pt x="251" y="0"/>
                    <a:pt x="0" y="250"/>
                    <a:pt x="0" y="557"/>
                  </a:cubicBezTo>
                  <a:lnTo>
                    <a:pt x="0" y="15411"/>
                  </a:lnTo>
                  <a:cubicBezTo>
                    <a:pt x="0" y="15717"/>
                    <a:pt x="251" y="15967"/>
                    <a:pt x="559" y="15967"/>
                  </a:cubicBezTo>
                  <a:lnTo>
                    <a:pt x="5699" y="15967"/>
                  </a:lnTo>
                  <a:cubicBezTo>
                    <a:pt x="6442" y="16247"/>
                    <a:pt x="6547" y="16971"/>
                    <a:pt x="6547" y="16971"/>
                  </a:cubicBezTo>
                  <a:cubicBezTo>
                    <a:pt x="6592" y="17343"/>
                    <a:pt x="6223" y="17890"/>
                    <a:pt x="6075" y="18092"/>
                  </a:cubicBezTo>
                  <a:cubicBezTo>
                    <a:pt x="5749" y="18463"/>
                    <a:pt x="5552" y="18940"/>
                    <a:pt x="5552" y="19460"/>
                  </a:cubicBezTo>
                  <a:cubicBezTo>
                    <a:pt x="5552" y="20642"/>
                    <a:pt x="6569" y="21600"/>
                    <a:pt x="7823" y="21600"/>
                  </a:cubicBezTo>
                  <a:cubicBezTo>
                    <a:pt x="9077" y="21600"/>
                    <a:pt x="10095" y="20642"/>
                    <a:pt x="10095" y="19460"/>
                  </a:cubicBezTo>
                  <a:cubicBezTo>
                    <a:pt x="10095" y="18976"/>
                    <a:pt x="9923" y="18530"/>
                    <a:pt x="9636" y="18172"/>
                  </a:cubicBezTo>
                  <a:lnTo>
                    <a:pt x="9634" y="18170"/>
                  </a:lnTo>
                  <a:cubicBezTo>
                    <a:pt x="9604" y="18133"/>
                    <a:pt x="9050" y="17422"/>
                    <a:pt x="9104" y="16971"/>
                  </a:cubicBezTo>
                  <a:cubicBezTo>
                    <a:pt x="9104" y="16971"/>
                    <a:pt x="9211" y="16247"/>
                    <a:pt x="9955" y="15967"/>
                  </a:cubicBezTo>
                  <a:lnTo>
                    <a:pt x="15373" y="15967"/>
                  </a:lnTo>
                  <a:cubicBezTo>
                    <a:pt x="15681" y="15967"/>
                    <a:pt x="15932" y="15717"/>
                    <a:pt x="15932" y="15411"/>
                  </a:cubicBezTo>
                  <a:lnTo>
                    <a:pt x="15932" y="9979"/>
                  </a:lnTo>
                  <a:cubicBezTo>
                    <a:pt x="16201" y="9201"/>
                    <a:pt x="16953" y="9092"/>
                    <a:pt x="16953" y="9092"/>
                  </a:cubicBezTo>
                  <a:cubicBezTo>
                    <a:pt x="17326" y="9047"/>
                    <a:pt x="17877" y="9415"/>
                    <a:pt x="18080" y="9562"/>
                  </a:cubicBezTo>
                  <a:cubicBezTo>
                    <a:pt x="18452" y="9888"/>
                    <a:pt x="18930" y="10084"/>
                    <a:pt x="19452" y="10084"/>
                  </a:cubicBezTo>
                  <a:cubicBezTo>
                    <a:pt x="20639" y="10084"/>
                    <a:pt x="21600" y="9070"/>
                    <a:pt x="21600" y="7820"/>
                  </a:cubicBezTo>
                  <a:cubicBezTo>
                    <a:pt x="21600" y="6571"/>
                    <a:pt x="20639" y="5559"/>
                    <a:pt x="19452" y="5559"/>
                  </a:cubicBezTo>
                  <a:cubicBezTo>
                    <a:pt x="18965" y="5559"/>
                    <a:pt x="18518" y="5731"/>
                    <a:pt x="18158" y="6018"/>
                  </a:cubicBezTo>
                  <a:lnTo>
                    <a:pt x="18158" y="6015"/>
                  </a:lnTo>
                  <a:cubicBezTo>
                    <a:pt x="18125" y="6041"/>
                    <a:pt x="17407" y="6598"/>
                    <a:pt x="16953" y="6544"/>
                  </a:cubicBezTo>
                  <a:cubicBezTo>
                    <a:pt x="16953" y="6544"/>
                    <a:pt x="16201" y="6436"/>
                    <a:pt x="15932" y="5658"/>
                  </a:cubicBezTo>
                  <a:lnTo>
                    <a:pt x="15932" y="557"/>
                  </a:lnTo>
                  <a:cubicBezTo>
                    <a:pt x="15932" y="250"/>
                    <a:pt x="15681" y="0"/>
                    <a:pt x="15373" y="0"/>
                  </a:cubicBezTo>
                  <a:lnTo>
                    <a:pt x="9592" y="0"/>
                  </a:lnTo>
                  <a:cubicBezTo>
                    <a:pt x="9174" y="329"/>
                    <a:pt x="9104" y="800"/>
                    <a:pt x="9104" y="800"/>
                  </a:cubicBezTo>
                  <a:cubicBezTo>
                    <a:pt x="9050" y="1253"/>
                    <a:pt x="9609" y="1969"/>
                    <a:pt x="9636" y="2001"/>
                  </a:cubicBezTo>
                  <a:lnTo>
                    <a:pt x="9634" y="2001"/>
                  </a:lnTo>
                  <a:cubicBezTo>
                    <a:pt x="9922" y="2360"/>
                    <a:pt x="10095" y="2804"/>
                    <a:pt x="10095" y="3289"/>
                  </a:cubicBezTo>
                  <a:cubicBezTo>
                    <a:pt x="10095" y="4471"/>
                    <a:pt x="9077" y="5431"/>
                    <a:pt x="7823" y="5431"/>
                  </a:cubicBezTo>
                  <a:cubicBezTo>
                    <a:pt x="6569" y="5431"/>
                    <a:pt x="5552" y="4471"/>
                    <a:pt x="5552" y="3289"/>
                  </a:cubicBezTo>
                  <a:cubicBezTo>
                    <a:pt x="5552" y="2769"/>
                    <a:pt x="5749" y="2294"/>
                    <a:pt x="6075" y="1924"/>
                  </a:cubicBezTo>
                  <a:cubicBezTo>
                    <a:pt x="6223" y="1721"/>
                    <a:pt x="6592" y="1172"/>
                    <a:pt x="6547" y="800"/>
                  </a:cubicBezTo>
                  <a:cubicBezTo>
                    <a:pt x="6547" y="800"/>
                    <a:pt x="6479" y="329"/>
                    <a:pt x="6061" y="0"/>
                  </a:cubicBezTo>
                  <a:lnTo>
                    <a:pt x="559" y="0"/>
                  </a:lnTo>
                  <a:close/>
                </a:path>
              </a:pathLst>
            </a:custGeom>
            <a:solidFill>
              <a:srgbClr val="929292"/>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pic>
          <p:nvPicPr>
            <p:cNvPr id="411" name="Cog-icon-grey.svg.png" descr="Cog-icon-grey.svg.png"/>
            <p:cNvPicPr>
              <a:picLocks noChangeAspect="1"/>
            </p:cNvPicPr>
            <p:nvPr/>
          </p:nvPicPr>
          <p:blipFill>
            <a:blip r:embed="rId6"/>
            <a:stretch>
              <a:fillRect/>
            </a:stretch>
          </p:blipFill>
          <p:spPr>
            <a:xfrm rot="10681830">
              <a:off x="9374345" y="2781771"/>
              <a:ext cx="729294" cy="926203"/>
            </a:xfrm>
            <a:prstGeom prst="rect">
              <a:avLst/>
            </a:prstGeom>
            <a:ln w="12700" cap="flat">
              <a:noFill/>
              <a:miter lim="400000"/>
            </a:ln>
            <a:effectLst/>
          </p:spPr>
        </p:pic>
        <p:sp>
          <p:nvSpPr>
            <p:cNvPr id="412" name="Puzzle Piece"/>
            <p:cNvSpPr/>
            <p:nvPr/>
          </p:nvSpPr>
          <p:spPr>
            <a:xfrm rot="17167593">
              <a:off x="12630794" y="2821086"/>
              <a:ext cx="240986" cy="241852"/>
            </a:xfrm>
            <a:custGeom>
              <a:avLst/>
              <a:gdLst/>
              <a:ahLst/>
              <a:cxnLst>
                <a:cxn ang="0">
                  <a:pos x="wd2" y="hd2"/>
                </a:cxn>
                <a:cxn ang="5400000">
                  <a:pos x="wd2" y="hd2"/>
                </a:cxn>
                <a:cxn ang="10800000">
                  <a:pos x="wd2" y="hd2"/>
                </a:cxn>
                <a:cxn ang="16200000">
                  <a:pos x="wd2" y="hd2"/>
                </a:cxn>
              </a:cxnLst>
              <a:rect l="0" t="0" r="r" b="b"/>
              <a:pathLst>
                <a:path w="21600" h="21600" extrusionOk="0">
                  <a:moveTo>
                    <a:pt x="559" y="0"/>
                  </a:moveTo>
                  <a:cubicBezTo>
                    <a:pt x="251" y="0"/>
                    <a:pt x="0" y="250"/>
                    <a:pt x="0" y="557"/>
                  </a:cubicBezTo>
                  <a:lnTo>
                    <a:pt x="0" y="15411"/>
                  </a:lnTo>
                  <a:cubicBezTo>
                    <a:pt x="0" y="15717"/>
                    <a:pt x="251" y="15967"/>
                    <a:pt x="559" y="15967"/>
                  </a:cubicBezTo>
                  <a:lnTo>
                    <a:pt x="5699" y="15967"/>
                  </a:lnTo>
                  <a:cubicBezTo>
                    <a:pt x="6442" y="16247"/>
                    <a:pt x="6547" y="16971"/>
                    <a:pt x="6547" y="16971"/>
                  </a:cubicBezTo>
                  <a:cubicBezTo>
                    <a:pt x="6592" y="17343"/>
                    <a:pt x="6223" y="17890"/>
                    <a:pt x="6075" y="18092"/>
                  </a:cubicBezTo>
                  <a:cubicBezTo>
                    <a:pt x="5749" y="18463"/>
                    <a:pt x="5552" y="18940"/>
                    <a:pt x="5552" y="19460"/>
                  </a:cubicBezTo>
                  <a:cubicBezTo>
                    <a:pt x="5552" y="20642"/>
                    <a:pt x="6569" y="21600"/>
                    <a:pt x="7823" y="21600"/>
                  </a:cubicBezTo>
                  <a:cubicBezTo>
                    <a:pt x="9077" y="21600"/>
                    <a:pt x="10095" y="20642"/>
                    <a:pt x="10095" y="19460"/>
                  </a:cubicBezTo>
                  <a:cubicBezTo>
                    <a:pt x="10095" y="18976"/>
                    <a:pt x="9923" y="18530"/>
                    <a:pt x="9636" y="18172"/>
                  </a:cubicBezTo>
                  <a:lnTo>
                    <a:pt x="9634" y="18170"/>
                  </a:lnTo>
                  <a:cubicBezTo>
                    <a:pt x="9604" y="18133"/>
                    <a:pt x="9050" y="17422"/>
                    <a:pt x="9104" y="16971"/>
                  </a:cubicBezTo>
                  <a:cubicBezTo>
                    <a:pt x="9104" y="16971"/>
                    <a:pt x="9211" y="16247"/>
                    <a:pt x="9955" y="15967"/>
                  </a:cubicBezTo>
                  <a:lnTo>
                    <a:pt x="15373" y="15967"/>
                  </a:lnTo>
                  <a:cubicBezTo>
                    <a:pt x="15681" y="15967"/>
                    <a:pt x="15932" y="15717"/>
                    <a:pt x="15932" y="15411"/>
                  </a:cubicBezTo>
                  <a:lnTo>
                    <a:pt x="15932" y="9979"/>
                  </a:lnTo>
                  <a:cubicBezTo>
                    <a:pt x="16201" y="9201"/>
                    <a:pt x="16953" y="9092"/>
                    <a:pt x="16953" y="9092"/>
                  </a:cubicBezTo>
                  <a:cubicBezTo>
                    <a:pt x="17326" y="9047"/>
                    <a:pt x="17877" y="9415"/>
                    <a:pt x="18080" y="9562"/>
                  </a:cubicBezTo>
                  <a:cubicBezTo>
                    <a:pt x="18452" y="9888"/>
                    <a:pt x="18930" y="10084"/>
                    <a:pt x="19452" y="10084"/>
                  </a:cubicBezTo>
                  <a:cubicBezTo>
                    <a:pt x="20639" y="10084"/>
                    <a:pt x="21600" y="9070"/>
                    <a:pt x="21600" y="7820"/>
                  </a:cubicBezTo>
                  <a:cubicBezTo>
                    <a:pt x="21600" y="6571"/>
                    <a:pt x="20639" y="5559"/>
                    <a:pt x="19452" y="5559"/>
                  </a:cubicBezTo>
                  <a:cubicBezTo>
                    <a:pt x="18965" y="5559"/>
                    <a:pt x="18518" y="5731"/>
                    <a:pt x="18158" y="6018"/>
                  </a:cubicBezTo>
                  <a:lnTo>
                    <a:pt x="18158" y="6015"/>
                  </a:lnTo>
                  <a:cubicBezTo>
                    <a:pt x="18125" y="6041"/>
                    <a:pt x="17407" y="6598"/>
                    <a:pt x="16953" y="6544"/>
                  </a:cubicBezTo>
                  <a:cubicBezTo>
                    <a:pt x="16953" y="6544"/>
                    <a:pt x="16201" y="6436"/>
                    <a:pt x="15932" y="5658"/>
                  </a:cubicBezTo>
                  <a:lnTo>
                    <a:pt x="15932" y="557"/>
                  </a:lnTo>
                  <a:cubicBezTo>
                    <a:pt x="15932" y="250"/>
                    <a:pt x="15681" y="0"/>
                    <a:pt x="15373" y="0"/>
                  </a:cubicBezTo>
                  <a:lnTo>
                    <a:pt x="9592" y="0"/>
                  </a:lnTo>
                  <a:cubicBezTo>
                    <a:pt x="9174" y="329"/>
                    <a:pt x="9104" y="800"/>
                    <a:pt x="9104" y="800"/>
                  </a:cubicBezTo>
                  <a:cubicBezTo>
                    <a:pt x="9050" y="1253"/>
                    <a:pt x="9609" y="1969"/>
                    <a:pt x="9636" y="2001"/>
                  </a:cubicBezTo>
                  <a:lnTo>
                    <a:pt x="9634" y="2001"/>
                  </a:lnTo>
                  <a:cubicBezTo>
                    <a:pt x="9922" y="2360"/>
                    <a:pt x="10095" y="2804"/>
                    <a:pt x="10095" y="3289"/>
                  </a:cubicBezTo>
                  <a:cubicBezTo>
                    <a:pt x="10095" y="4471"/>
                    <a:pt x="9077" y="5431"/>
                    <a:pt x="7823" y="5431"/>
                  </a:cubicBezTo>
                  <a:cubicBezTo>
                    <a:pt x="6569" y="5431"/>
                    <a:pt x="5552" y="4471"/>
                    <a:pt x="5552" y="3289"/>
                  </a:cubicBezTo>
                  <a:cubicBezTo>
                    <a:pt x="5552" y="2769"/>
                    <a:pt x="5749" y="2294"/>
                    <a:pt x="6075" y="1924"/>
                  </a:cubicBezTo>
                  <a:cubicBezTo>
                    <a:pt x="6223" y="1721"/>
                    <a:pt x="6592" y="1172"/>
                    <a:pt x="6547" y="800"/>
                  </a:cubicBezTo>
                  <a:cubicBezTo>
                    <a:pt x="6547" y="800"/>
                    <a:pt x="6479" y="329"/>
                    <a:pt x="6061" y="0"/>
                  </a:cubicBezTo>
                  <a:lnTo>
                    <a:pt x="559" y="0"/>
                  </a:ln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grpSp>
      <p:sp>
        <p:nvSpPr>
          <p:cNvPr id="414" name="Caesar (2019) https://www.linkedin.com/pulse/future-data-driven-healthcare-we-only-knew-what-know-michael-caesar/"/>
          <p:cNvSpPr txBox="1"/>
          <p:nvPr/>
        </p:nvSpPr>
        <p:spPr>
          <a:xfrm>
            <a:off x="4447558" y="5778390"/>
            <a:ext cx="3813497" cy="1192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defRPr sz="700"/>
            </a:lvl1pPr>
          </a:lstStyle>
          <a:p>
            <a:r>
              <a:rPr sz="525"/>
              <a:t>Caesar (2019) https://www.linkedin.com/pulse/future-data-driven-healthcare-we-only-knew-what-know-michael-caesar/</a:t>
            </a:r>
          </a:p>
        </p:txBody>
      </p:sp>
      <p:sp>
        <p:nvSpPr>
          <p:cNvPr id="415" name="Michael Caesar, Chief Data &amp; Analytics Officer, UHN, 2022"/>
          <p:cNvSpPr txBox="1"/>
          <p:nvPr/>
        </p:nvSpPr>
        <p:spPr>
          <a:xfrm>
            <a:off x="325285" y="5824495"/>
            <a:ext cx="1840583" cy="1192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defRPr sz="700"/>
            </a:lvl1pPr>
          </a:lstStyle>
          <a:p>
            <a:r>
              <a:rPr sz="525"/>
              <a:t>Michael Caesar, Chief Data &amp; Analytics Officer, UHN, 2022</a:t>
            </a:r>
          </a:p>
        </p:txBody>
      </p:sp>
      <p:grpSp>
        <p:nvGrpSpPr>
          <p:cNvPr id="418" name="Group"/>
          <p:cNvGrpSpPr/>
          <p:nvPr/>
        </p:nvGrpSpPr>
        <p:grpSpPr>
          <a:xfrm>
            <a:off x="8228389" y="5655479"/>
            <a:ext cx="839564" cy="517987"/>
            <a:chOff x="0" y="0"/>
            <a:chExt cx="1119416" cy="690647"/>
          </a:xfrm>
        </p:grpSpPr>
        <p:sp>
          <p:nvSpPr>
            <p:cNvPr id="416" name="Data &amp; Analytics"/>
            <p:cNvSpPr txBox="1"/>
            <p:nvPr/>
          </p:nvSpPr>
          <p:spPr>
            <a:xfrm>
              <a:off x="325209" y="515794"/>
              <a:ext cx="794208" cy="17485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9050" tIns="19050" rIns="19050" bIns="19050" numCol="1" anchor="ctr">
              <a:spAutoFit/>
            </a:bodyPr>
            <a:lstStyle>
              <a:lvl1pPr algn="ctr" defTabSz="1219168">
                <a:defRPr sz="800" b="1" spc="-32">
                  <a:solidFill>
                    <a:srgbClr val="5E5E5E"/>
                  </a:solidFill>
                  <a:latin typeface="Helvetica Neue"/>
                  <a:ea typeface="Helvetica Neue"/>
                  <a:cs typeface="Helvetica Neue"/>
                  <a:sym typeface="Helvetica Neue"/>
                </a:defRPr>
              </a:lvl1pPr>
            </a:lstStyle>
            <a:p>
              <a:r>
                <a:rPr sz="600"/>
                <a:t>Data &amp; Analytics</a:t>
              </a:r>
            </a:p>
          </p:txBody>
        </p:sp>
        <p:pic>
          <p:nvPicPr>
            <p:cNvPr id="417" name="pasted-image.tiff" descr="pasted-image.tiff"/>
            <p:cNvPicPr>
              <a:picLocks noChangeAspect="1"/>
            </p:cNvPicPr>
            <p:nvPr/>
          </p:nvPicPr>
          <p:blipFill>
            <a:blip r:embed="rId7"/>
            <a:srcRect r="27280"/>
            <a:stretch>
              <a:fillRect/>
            </a:stretch>
          </p:blipFill>
          <p:spPr>
            <a:xfrm>
              <a:off x="0" y="0"/>
              <a:ext cx="733516" cy="229760"/>
            </a:xfrm>
            <a:prstGeom prst="rect">
              <a:avLst/>
            </a:prstGeom>
            <a:ln w="12700" cap="flat">
              <a:noFill/>
              <a:miter lim="400000"/>
            </a:ln>
            <a:effectLst/>
          </p:spPr>
        </p:pic>
      </p:grpSp>
    </p:spTree>
    <p:extLst>
      <p:ext uri="{BB962C8B-B14F-4D97-AF65-F5344CB8AC3E}">
        <p14:creationId xmlns:p14="http://schemas.microsoft.com/office/powerpoint/2010/main" val="2121546824"/>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60EAF-4B11-0BC2-A93E-3FFC95710549}"/>
              </a:ext>
            </a:extLst>
          </p:cNvPr>
          <p:cNvSpPr>
            <a:spLocks noGrp="1"/>
          </p:cNvSpPr>
          <p:nvPr>
            <p:ph type="title"/>
          </p:nvPr>
        </p:nvSpPr>
        <p:spPr/>
        <p:txBody>
          <a:bodyPr/>
          <a:lstStyle/>
          <a:p>
            <a:r>
              <a:rPr lang="en-US" sz="2400" dirty="0"/>
              <a:t>How do we design, develop, build and execute better ‘B’ Management Systems</a:t>
            </a:r>
          </a:p>
        </p:txBody>
      </p:sp>
      <p:sp>
        <p:nvSpPr>
          <p:cNvPr id="3" name="Content Placeholder 2">
            <a:extLst>
              <a:ext uri="{FF2B5EF4-FFF2-40B4-BE49-F238E27FC236}">
                <a16:creationId xmlns:a16="http://schemas.microsoft.com/office/drawing/2014/main" id="{FB9495F6-DA68-1D0E-B06D-FFB6B84577E4}"/>
              </a:ext>
            </a:extLst>
          </p:cNvPr>
          <p:cNvSpPr>
            <a:spLocks noGrp="1"/>
          </p:cNvSpPr>
          <p:nvPr>
            <p:ph idx="1"/>
          </p:nvPr>
        </p:nvSpPr>
        <p:spPr/>
        <p:txBody>
          <a:bodyPr/>
          <a:lstStyle/>
          <a:p>
            <a:r>
              <a:rPr lang="en-US" dirty="0"/>
              <a:t>The focus of todays OA 301 Webinar is on Synthesis and Integration:</a:t>
            </a:r>
          </a:p>
          <a:p>
            <a:endParaRPr lang="en-US" dirty="0"/>
          </a:p>
          <a:p>
            <a:pPr lvl="1"/>
            <a:r>
              <a:rPr lang="en-US" dirty="0"/>
              <a:t>Why does this matter, what’s the Purpose, Why is this important?</a:t>
            </a:r>
          </a:p>
          <a:p>
            <a:pPr lvl="1"/>
            <a:endParaRPr lang="en-US" dirty="0"/>
          </a:p>
          <a:p>
            <a:pPr lvl="1"/>
            <a:r>
              <a:rPr lang="en-US" dirty="0"/>
              <a:t>How do we go about Engineering better Management Systems that will drive performance and process improvement faster and better?</a:t>
            </a:r>
          </a:p>
          <a:p>
            <a:pPr marL="446087" lvl="1" indent="0">
              <a:buNone/>
            </a:pPr>
            <a:endParaRPr lang="en-US" dirty="0"/>
          </a:p>
          <a:p>
            <a:pPr lvl="1"/>
            <a:r>
              <a:rPr lang="en-US" dirty="0"/>
              <a:t>What are the system components for a ‘Great’ BPI/</a:t>
            </a:r>
            <a:r>
              <a:rPr lang="en-US" dirty="0" err="1"/>
              <a:t>Org’l</a:t>
            </a:r>
            <a:r>
              <a:rPr lang="en-US" dirty="0"/>
              <a:t> Excellence Program/System that need to be ‘built out’ and integrated?</a:t>
            </a:r>
          </a:p>
          <a:p>
            <a:pPr lvl="1"/>
            <a:endParaRPr lang="en-US" dirty="0"/>
          </a:p>
          <a:p>
            <a:pPr lvl="1"/>
            <a:r>
              <a:rPr lang="en-US" dirty="0"/>
              <a:t>How do we make all this doable, less overwhelming?</a:t>
            </a:r>
          </a:p>
          <a:p>
            <a:pPr lvl="1"/>
            <a:endParaRPr lang="en-US" dirty="0"/>
          </a:p>
          <a:p>
            <a:pPr lvl="1"/>
            <a:r>
              <a:rPr lang="en-US" dirty="0"/>
              <a:t>What are the Pragmatic First Steps?</a:t>
            </a:r>
          </a:p>
          <a:p>
            <a:pPr lvl="1"/>
            <a:endParaRPr lang="en-US" dirty="0"/>
          </a:p>
          <a:p>
            <a:pPr lvl="1"/>
            <a:r>
              <a:rPr lang="en-US" dirty="0"/>
              <a:t>On to an ISE view of AI…..</a:t>
            </a:r>
          </a:p>
        </p:txBody>
      </p:sp>
      <p:sp>
        <p:nvSpPr>
          <p:cNvPr id="4" name="Rectangle: Rounded Corners 3">
            <a:extLst>
              <a:ext uri="{FF2B5EF4-FFF2-40B4-BE49-F238E27FC236}">
                <a16:creationId xmlns:a16="http://schemas.microsoft.com/office/drawing/2014/main" id="{F9C14737-400F-AD0C-2BAA-D809C411A7DF}"/>
              </a:ext>
            </a:extLst>
          </p:cNvPr>
          <p:cNvSpPr/>
          <p:nvPr/>
        </p:nvSpPr>
        <p:spPr bwMode="auto">
          <a:xfrm>
            <a:off x="381000" y="2438400"/>
            <a:ext cx="7772400" cy="609600"/>
          </a:xfrm>
          <a:prstGeom prst="roundRect">
            <a:avLst/>
          </a:prstGeom>
          <a:solidFill>
            <a:schemeClr val="accent1">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7014260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93D07-30ED-DD3E-6C1F-6AC2334D83DF}"/>
              </a:ext>
            </a:extLst>
          </p:cNvPr>
          <p:cNvSpPr>
            <a:spLocks noGrp="1"/>
          </p:cNvSpPr>
          <p:nvPr>
            <p:ph type="title"/>
          </p:nvPr>
        </p:nvSpPr>
        <p:spPr>
          <a:xfrm>
            <a:off x="342900" y="76200"/>
            <a:ext cx="6477000" cy="685800"/>
          </a:xfrm>
        </p:spPr>
        <p:txBody>
          <a:bodyPr/>
          <a:lstStyle/>
          <a:p>
            <a:r>
              <a:rPr lang="en-US" sz="2800" dirty="0"/>
              <a:t>Design for… approach to Management Systems Engineering</a:t>
            </a:r>
          </a:p>
        </p:txBody>
      </p:sp>
      <p:sp>
        <p:nvSpPr>
          <p:cNvPr id="4" name="Rectangle 3">
            <a:extLst>
              <a:ext uri="{FF2B5EF4-FFF2-40B4-BE49-F238E27FC236}">
                <a16:creationId xmlns:a16="http://schemas.microsoft.com/office/drawing/2014/main" id="{AC63C8FE-017E-3D6C-C4A6-0ABEDE72AFD3}"/>
              </a:ext>
            </a:extLst>
          </p:cNvPr>
          <p:cNvSpPr/>
          <p:nvPr/>
        </p:nvSpPr>
        <p:spPr bwMode="auto">
          <a:xfrm>
            <a:off x="228600" y="990600"/>
            <a:ext cx="9144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D</a:t>
            </a:r>
            <a:r>
              <a:rPr kumimoji="0" lang="en-US" sz="1300" b="0" i="0" u="none" strike="noStrike" cap="none" normalizeH="0" baseline="0" dirty="0">
                <a:ln>
                  <a:noFill/>
                </a:ln>
                <a:solidFill>
                  <a:schemeClr val="tx1"/>
                </a:solidFill>
                <a:effectLst/>
                <a:latin typeface="Arial" charset="0"/>
                <a:ea typeface="ＭＳ Ｐゴシック" pitchFamily="1" charset="-128"/>
              </a:rPr>
              <a:t>efine</a:t>
            </a:r>
          </a:p>
        </p:txBody>
      </p:sp>
      <p:sp>
        <p:nvSpPr>
          <p:cNvPr id="5" name="Rectangle 4">
            <a:extLst>
              <a:ext uri="{FF2B5EF4-FFF2-40B4-BE49-F238E27FC236}">
                <a16:creationId xmlns:a16="http://schemas.microsoft.com/office/drawing/2014/main" id="{FCBEEE82-D7B7-7D74-F195-F1F676041620}"/>
              </a:ext>
            </a:extLst>
          </p:cNvPr>
          <p:cNvSpPr/>
          <p:nvPr/>
        </p:nvSpPr>
        <p:spPr bwMode="auto">
          <a:xfrm>
            <a:off x="1905000" y="990600"/>
            <a:ext cx="9144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C</a:t>
            </a:r>
            <a:r>
              <a:rPr kumimoji="0" lang="en-US" sz="1200" i="0" u="none" strike="noStrike" cap="none" normalizeH="0" baseline="0" dirty="0">
                <a:ln>
                  <a:noFill/>
                </a:ln>
                <a:solidFill>
                  <a:schemeClr val="tx1"/>
                </a:solidFill>
                <a:effectLst/>
                <a:latin typeface="Arial" charset="0"/>
                <a:ea typeface="ＭＳ Ｐゴシック" pitchFamily="1" charset="-128"/>
              </a:rPr>
              <a:t>oncept Design</a:t>
            </a:r>
            <a:endParaRPr kumimoji="0" lang="en-US" sz="1300" b="0" i="0" u="none" strike="noStrike" cap="none" normalizeH="0" baseline="0" dirty="0">
              <a:ln>
                <a:noFill/>
              </a:ln>
              <a:solidFill>
                <a:schemeClr val="tx1"/>
              </a:solidFill>
              <a:effectLst/>
              <a:latin typeface="Arial" charset="0"/>
              <a:ea typeface="ＭＳ Ｐゴシック" pitchFamily="1" charset="-128"/>
            </a:endParaRPr>
          </a:p>
        </p:txBody>
      </p:sp>
      <p:sp>
        <p:nvSpPr>
          <p:cNvPr id="6" name="Rectangle 5">
            <a:extLst>
              <a:ext uri="{FF2B5EF4-FFF2-40B4-BE49-F238E27FC236}">
                <a16:creationId xmlns:a16="http://schemas.microsoft.com/office/drawing/2014/main" id="{29936A54-A129-81C5-A973-605992756925}"/>
              </a:ext>
            </a:extLst>
          </p:cNvPr>
          <p:cNvSpPr/>
          <p:nvPr/>
        </p:nvSpPr>
        <p:spPr bwMode="auto">
          <a:xfrm>
            <a:off x="3581400" y="990600"/>
            <a:ext cx="11430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D</a:t>
            </a:r>
            <a:r>
              <a:rPr kumimoji="0" lang="en-US" sz="1200" i="0" u="none" strike="noStrike" cap="none" normalizeH="0" baseline="0" dirty="0">
                <a:ln>
                  <a:noFill/>
                </a:ln>
                <a:solidFill>
                  <a:schemeClr val="tx1"/>
                </a:solidFill>
                <a:effectLst/>
                <a:latin typeface="Arial" charset="0"/>
                <a:ea typeface="ＭＳ Ｐゴシック" pitchFamily="1" charset="-128"/>
              </a:rPr>
              <a:t>etailed</a:t>
            </a:r>
          </a:p>
          <a:p>
            <a:pPr marL="0" marR="0" indent="0" algn="l" defTabSz="914400" rtl="0" eaLnBrk="0" fontAlgn="base" latinLnBrk="0" hangingPunct="0">
              <a:lnSpc>
                <a:spcPct val="100000"/>
              </a:lnSpc>
              <a:spcBef>
                <a:spcPct val="0"/>
              </a:spcBef>
              <a:spcAft>
                <a:spcPct val="0"/>
              </a:spcAft>
              <a:buClrTx/>
              <a:buSzTx/>
              <a:buFontTx/>
              <a:buNone/>
              <a:tabLst/>
            </a:pPr>
            <a:r>
              <a:rPr lang="en-US" sz="1200" b="0" dirty="0">
                <a:latin typeface="Arial" charset="0"/>
                <a:ea typeface="ＭＳ Ｐゴシック" pitchFamily="1" charset="-128"/>
              </a:rPr>
              <a:t>Design &amp; Development</a:t>
            </a:r>
            <a:endParaRPr kumimoji="0" lang="en-US" sz="1300" b="0" i="0" u="none" strike="noStrike" cap="none" normalizeH="0" baseline="0" dirty="0">
              <a:ln>
                <a:noFill/>
              </a:ln>
              <a:solidFill>
                <a:schemeClr val="tx1"/>
              </a:solidFill>
              <a:effectLst/>
              <a:latin typeface="Arial" charset="0"/>
              <a:ea typeface="ＭＳ Ｐゴシック" pitchFamily="1" charset="-128"/>
            </a:endParaRPr>
          </a:p>
        </p:txBody>
      </p:sp>
      <p:sp>
        <p:nvSpPr>
          <p:cNvPr id="7" name="Rectangle 6">
            <a:extLst>
              <a:ext uri="{FF2B5EF4-FFF2-40B4-BE49-F238E27FC236}">
                <a16:creationId xmlns:a16="http://schemas.microsoft.com/office/drawing/2014/main" id="{D27ADBDF-198F-7B80-0749-F87B439F7AB2}"/>
              </a:ext>
            </a:extLst>
          </p:cNvPr>
          <p:cNvSpPr/>
          <p:nvPr/>
        </p:nvSpPr>
        <p:spPr bwMode="auto">
          <a:xfrm>
            <a:off x="5486400" y="989162"/>
            <a:ext cx="9144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O</a:t>
            </a:r>
            <a:r>
              <a:rPr kumimoji="0" lang="en-US" sz="1200" i="0" u="none" strike="noStrike" cap="none" normalizeH="0" baseline="0" dirty="0">
                <a:ln>
                  <a:noFill/>
                </a:ln>
                <a:solidFill>
                  <a:schemeClr val="tx1"/>
                </a:solidFill>
                <a:effectLst/>
                <a:latin typeface="Arial" charset="0"/>
                <a:ea typeface="ＭＳ Ｐゴシック" pitchFamily="1" charset="-128"/>
              </a:rPr>
              <a:t>ptimize</a:t>
            </a:r>
            <a:endParaRPr kumimoji="0" lang="en-US" sz="1300" b="0" i="0" u="none" strike="noStrike" cap="none" normalizeH="0" baseline="0" dirty="0">
              <a:ln>
                <a:noFill/>
              </a:ln>
              <a:solidFill>
                <a:schemeClr val="tx1"/>
              </a:solidFill>
              <a:effectLst/>
              <a:latin typeface="Arial" charset="0"/>
              <a:ea typeface="ＭＳ Ｐゴシック" pitchFamily="1" charset="-128"/>
            </a:endParaRPr>
          </a:p>
        </p:txBody>
      </p:sp>
      <p:sp>
        <p:nvSpPr>
          <p:cNvPr id="8" name="Rectangle 7">
            <a:extLst>
              <a:ext uri="{FF2B5EF4-FFF2-40B4-BE49-F238E27FC236}">
                <a16:creationId xmlns:a16="http://schemas.microsoft.com/office/drawing/2014/main" id="{B4FF17FA-7B27-1649-E27A-540C5F690D69}"/>
              </a:ext>
            </a:extLst>
          </p:cNvPr>
          <p:cNvSpPr/>
          <p:nvPr/>
        </p:nvSpPr>
        <p:spPr bwMode="auto">
          <a:xfrm>
            <a:off x="7162800" y="989162"/>
            <a:ext cx="9144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V</a:t>
            </a:r>
            <a:r>
              <a:rPr kumimoji="0" lang="en-US" sz="1200" i="0" u="none" strike="noStrike" cap="none" normalizeH="0" baseline="0" dirty="0">
                <a:ln>
                  <a:noFill/>
                </a:ln>
                <a:solidFill>
                  <a:schemeClr val="tx1"/>
                </a:solidFill>
                <a:effectLst/>
                <a:latin typeface="Arial" charset="0"/>
                <a:ea typeface="ＭＳ Ｐゴシック" pitchFamily="1" charset="-128"/>
              </a:rPr>
              <a:t>erify</a:t>
            </a:r>
            <a:endParaRPr kumimoji="0" lang="en-US" sz="1300" b="0" i="0" u="none" strike="noStrike" cap="none" normalizeH="0" baseline="0" dirty="0">
              <a:ln>
                <a:noFill/>
              </a:ln>
              <a:solidFill>
                <a:schemeClr val="tx1"/>
              </a:solidFill>
              <a:effectLst/>
              <a:latin typeface="Arial" charset="0"/>
              <a:ea typeface="ＭＳ Ｐゴシック" pitchFamily="1" charset="-128"/>
            </a:endParaRPr>
          </a:p>
        </p:txBody>
      </p:sp>
      <p:pic>
        <p:nvPicPr>
          <p:cNvPr id="10" name="Picture 9" descr="A picture containing text, screenshot, font, diagram&#10;&#10;Description automatically generated">
            <a:extLst>
              <a:ext uri="{FF2B5EF4-FFF2-40B4-BE49-F238E27FC236}">
                <a16:creationId xmlns:a16="http://schemas.microsoft.com/office/drawing/2014/main" id="{C12468D8-5DA6-4FA8-A34E-308610B7D6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 y="2362200"/>
            <a:ext cx="7391400" cy="3886200"/>
          </a:xfrm>
          <a:prstGeom prst="rect">
            <a:avLst/>
          </a:prstGeom>
        </p:spPr>
      </p:pic>
      <p:sp>
        <p:nvSpPr>
          <p:cNvPr id="3" name="TextBox 2">
            <a:extLst>
              <a:ext uri="{FF2B5EF4-FFF2-40B4-BE49-F238E27FC236}">
                <a16:creationId xmlns:a16="http://schemas.microsoft.com/office/drawing/2014/main" id="{7DE8840B-E35B-938F-7B10-9470A4783E1E}"/>
              </a:ext>
            </a:extLst>
          </p:cNvPr>
          <p:cNvSpPr txBox="1"/>
          <p:nvPr/>
        </p:nvSpPr>
        <p:spPr>
          <a:xfrm>
            <a:off x="303843" y="1758806"/>
            <a:ext cx="741357" cy="292388"/>
          </a:xfrm>
          <a:prstGeom prst="rect">
            <a:avLst/>
          </a:prstGeom>
          <a:noFill/>
          <a:ln>
            <a:solidFill>
              <a:schemeClr val="accent6">
                <a:lumMod val="50000"/>
              </a:schemeClr>
            </a:solidFill>
          </a:ln>
        </p:spPr>
        <p:txBody>
          <a:bodyPr wrap="none" rtlCol="0">
            <a:spAutoFit/>
          </a:bodyPr>
          <a:lstStyle/>
          <a:p>
            <a:r>
              <a:rPr lang="en-US" dirty="0"/>
              <a:t>OA 101</a:t>
            </a:r>
          </a:p>
        </p:txBody>
      </p:sp>
      <p:sp>
        <p:nvSpPr>
          <p:cNvPr id="9" name="TextBox 8">
            <a:extLst>
              <a:ext uri="{FF2B5EF4-FFF2-40B4-BE49-F238E27FC236}">
                <a16:creationId xmlns:a16="http://schemas.microsoft.com/office/drawing/2014/main" id="{82A085C6-2B5B-3836-0521-3CED3161B28D}"/>
              </a:ext>
            </a:extLst>
          </p:cNvPr>
          <p:cNvSpPr txBox="1"/>
          <p:nvPr/>
        </p:nvSpPr>
        <p:spPr>
          <a:xfrm>
            <a:off x="1951504" y="1758806"/>
            <a:ext cx="741357" cy="292388"/>
          </a:xfrm>
          <a:prstGeom prst="rect">
            <a:avLst/>
          </a:prstGeom>
          <a:noFill/>
          <a:ln>
            <a:solidFill>
              <a:schemeClr val="accent6">
                <a:lumMod val="50000"/>
              </a:schemeClr>
            </a:solidFill>
          </a:ln>
        </p:spPr>
        <p:txBody>
          <a:bodyPr wrap="none" rtlCol="0">
            <a:spAutoFit/>
          </a:bodyPr>
          <a:lstStyle/>
          <a:p>
            <a:r>
              <a:rPr lang="en-US" dirty="0"/>
              <a:t>OA 201</a:t>
            </a:r>
          </a:p>
        </p:txBody>
      </p:sp>
      <p:sp>
        <p:nvSpPr>
          <p:cNvPr id="13" name="TextBox 12">
            <a:extLst>
              <a:ext uri="{FF2B5EF4-FFF2-40B4-BE49-F238E27FC236}">
                <a16:creationId xmlns:a16="http://schemas.microsoft.com/office/drawing/2014/main" id="{772BC0D5-5B28-EED2-282F-CD5ED0C79FED}"/>
              </a:ext>
            </a:extLst>
          </p:cNvPr>
          <p:cNvSpPr txBox="1"/>
          <p:nvPr/>
        </p:nvSpPr>
        <p:spPr>
          <a:xfrm>
            <a:off x="3500539" y="1758806"/>
            <a:ext cx="1223861" cy="292388"/>
          </a:xfrm>
          <a:prstGeom prst="rect">
            <a:avLst/>
          </a:prstGeom>
          <a:noFill/>
          <a:ln>
            <a:solidFill>
              <a:schemeClr val="accent6">
                <a:lumMod val="50000"/>
              </a:schemeClr>
            </a:solidFill>
          </a:ln>
        </p:spPr>
        <p:txBody>
          <a:bodyPr wrap="none" rtlCol="0">
            <a:spAutoFit/>
          </a:bodyPr>
          <a:lstStyle/>
          <a:p>
            <a:r>
              <a:rPr lang="en-US" dirty="0"/>
              <a:t>OA 301 &amp; 501</a:t>
            </a:r>
          </a:p>
        </p:txBody>
      </p:sp>
      <p:sp>
        <p:nvSpPr>
          <p:cNvPr id="14" name="TextBox 13">
            <a:extLst>
              <a:ext uri="{FF2B5EF4-FFF2-40B4-BE49-F238E27FC236}">
                <a16:creationId xmlns:a16="http://schemas.microsoft.com/office/drawing/2014/main" id="{683A68E7-AA16-6C78-B95D-121EA5D0FF85}"/>
              </a:ext>
            </a:extLst>
          </p:cNvPr>
          <p:cNvSpPr txBox="1"/>
          <p:nvPr/>
        </p:nvSpPr>
        <p:spPr>
          <a:xfrm>
            <a:off x="5739962" y="1800131"/>
            <a:ext cx="1880038" cy="292388"/>
          </a:xfrm>
          <a:prstGeom prst="rect">
            <a:avLst/>
          </a:prstGeom>
          <a:noFill/>
          <a:ln>
            <a:solidFill>
              <a:schemeClr val="accent6">
                <a:lumMod val="50000"/>
              </a:schemeClr>
            </a:solidFill>
          </a:ln>
        </p:spPr>
        <p:txBody>
          <a:bodyPr wrap="square" rtlCol="0">
            <a:spAutoFit/>
          </a:bodyPr>
          <a:lstStyle/>
          <a:p>
            <a:pPr algn="ctr"/>
            <a:r>
              <a:rPr lang="en-US" dirty="0"/>
              <a:t>OA 401</a:t>
            </a:r>
          </a:p>
        </p:txBody>
      </p:sp>
    </p:spTree>
    <p:extLst>
      <p:ext uri="{BB962C8B-B14F-4D97-AF65-F5344CB8AC3E}">
        <p14:creationId xmlns:p14="http://schemas.microsoft.com/office/powerpoint/2010/main" val="1905520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93D07-30ED-DD3E-6C1F-6AC2334D83DF}"/>
              </a:ext>
            </a:extLst>
          </p:cNvPr>
          <p:cNvSpPr>
            <a:spLocks noGrp="1"/>
          </p:cNvSpPr>
          <p:nvPr>
            <p:ph type="title"/>
          </p:nvPr>
        </p:nvSpPr>
        <p:spPr>
          <a:xfrm>
            <a:off x="342900" y="76200"/>
            <a:ext cx="6477000" cy="685800"/>
          </a:xfrm>
        </p:spPr>
        <p:txBody>
          <a:bodyPr/>
          <a:lstStyle/>
          <a:p>
            <a:r>
              <a:rPr lang="en-US" sz="2800" dirty="0"/>
              <a:t>Design for… approach to Management Systems Engineering</a:t>
            </a:r>
          </a:p>
        </p:txBody>
      </p:sp>
      <p:sp>
        <p:nvSpPr>
          <p:cNvPr id="4" name="Rectangle 3">
            <a:extLst>
              <a:ext uri="{FF2B5EF4-FFF2-40B4-BE49-F238E27FC236}">
                <a16:creationId xmlns:a16="http://schemas.microsoft.com/office/drawing/2014/main" id="{AC63C8FE-017E-3D6C-C4A6-0ABEDE72AFD3}"/>
              </a:ext>
            </a:extLst>
          </p:cNvPr>
          <p:cNvSpPr/>
          <p:nvPr/>
        </p:nvSpPr>
        <p:spPr bwMode="auto">
          <a:xfrm>
            <a:off x="342900" y="989162"/>
            <a:ext cx="9144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D</a:t>
            </a:r>
            <a:r>
              <a:rPr kumimoji="0" lang="en-US" sz="1300" b="0" i="0" u="none" strike="noStrike" cap="none" normalizeH="0" baseline="0" dirty="0">
                <a:ln>
                  <a:noFill/>
                </a:ln>
                <a:solidFill>
                  <a:schemeClr val="tx1"/>
                </a:solidFill>
                <a:effectLst/>
                <a:latin typeface="Arial" charset="0"/>
                <a:ea typeface="ＭＳ Ｐゴシック" pitchFamily="1" charset="-128"/>
              </a:rPr>
              <a:t>efine</a:t>
            </a:r>
          </a:p>
        </p:txBody>
      </p:sp>
      <p:sp>
        <p:nvSpPr>
          <p:cNvPr id="5" name="Rectangle 4">
            <a:extLst>
              <a:ext uri="{FF2B5EF4-FFF2-40B4-BE49-F238E27FC236}">
                <a16:creationId xmlns:a16="http://schemas.microsoft.com/office/drawing/2014/main" id="{FCBEEE82-D7B7-7D74-F195-F1F676041620}"/>
              </a:ext>
            </a:extLst>
          </p:cNvPr>
          <p:cNvSpPr/>
          <p:nvPr/>
        </p:nvSpPr>
        <p:spPr bwMode="auto">
          <a:xfrm>
            <a:off x="2133600" y="989162"/>
            <a:ext cx="9144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C</a:t>
            </a:r>
            <a:r>
              <a:rPr kumimoji="0" lang="en-US" sz="1200" i="0" u="none" strike="noStrike" cap="none" normalizeH="0" baseline="0" dirty="0">
                <a:ln>
                  <a:noFill/>
                </a:ln>
                <a:solidFill>
                  <a:schemeClr val="tx1"/>
                </a:solidFill>
                <a:effectLst/>
                <a:latin typeface="Arial" charset="0"/>
                <a:ea typeface="ＭＳ Ｐゴシック" pitchFamily="1" charset="-128"/>
              </a:rPr>
              <a:t>oncept Design</a:t>
            </a:r>
            <a:endParaRPr kumimoji="0" lang="en-US" sz="1300" b="0" i="0" u="none" strike="noStrike" cap="none" normalizeH="0" baseline="0" dirty="0">
              <a:ln>
                <a:noFill/>
              </a:ln>
              <a:solidFill>
                <a:schemeClr val="tx1"/>
              </a:solidFill>
              <a:effectLst/>
              <a:latin typeface="Arial" charset="0"/>
              <a:ea typeface="ＭＳ Ｐゴシック" pitchFamily="1" charset="-128"/>
            </a:endParaRPr>
          </a:p>
        </p:txBody>
      </p:sp>
      <p:sp>
        <p:nvSpPr>
          <p:cNvPr id="6" name="Rectangle 5">
            <a:extLst>
              <a:ext uri="{FF2B5EF4-FFF2-40B4-BE49-F238E27FC236}">
                <a16:creationId xmlns:a16="http://schemas.microsoft.com/office/drawing/2014/main" id="{29936A54-A129-81C5-A973-605992756925}"/>
              </a:ext>
            </a:extLst>
          </p:cNvPr>
          <p:cNvSpPr/>
          <p:nvPr/>
        </p:nvSpPr>
        <p:spPr bwMode="auto">
          <a:xfrm>
            <a:off x="3962400" y="987724"/>
            <a:ext cx="11430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D</a:t>
            </a:r>
            <a:r>
              <a:rPr kumimoji="0" lang="en-US" sz="1200" i="0" u="none" strike="noStrike" cap="none" normalizeH="0" baseline="0" dirty="0">
                <a:ln>
                  <a:noFill/>
                </a:ln>
                <a:solidFill>
                  <a:schemeClr val="tx1"/>
                </a:solidFill>
                <a:effectLst/>
                <a:latin typeface="Arial" charset="0"/>
                <a:ea typeface="ＭＳ Ｐゴシック" pitchFamily="1" charset="-128"/>
              </a:rPr>
              <a:t>etailed</a:t>
            </a:r>
          </a:p>
          <a:p>
            <a:pPr marL="0" marR="0" indent="0" algn="l" defTabSz="914400" rtl="0" eaLnBrk="0" fontAlgn="base" latinLnBrk="0" hangingPunct="0">
              <a:lnSpc>
                <a:spcPct val="100000"/>
              </a:lnSpc>
              <a:spcBef>
                <a:spcPct val="0"/>
              </a:spcBef>
              <a:spcAft>
                <a:spcPct val="0"/>
              </a:spcAft>
              <a:buClrTx/>
              <a:buSzTx/>
              <a:buFontTx/>
              <a:buNone/>
              <a:tabLst/>
            </a:pPr>
            <a:r>
              <a:rPr lang="en-US" sz="1200" b="0" dirty="0">
                <a:latin typeface="Arial" charset="0"/>
                <a:ea typeface="ＭＳ Ｐゴシック" pitchFamily="1" charset="-128"/>
              </a:rPr>
              <a:t>Design &amp; Development</a:t>
            </a:r>
            <a:endParaRPr kumimoji="0" lang="en-US" sz="1300" b="0" i="0" u="none" strike="noStrike" cap="none" normalizeH="0" baseline="0" dirty="0">
              <a:ln>
                <a:noFill/>
              </a:ln>
              <a:solidFill>
                <a:schemeClr val="tx1"/>
              </a:solidFill>
              <a:effectLst/>
              <a:latin typeface="Arial" charset="0"/>
              <a:ea typeface="ＭＳ Ｐゴシック" pitchFamily="1" charset="-128"/>
            </a:endParaRPr>
          </a:p>
        </p:txBody>
      </p:sp>
      <p:sp>
        <p:nvSpPr>
          <p:cNvPr id="7" name="Rectangle 6">
            <a:extLst>
              <a:ext uri="{FF2B5EF4-FFF2-40B4-BE49-F238E27FC236}">
                <a16:creationId xmlns:a16="http://schemas.microsoft.com/office/drawing/2014/main" id="{D27ADBDF-198F-7B80-0749-F87B439F7AB2}"/>
              </a:ext>
            </a:extLst>
          </p:cNvPr>
          <p:cNvSpPr/>
          <p:nvPr/>
        </p:nvSpPr>
        <p:spPr bwMode="auto">
          <a:xfrm>
            <a:off x="5981700" y="987724"/>
            <a:ext cx="9144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O</a:t>
            </a:r>
            <a:r>
              <a:rPr kumimoji="0" lang="en-US" sz="1200" i="0" u="none" strike="noStrike" cap="none" normalizeH="0" baseline="0" dirty="0">
                <a:ln>
                  <a:noFill/>
                </a:ln>
                <a:solidFill>
                  <a:schemeClr val="tx1"/>
                </a:solidFill>
                <a:effectLst/>
                <a:latin typeface="Arial" charset="0"/>
                <a:ea typeface="ＭＳ Ｐゴシック" pitchFamily="1" charset="-128"/>
              </a:rPr>
              <a:t>ptimize</a:t>
            </a:r>
            <a:endParaRPr kumimoji="0" lang="en-US" sz="1300" b="0" i="0" u="none" strike="noStrike" cap="none" normalizeH="0" baseline="0" dirty="0">
              <a:ln>
                <a:noFill/>
              </a:ln>
              <a:solidFill>
                <a:schemeClr val="tx1"/>
              </a:solidFill>
              <a:effectLst/>
              <a:latin typeface="Arial" charset="0"/>
              <a:ea typeface="ＭＳ Ｐゴシック" pitchFamily="1" charset="-128"/>
            </a:endParaRPr>
          </a:p>
        </p:txBody>
      </p:sp>
      <p:sp>
        <p:nvSpPr>
          <p:cNvPr id="8" name="Rectangle 7">
            <a:extLst>
              <a:ext uri="{FF2B5EF4-FFF2-40B4-BE49-F238E27FC236}">
                <a16:creationId xmlns:a16="http://schemas.microsoft.com/office/drawing/2014/main" id="{B4FF17FA-7B27-1649-E27A-540C5F690D69}"/>
              </a:ext>
            </a:extLst>
          </p:cNvPr>
          <p:cNvSpPr/>
          <p:nvPr/>
        </p:nvSpPr>
        <p:spPr bwMode="auto">
          <a:xfrm>
            <a:off x="7772400" y="989162"/>
            <a:ext cx="914400" cy="68580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charset="0"/>
                <a:ea typeface="ＭＳ Ｐゴシック" pitchFamily="1" charset="-128"/>
              </a:rPr>
              <a:t>V</a:t>
            </a:r>
            <a:r>
              <a:rPr kumimoji="0" lang="en-US" sz="1200" i="0" u="none" strike="noStrike" cap="none" normalizeH="0" baseline="0" dirty="0">
                <a:ln>
                  <a:noFill/>
                </a:ln>
                <a:solidFill>
                  <a:schemeClr val="tx1"/>
                </a:solidFill>
                <a:effectLst/>
                <a:latin typeface="Arial" charset="0"/>
                <a:ea typeface="ＭＳ Ｐゴシック" pitchFamily="1" charset="-128"/>
              </a:rPr>
              <a:t>erify</a:t>
            </a:r>
            <a:endParaRPr kumimoji="0" lang="en-US" sz="1300" b="0" i="0" u="none" strike="noStrike" cap="none" normalizeH="0" baseline="0" dirty="0">
              <a:ln>
                <a:noFill/>
              </a:ln>
              <a:solidFill>
                <a:schemeClr val="tx1"/>
              </a:solidFill>
              <a:effectLst/>
              <a:latin typeface="Arial" charset="0"/>
              <a:ea typeface="ＭＳ Ｐゴシック" pitchFamily="1" charset="-128"/>
            </a:endParaRPr>
          </a:p>
        </p:txBody>
      </p:sp>
      <p:sp>
        <p:nvSpPr>
          <p:cNvPr id="3" name="Rectangle: Rounded Corners 2">
            <a:extLst>
              <a:ext uri="{FF2B5EF4-FFF2-40B4-BE49-F238E27FC236}">
                <a16:creationId xmlns:a16="http://schemas.microsoft.com/office/drawing/2014/main" id="{489E5D4B-330C-8409-2E49-44CC107343AE}"/>
              </a:ext>
            </a:extLst>
          </p:cNvPr>
          <p:cNvSpPr/>
          <p:nvPr/>
        </p:nvSpPr>
        <p:spPr bwMode="auto">
          <a:xfrm>
            <a:off x="95250" y="1752600"/>
            <a:ext cx="1581150" cy="4800600"/>
          </a:xfrm>
          <a:prstGeom prst="round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800" b="1" i="0" u="none" strike="noStrike" cap="none" normalizeH="0" baseline="0" dirty="0">
                <a:ln>
                  <a:noFill/>
                </a:ln>
                <a:solidFill>
                  <a:schemeClr val="bg1"/>
                </a:solidFill>
                <a:effectLst/>
                <a:latin typeface="Arial" charset="0"/>
                <a:ea typeface="ＭＳ Ｐゴシック" pitchFamily="1" charset="-128"/>
              </a:rPr>
              <a:t>101</a:t>
            </a:r>
          </a:p>
          <a:p>
            <a:pPr marR="0" algn="ctr" defTabSz="914400" rtl="0" eaLnBrk="0" fontAlgn="base" latinLnBrk="0" hangingPunct="0">
              <a:lnSpc>
                <a:spcPct val="100000"/>
              </a:lnSpc>
              <a:spcBef>
                <a:spcPct val="0"/>
              </a:spcBef>
              <a:spcAft>
                <a:spcPct val="0"/>
              </a:spcAft>
              <a:buClrTx/>
              <a:buSzTx/>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Strategic Context</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Key Stakeholder Analysis</a:t>
            </a: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Management System Model</a:t>
            </a:r>
            <a:endParaRPr lang="en-US" sz="1200" dirty="0">
              <a:solidFill>
                <a:schemeClr val="bg1"/>
              </a:solidFill>
              <a:latin typeface="Arial" charset="0"/>
              <a:ea typeface="ＭＳ Ｐゴシック" pitchFamily="1" charset="-128"/>
            </a:endParaRP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Management System Analysis</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Value Stream Mapping and Analytics</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MSM Interface Requirements Definition</a:t>
            </a:r>
          </a:p>
          <a:p>
            <a:pPr marL="285750" marR="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Control Point Metrics and Spec Limit determination</a:t>
            </a:r>
            <a:endParaRPr kumimoji="0" lang="en-US" sz="1200" b="0" i="0" u="none" strike="noStrike" cap="none" normalizeH="0" baseline="0" dirty="0">
              <a:ln>
                <a:noFill/>
              </a:ln>
              <a:solidFill>
                <a:schemeClr val="bg1"/>
              </a:solidFill>
              <a:effectLst/>
              <a:latin typeface="Arial" charset="0"/>
              <a:ea typeface="ＭＳ Ｐゴシック" pitchFamily="1" charset="-128"/>
            </a:endParaRPr>
          </a:p>
        </p:txBody>
      </p:sp>
      <p:sp>
        <p:nvSpPr>
          <p:cNvPr id="9" name="Rectangle: Rounded Corners 8">
            <a:extLst>
              <a:ext uri="{FF2B5EF4-FFF2-40B4-BE49-F238E27FC236}">
                <a16:creationId xmlns:a16="http://schemas.microsoft.com/office/drawing/2014/main" id="{36202922-CCB9-3C72-06F1-C845730A2838}"/>
              </a:ext>
            </a:extLst>
          </p:cNvPr>
          <p:cNvSpPr/>
          <p:nvPr/>
        </p:nvSpPr>
        <p:spPr bwMode="auto">
          <a:xfrm>
            <a:off x="1800224" y="1752600"/>
            <a:ext cx="1704975" cy="4800600"/>
          </a:xfrm>
          <a:prstGeom prst="round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800" b="1" i="0" u="none" strike="noStrike" cap="none" normalizeH="0" baseline="0" dirty="0">
                <a:ln>
                  <a:noFill/>
                </a:ln>
                <a:solidFill>
                  <a:schemeClr val="bg1"/>
                </a:solidFill>
                <a:effectLst/>
                <a:latin typeface="Arial" charset="0"/>
                <a:ea typeface="ＭＳ Ｐゴシック" pitchFamily="1" charset="-128"/>
              </a:rPr>
              <a:t>201</a:t>
            </a:r>
          </a:p>
          <a:p>
            <a:pPr marR="0" algn="ctr" defTabSz="914400" rtl="0" eaLnBrk="0" fontAlgn="base" latinLnBrk="0" hangingPunct="0">
              <a:lnSpc>
                <a:spcPct val="100000"/>
              </a:lnSpc>
              <a:spcBef>
                <a:spcPct val="0"/>
              </a:spcBef>
              <a:spcAft>
                <a:spcPct val="0"/>
              </a:spcAft>
              <a:buClrTx/>
              <a:buSzTx/>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 BPI capability and capacity</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Enterprise level Value Stream Mapping and Modeling (Enterprise Value Map)</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BPI Portfolio Strategy and Development</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Tiered Scorecard and Dashboard and Chartbook Concept Development</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Visible Measurement System</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Tiered Huddle S</a:t>
            </a:r>
            <a:r>
              <a:rPr lang="en-US" sz="1200" dirty="0">
                <a:solidFill>
                  <a:schemeClr val="bg1"/>
                </a:solidFill>
                <a:latin typeface="Arial" charset="0"/>
                <a:ea typeface="ＭＳ Ｐゴシック" pitchFamily="1" charset="-128"/>
              </a:rPr>
              <a:t>ystem (as example)</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p:txBody>
      </p:sp>
      <p:sp>
        <p:nvSpPr>
          <p:cNvPr id="11" name="Rectangle: Rounded Corners 10">
            <a:extLst>
              <a:ext uri="{FF2B5EF4-FFF2-40B4-BE49-F238E27FC236}">
                <a16:creationId xmlns:a16="http://schemas.microsoft.com/office/drawing/2014/main" id="{5ADB4C3D-6361-69A1-DAED-BE1852800935}"/>
              </a:ext>
            </a:extLst>
          </p:cNvPr>
          <p:cNvSpPr/>
          <p:nvPr/>
        </p:nvSpPr>
        <p:spPr bwMode="auto">
          <a:xfrm>
            <a:off x="3629024" y="1752600"/>
            <a:ext cx="2162176" cy="4800600"/>
          </a:xfrm>
          <a:prstGeom prst="round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800" b="1" i="0" u="none" strike="noStrike" cap="none" normalizeH="0" baseline="0" dirty="0">
                <a:ln>
                  <a:noFill/>
                </a:ln>
                <a:solidFill>
                  <a:schemeClr val="bg1"/>
                </a:solidFill>
                <a:effectLst/>
                <a:latin typeface="Arial" charset="0"/>
                <a:ea typeface="ＭＳ Ｐゴシック" pitchFamily="1" charset="-128"/>
              </a:rPr>
              <a:t>301</a:t>
            </a:r>
          </a:p>
          <a:p>
            <a:pPr marR="0" algn="ctr" defTabSz="914400" rtl="0" eaLnBrk="0" fontAlgn="base" latinLnBrk="0" hangingPunct="0">
              <a:lnSpc>
                <a:spcPct val="100000"/>
              </a:lnSpc>
              <a:spcBef>
                <a:spcPct val="0"/>
              </a:spcBef>
              <a:spcAft>
                <a:spcPct val="0"/>
              </a:spcAft>
              <a:buClrTx/>
              <a:buSzTx/>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R="0" algn="ctr" defTabSz="914400" rtl="0" eaLnBrk="0" fontAlgn="base" latinLnBrk="0" hangingPunct="0">
              <a:lnSpc>
                <a:spcPct val="100000"/>
              </a:lnSpc>
              <a:spcBef>
                <a:spcPct val="0"/>
              </a:spcBef>
              <a:spcAft>
                <a:spcPct val="0"/>
              </a:spcAft>
              <a:buClrTx/>
              <a:buSzTx/>
              <a:tabLst/>
            </a:pPr>
            <a:endParaRPr lang="en-US" sz="1200" dirty="0">
              <a:solidFill>
                <a:schemeClr val="bg1"/>
              </a:solidFill>
              <a:latin typeface="Arial" charset="0"/>
              <a:ea typeface="ＭＳ Ｐゴシック" pitchFamily="1" charset="-128"/>
            </a:endParaRPr>
          </a:p>
          <a:p>
            <a:pPr marR="0" algn="ctr" defTabSz="914400" rtl="0" eaLnBrk="0" fontAlgn="base" latinLnBrk="0" hangingPunct="0">
              <a:lnSpc>
                <a:spcPct val="100000"/>
              </a:lnSpc>
              <a:spcBef>
                <a:spcPct val="0"/>
              </a:spcBef>
              <a:spcAft>
                <a:spcPct val="0"/>
              </a:spcAft>
              <a:buClrTx/>
              <a:buSzTx/>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 BPI capability and capacity</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Enterprise level Value Stream Mapping and Modeling (Enterprise Value Map)</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BPI Portfolio Strategy and Development</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Tiered Scorecard and Dashboard and Chartbook Concept Development</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Visible Measurement System</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Tiered Huddle S</a:t>
            </a:r>
            <a:r>
              <a:rPr lang="en-US" sz="1200" dirty="0">
                <a:solidFill>
                  <a:schemeClr val="bg1"/>
                </a:solidFill>
                <a:latin typeface="Arial" charset="0"/>
                <a:ea typeface="ＭＳ Ｐゴシック" pitchFamily="1" charset="-128"/>
              </a:rPr>
              <a:t>ystem (as example)</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p:txBody>
      </p:sp>
      <p:sp>
        <p:nvSpPr>
          <p:cNvPr id="12" name="Rectangle: Rounded Corners 11">
            <a:extLst>
              <a:ext uri="{FF2B5EF4-FFF2-40B4-BE49-F238E27FC236}">
                <a16:creationId xmlns:a16="http://schemas.microsoft.com/office/drawing/2014/main" id="{35EC8872-0D45-00D9-9B7F-53C903650405}"/>
              </a:ext>
            </a:extLst>
          </p:cNvPr>
          <p:cNvSpPr/>
          <p:nvPr/>
        </p:nvSpPr>
        <p:spPr bwMode="auto">
          <a:xfrm>
            <a:off x="5867399" y="1788543"/>
            <a:ext cx="3047999" cy="4800600"/>
          </a:xfrm>
          <a:prstGeom prst="round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ctr" defTabSz="914400" rtl="0" eaLnBrk="0" fontAlgn="base" latinLnBrk="0" hangingPunct="0">
              <a:lnSpc>
                <a:spcPct val="100000"/>
              </a:lnSpc>
              <a:spcBef>
                <a:spcPct val="0"/>
              </a:spcBef>
              <a:spcAft>
                <a:spcPct val="0"/>
              </a:spcAft>
              <a:buClrTx/>
              <a:buSzTx/>
              <a:tabLst/>
            </a:pPr>
            <a:r>
              <a:rPr kumimoji="0" lang="en-US" sz="1800" b="1" i="0" u="none" strike="noStrike" cap="none" normalizeH="0" baseline="0" dirty="0">
                <a:ln>
                  <a:noFill/>
                </a:ln>
                <a:solidFill>
                  <a:schemeClr val="bg1"/>
                </a:solidFill>
                <a:effectLst/>
                <a:latin typeface="Arial" charset="0"/>
                <a:ea typeface="ＭＳ Ｐゴシック" pitchFamily="1" charset="-128"/>
              </a:rPr>
              <a:t>401</a:t>
            </a:r>
          </a:p>
          <a:p>
            <a:pPr marR="0" algn="ctr" defTabSz="914400" rtl="0" eaLnBrk="0" fontAlgn="base" latinLnBrk="0" hangingPunct="0">
              <a:lnSpc>
                <a:spcPct val="100000"/>
              </a:lnSpc>
              <a:spcBef>
                <a:spcPct val="0"/>
              </a:spcBef>
              <a:spcAft>
                <a:spcPct val="0"/>
              </a:spcAft>
              <a:buClrTx/>
              <a:buSzTx/>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 Measuring what matters</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sz="1200" dirty="0">
              <a:solidFill>
                <a:schemeClr val="bg1"/>
              </a:solidFill>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 Data and Fact Driven Organization</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sz="1200" dirty="0">
              <a:solidFill>
                <a:schemeClr val="bg1"/>
              </a:solidFill>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 Enterprise Value growing at best in class rates</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sz="1200" dirty="0">
              <a:solidFill>
                <a:schemeClr val="bg1"/>
              </a:solidFill>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 B continually driving out ‘C’ and ‘D’</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sz="1200" dirty="0">
              <a:solidFill>
                <a:schemeClr val="bg1"/>
              </a:solidFill>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b="1" dirty="0">
                <a:solidFill>
                  <a:schemeClr val="bg1"/>
                </a:solidFill>
                <a:latin typeface="Arial" charset="0"/>
                <a:ea typeface="ＭＳ Ｐゴシック" pitchFamily="1" charset="-128"/>
              </a:rPr>
              <a:t>Focused</a:t>
            </a:r>
            <a:r>
              <a:rPr lang="en-US" sz="1200" dirty="0">
                <a:solidFill>
                  <a:schemeClr val="bg1"/>
                </a:solidFill>
                <a:latin typeface="Arial" charset="0"/>
                <a:ea typeface="ＭＳ Ｐゴシック" pitchFamily="1" charset="-128"/>
              </a:rPr>
              <a:t> innovation and improvement</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sz="1200" dirty="0">
              <a:solidFill>
                <a:schemeClr val="bg1"/>
              </a:solidFill>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b="1" dirty="0">
                <a:solidFill>
                  <a:schemeClr val="bg1"/>
                </a:solidFill>
                <a:latin typeface="Arial" charset="0"/>
                <a:ea typeface="ＭＳ Ｐゴシック" pitchFamily="1" charset="-128"/>
              </a:rPr>
              <a:t>Alignment </a:t>
            </a:r>
            <a:r>
              <a:rPr lang="en-US" sz="1200" dirty="0">
                <a:solidFill>
                  <a:schemeClr val="bg1"/>
                </a:solidFill>
                <a:latin typeface="Arial" charset="0"/>
                <a:ea typeface="ＭＳ Ｐゴシック" pitchFamily="1" charset="-128"/>
              </a:rPr>
              <a:t>and </a:t>
            </a:r>
            <a:r>
              <a:rPr lang="en-US" sz="1200" b="1" dirty="0">
                <a:solidFill>
                  <a:schemeClr val="bg1"/>
                </a:solidFill>
                <a:latin typeface="Arial" charset="0"/>
                <a:ea typeface="ＭＳ Ｐゴシック" pitchFamily="1" charset="-128"/>
              </a:rPr>
              <a:t>coordination</a:t>
            </a:r>
            <a:r>
              <a:rPr lang="en-US" sz="1200" dirty="0">
                <a:solidFill>
                  <a:schemeClr val="bg1"/>
                </a:solidFill>
                <a:latin typeface="Arial" charset="0"/>
                <a:ea typeface="ＭＳ Ｐゴシック" pitchFamily="1" charset="-128"/>
              </a:rPr>
              <a:t> top to bottom, back to front</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b="1" dirty="0">
                <a:solidFill>
                  <a:schemeClr val="bg1"/>
                </a:solidFill>
                <a:latin typeface="Arial" charset="0"/>
                <a:ea typeface="ＭＳ Ｐゴシック" pitchFamily="1" charset="-128"/>
              </a:rPr>
              <a:t>Discipline</a:t>
            </a:r>
            <a:r>
              <a:rPr lang="en-US" sz="1200" dirty="0">
                <a:solidFill>
                  <a:schemeClr val="bg1"/>
                </a:solidFill>
                <a:latin typeface="Arial" charset="0"/>
                <a:ea typeface="ＭＳ Ｐゴシック" pitchFamily="1" charset="-128"/>
              </a:rPr>
              <a:t> with ‘A’ and ‘B’</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1200" dirty="0">
                <a:solidFill>
                  <a:schemeClr val="bg1"/>
                </a:solidFill>
                <a:latin typeface="Arial" charset="0"/>
                <a:ea typeface="ＭＳ Ｐゴシック" pitchFamily="1" charset="-128"/>
              </a:rPr>
              <a:t> Accountability, Trust, Culture</a:t>
            </a: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200" b="0" i="0" u="none" strike="noStrike" cap="none" normalizeH="0" baseline="0" dirty="0">
              <a:ln>
                <a:noFill/>
              </a:ln>
              <a:solidFill>
                <a:schemeClr val="bg1"/>
              </a:solidFill>
              <a:effectLst/>
              <a:latin typeface="Arial" charset="0"/>
              <a:ea typeface="ＭＳ Ｐゴシック" pitchFamily="1" charset="-128"/>
            </a:endParaRPr>
          </a:p>
          <a:p>
            <a:pPr marL="171450" marR="0" indent="-171450"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dirty="0">
                <a:ln>
                  <a:noFill/>
                </a:ln>
                <a:solidFill>
                  <a:schemeClr val="bg1"/>
                </a:solidFill>
                <a:effectLst/>
                <a:latin typeface="Arial" charset="0"/>
                <a:ea typeface="ＭＳ Ｐゴシック" pitchFamily="1" charset="-128"/>
              </a:rPr>
              <a:t>Information (Profound Knowledge) and Insights and Bias for Action and Results </a:t>
            </a:r>
          </a:p>
        </p:txBody>
      </p:sp>
    </p:spTree>
    <p:extLst>
      <p:ext uri="{BB962C8B-B14F-4D97-AF65-F5344CB8AC3E}">
        <p14:creationId xmlns:p14="http://schemas.microsoft.com/office/powerpoint/2010/main" val="11304583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lide Number Placeholder 2"/>
          <p:cNvSpPr>
            <a:spLocks noGrp="1"/>
          </p:cNvSpPr>
          <p:nvPr>
            <p:ph type="sldNum" sz="quarter" idx="10"/>
          </p:nvPr>
        </p:nvSpPr>
        <p:spPr/>
        <p:txBody>
          <a:bodyPr/>
          <a:lstStyle/>
          <a:p>
            <a:fld id="{E365054C-B900-49A6-896F-C68BA0351582}" type="slidenum">
              <a:rPr lang="en-US" altLang="en-US">
                <a:solidFill>
                  <a:srgbClr val="FFFFFF"/>
                </a:solidFill>
              </a:rPr>
              <a:pPr/>
              <a:t>19</a:t>
            </a:fld>
            <a:endParaRPr lang="en-US" altLang="en-US">
              <a:solidFill>
                <a:srgbClr val="FFFFFF"/>
              </a:solidFill>
            </a:endParaRPr>
          </a:p>
        </p:txBody>
      </p:sp>
      <p:sp>
        <p:nvSpPr>
          <p:cNvPr id="223234" name="Text Box 2"/>
          <p:cNvSpPr txBox="1">
            <a:spLocks noChangeArrowheads="1"/>
          </p:cNvSpPr>
          <p:nvPr/>
        </p:nvSpPr>
        <p:spPr bwMode="auto">
          <a:xfrm>
            <a:off x="6986588" y="1736725"/>
            <a:ext cx="720725" cy="300038"/>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ctr" eaLnBrk="1" hangingPunct="1"/>
            <a:r>
              <a:rPr lang="en-US" altLang="en-US" sz="1800" b="1">
                <a:solidFill>
                  <a:srgbClr val="FFFFFF"/>
                </a:solidFill>
                <a:latin typeface="Microsoft Sans Serif" pitchFamily="34" charset="0"/>
              </a:rPr>
              <a:t>Goal</a:t>
            </a:r>
          </a:p>
        </p:txBody>
      </p:sp>
      <p:sp>
        <p:nvSpPr>
          <p:cNvPr id="223235" name="AutoShape 3"/>
          <p:cNvSpPr>
            <a:spLocks noChangeArrowheads="1"/>
          </p:cNvSpPr>
          <p:nvPr/>
        </p:nvSpPr>
        <p:spPr bwMode="auto">
          <a:xfrm>
            <a:off x="3538538" y="1738313"/>
            <a:ext cx="4621212" cy="3868737"/>
          </a:xfrm>
          <a:prstGeom prst="cube">
            <a:avLst>
              <a:gd name="adj" fmla="val 25000"/>
            </a:avLst>
          </a:prstGeom>
          <a:gradFill rotWithShape="0">
            <a:gsLst>
              <a:gs pos="0">
                <a:srgbClr val="008080">
                  <a:gamma/>
                  <a:tint val="53725"/>
                  <a:invGamma/>
                </a:srgbClr>
              </a:gs>
              <a:gs pos="100000">
                <a:srgbClr val="008080"/>
              </a:gs>
            </a:gsLst>
            <a:lin ang="18900000" scaled="1"/>
          </a:gradFill>
          <a:ln w="25400">
            <a:solidFill>
              <a:srgbClr val="0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eaLnBrk="1" hangingPunct="1"/>
            <a:endParaRPr lang="en-US" sz="1800">
              <a:solidFill>
                <a:srgbClr val="000000"/>
              </a:solidFill>
              <a:latin typeface="Arial" charset="0"/>
            </a:endParaRPr>
          </a:p>
        </p:txBody>
      </p:sp>
      <p:sp>
        <p:nvSpPr>
          <p:cNvPr id="223236" name="Line 4"/>
          <p:cNvSpPr>
            <a:spLocks noChangeShapeType="1"/>
          </p:cNvSpPr>
          <p:nvPr/>
        </p:nvSpPr>
        <p:spPr bwMode="auto">
          <a:xfrm flipH="1">
            <a:off x="4699000" y="1739900"/>
            <a:ext cx="1144588" cy="973138"/>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37" name="Line 5"/>
          <p:cNvSpPr>
            <a:spLocks noChangeShapeType="1"/>
          </p:cNvSpPr>
          <p:nvPr/>
        </p:nvSpPr>
        <p:spPr bwMode="auto">
          <a:xfrm flipH="1">
            <a:off x="5854700" y="1739900"/>
            <a:ext cx="1146175" cy="963613"/>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38" name="Line 6"/>
          <p:cNvSpPr>
            <a:spLocks noChangeShapeType="1"/>
          </p:cNvSpPr>
          <p:nvPr/>
        </p:nvSpPr>
        <p:spPr bwMode="auto">
          <a:xfrm>
            <a:off x="4702175" y="2709863"/>
            <a:ext cx="0" cy="2890837"/>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1" hangingPunct="1"/>
            <a:endParaRPr lang="en-US" sz="1800">
              <a:solidFill>
                <a:srgbClr val="000000"/>
              </a:solidFill>
              <a:latin typeface="Arial" charset="0"/>
            </a:endParaRPr>
          </a:p>
        </p:txBody>
      </p:sp>
      <p:sp>
        <p:nvSpPr>
          <p:cNvPr id="223239" name="Line 7"/>
          <p:cNvSpPr>
            <a:spLocks noChangeShapeType="1"/>
          </p:cNvSpPr>
          <p:nvPr/>
        </p:nvSpPr>
        <p:spPr bwMode="auto">
          <a:xfrm>
            <a:off x="5851525" y="2709863"/>
            <a:ext cx="0" cy="2890837"/>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1" hangingPunct="1"/>
            <a:endParaRPr lang="en-US" sz="1800">
              <a:solidFill>
                <a:srgbClr val="000000"/>
              </a:solidFill>
              <a:latin typeface="Arial" charset="0"/>
            </a:endParaRPr>
          </a:p>
        </p:txBody>
      </p:sp>
      <p:sp>
        <p:nvSpPr>
          <p:cNvPr id="223240" name="Line 8"/>
          <p:cNvSpPr>
            <a:spLocks noChangeShapeType="1"/>
          </p:cNvSpPr>
          <p:nvPr/>
        </p:nvSpPr>
        <p:spPr bwMode="auto">
          <a:xfrm>
            <a:off x="7494588" y="2390775"/>
            <a:ext cx="0" cy="2890838"/>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1" hangingPunct="1"/>
            <a:endParaRPr lang="en-US" sz="1800">
              <a:solidFill>
                <a:srgbClr val="000000"/>
              </a:solidFill>
              <a:latin typeface="Arial" charset="0"/>
            </a:endParaRPr>
          </a:p>
        </p:txBody>
      </p:sp>
      <p:sp>
        <p:nvSpPr>
          <p:cNvPr id="223241" name="Line 9"/>
          <p:cNvSpPr>
            <a:spLocks noChangeShapeType="1"/>
          </p:cNvSpPr>
          <p:nvPr/>
        </p:nvSpPr>
        <p:spPr bwMode="auto">
          <a:xfrm>
            <a:off x="7832725" y="2036763"/>
            <a:ext cx="0" cy="2925762"/>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42" name="Line 10"/>
          <p:cNvSpPr>
            <a:spLocks noChangeShapeType="1"/>
          </p:cNvSpPr>
          <p:nvPr/>
        </p:nvSpPr>
        <p:spPr bwMode="auto">
          <a:xfrm flipH="1">
            <a:off x="3875088" y="2389188"/>
            <a:ext cx="3613150" cy="0"/>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43" name="Line 11"/>
          <p:cNvSpPr>
            <a:spLocks noChangeShapeType="1"/>
          </p:cNvSpPr>
          <p:nvPr/>
        </p:nvSpPr>
        <p:spPr bwMode="auto">
          <a:xfrm flipH="1">
            <a:off x="4203700" y="2063750"/>
            <a:ext cx="3622675" cy="0"/>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44" name="Line 12"/>
          <p:cNvSpPr>
            <a:spLocks noChangeShapeType="1"/>
          </p:cNvSpPr>
          <p:nvPr/>
        </p:nvSpPr>
        <p:spPr bwMode="auto">
          <a:xfrm flipH="1">
            <a:off x="3541713" y="3671888"/>
            <a:ext cx="3632200" cy="0"/>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45" name="Line 13"/>
          <p:cNvSpPr>
            <a:spLocks noChangeShapeType="1"/>
          </p:cNvSpPr>
          <p:nvPr/>
        </p:nvSpPr>
        <p:spPr bwMode="auto">
          <a:xfrm flipH="1">
            <a:off x="3541713" y="4638675"/>
            <a:ext cx="3619500" cy="0"/>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46" name="Line 14"/>
          <p:cNvSpPr>
            <a:spLocks noChangeShapeType="1"/>
          </p:cNvSpPr>
          <p:nvPr/>
        </p:nvSpPr>
        <p:spPr bwMode="auto">
          <a:xfrm flipV="1">
            <a:off x="3738563" y="2955925"/>
            <a:ext cx="2530475" cy="2498725"/>
          </a:xfrm>
          <a:prstGeom prst="line">
            <a:avLst/>
          </a:prstGeom>
          <a:noFill/>
          <a:ln w="6350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47" name="Text Box 15"/>
          <p:cNvSpPr txBox="1">
            <a:spLocks noChangeArrowheads="1"/>
          </p:cNvSpPr>
          <p:nvPr/>
        </p:nvSpPr>
        <p:spPr bwMode="auto">
          <a:xfrm>
            <a:off x="811213" y="1739900"/>
            <a:ext cx="3386137"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r" eaLnBrk="1" hangingPunct="1"/>
            <a:r>
              <a:rPr lang="en-US" altLang="en-US" sz="1400" b="1" i="1">
                <a:solidFill>
                  <a:srgbClr val="006666"/>
                </a:solidFill>
                <a:latin typeface="Microsoft Sans Serif" pitchFamily="34" charset="0"/>
              </a:rPr>
              <a:t>Cross-Enterprise Integration</a:t>
            </a:r>
          </a:p>
        </p:txBody>
      </p:sp>
      <p:sp>
        <p:nvSpPr>
          <p:cNvPr id="223248" name="Text Box 16"/>
          <p:cNvSpPr txBox="1">
            <a:spLocks noChangeArrowheads="1"/>
          </p:cNvSpPr>
          <p:nvPr/>
        </p:nvSpPr>
        <p:spPr bwMode="auto">
          <a:xfrm>
            <a:off x="488950" y="2074863"/>
            <a:ext cx="3386138"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r" eaLnBrk="1" hangingPunct="1"/>
            <a:r>
              <a:rPr lang="en-US" altLang="en-US" sz="1400" b="1" i="1">
                <a:solidFill>
                  <a:srgbClr val="006666"/>
                </a:solidFill>
                <a:latin typeface="Microsoft Sans Serif" pitchFamily="34" charset="0"/>
              </a:rPr>
              <a:t>Interfaced Strategies</a:t>
            </a:r>
          </a:p>
        </p:txBody>
      </p:sp>
      <p:sp>
        <p:nvSpPr>
          <p:cNvPr id="223249" name="Text Box 17"/>
          <p:cNvSpPr txBox="1">
            <a:spLocks noChangeArrowheads="1"/>
          </p:cNvSpPr>
          <p:nvPr/>
        </p:nvSpPr>
        <p:spPr bwMode="auto">
          <a:xfrm>
            <a:off x="107950" y="2411413"/>
            <a:ext cx="3386138"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r" eaLnBrk="1" hangingPunct="1"/>
            <a:r>
              <a:rPr lang="en-US" altLang="en-US" sz="1400" b="1" i="1">
                <a:solidFill>
                  <a:srgbClr val="006666"/>
                </a:solidFill>
                <a:latin typeface="Microsoft Sans Serif" pitchFamily="34" charset="0"/>
              </a:rPr>
              <a:t>Stove-pipe BU’s &amp; Functions</a:t>
            </a:r>
          </a:p>
        </p:txBody>
      </p:sp>
      <p:sp>
        <p:nvSpPr>
          <p:cNvPr id="223250" name="Text Box 18"/>
          <p:cNvSpPr txBox="1">
            <a:spLocks noChangeArrowheads="1"/>
          </p:cNvSpPr>
          <p:nvPr/>
        </p:nvSpPr>
        <p:spPr bwMode="auto">
          <a:xfrm>
            <a:off x="179388" y="1616075"/>
            <a:ext cx="1655762" cy="7334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eaLnBrk="1" hangingPunct="1"/>
            <a:r>
              <a:rPr lang="en-US" altLang="en-US" sz="1600" b="1">
                <a:solidFill>
                  <a:srgbClr val="000000"/>
                </a:solidFill>
                <a:latin typeface="Microsoft Sans Serif" pitchFamily="34" charset="0"/>
              </a:rPr>
              <a:t>Customer Solution Design / Delivery</a:t>
            </a:r>
          </a:p>
        </p:txBody>
      </p:sp>
      <p:sp>
        <p:nvSpPr>
          <p:cNvPr id="223251" name="Text Box 19"/>
          <p:cNvSpPr txBox="1">
            <a:spLocks noChangeArrowheads="1"/>
          </p:cNvSpPr>
          <p:nvPr/>
        </p:nvSpPr>
        <p:spPr bwMode="auto">
          <a:xfrm>
            <a:off x="1597025" y="2982913"/>
            <a:ext cx="1816100"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r" eaLnBrk="1" hangingPunct="1"/>
            <a:r>
              <a:rPr lang="en-US" altLang="en-US" sz="1400" b="1" i="1">
                <a:solidFill>
                  <a:srgbClr val="006666"/>
                </a:solidFill>
                <a:latin typeface="Microsoft Sans Serif" pitchFamily="34" charset="0"/>
              </a:rPr>
              <a:t>5.0  Optimized</a:t>
            </a:r>
          </a:p>
        </p:txBody>
      </p:sp>
      <p:sp>
        <p:nvSpPr>
          <p:cNvPr id="223252" name="Text Box 20"/>
          <p:cNvSpPr txBox="1">
            <a:spLocks noChangeArrowheads="1"/>
          </p:cNvSpPr>
          <p:nvPr/>
        </p:nvSpPr>
        <p:spPr bwMode="auto">
          <a:xfrm>
            <a:off x="1619250" y="4945063"/>
            <a:ext cx="1816100"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r" eaLnBrk="1" hangingPunct="1"/>
            <a:r>
              <a:rPr lang="en-US" altLang="en-US" sz="1400" b="1" i="1">
                <a:solidFill>
                  <a:srgbClr val="006666"/>
                </a:solidFill>
                <a:latin typeface="Microsoft Sans Serif" pitchFamily="34" charset="0"/>
              </a:rPr>
              <a:t>2.0  Practices</a:t>
            </a:r>
          </a:p>
        </p:txBody>
      </p:sp>
      <p:sp>
        <p:nvSpPr>
          <p:cNvPr id="223253" name="Text Box 21"/>
          <p:cNvSpPr txBox="1">
            <a:spLocks noChangeArrowheads="1"/>
          </p:cNvSpPr>
          <p:nvPr/>
        </p:nvSpPr>
        <p:spPr bwMode="auto">
          <a:xfrm>
            <a:off x="1597025" y="5232400"/>
            <a:ext cx="1816100"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r" eaLnBrk="1" hangingPunct="1"/>
            <a:r>
              <a:rPr lang="en-US" altLang="en-US" sz="1400" b="1" i="1">
                <a:solidFill>
                  <a:srgbClr val="006666"/>
                </a:solidFill>
                <a:latin typeface="Microsoft Sans Serif" pitchFamily="34" charset="0"/>
              </a:rPr>
              <a:t>1.0  Adhoc</a:t>
            </a:r>
          </a:p>
        </p:txBody>
      </p:sp>
      <p:sp>
        <p:nvSpPr>
          <p:cNvPr id="223254" name="Text Box 22"/>
          <p:cNvSpPr txBox="1">
            <a:spLocks noChangeArrowheads="1"/>
          </p:cNvSpPr>
          <p:nvPr/>
        </p:nvSpPr>
        <p:spPr bwMode="auto">
          <a:xfrm>
            <a:off x="3375025" y="5661025"/>
            <a:ext cx="1284288" cy="3175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ctr" eaLnBrk="1" hangingPunct="1">
              <a:lnSpc>
                <a:spcPct val="80000"/>
              </a:lnSpc>
            </a:pPr>
            <a:r>
              <a:rPr lang="en-US" altLang="en-US" sz="1300" b="1" i="1">
                <a:solidFill>
                  <a:srgbClr val="006666"/>
                </a:solidFill>
                <a:latin typeface="Microsoft Sans Serif" pitchFamily="34" charset="0"/>
              </a:rPr>
              <a:t>Products / Functions</a:t>
            </a:r>
          </a:p>
        </p:txBody>
      </p:sp>
      <p:sp>
        <p:nvSpPr>
          <p:cNvPr id="223255" name="Text Box 23"/>
          <p:cNvSpPr txBox="1">
            <a:spLocks noChangeArrowheads="1"/>
          </p:cNvSpPr>
          <p:nvPr/>
        </p:nvSpPr>
        <p:spPr bwMode="auto">
          <a:xfrm>
            <a:off x="4618038" y="5661025"/>
            <a:ext cx="1284287" cy="4762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ctr" eaLnBrk="1" hangingPunct="1">
              <a:lnSpc>
                <a:spcPct val="80000"/>
              </a:lnSpc>
            </a:pPr>
            <a:r>
              <a:rPr lang="en-US" altLang="en-US" sz="1300" b="1" i="1">
                <a:solidFill>
                  <a:srgbClr val="006666"/>
                </a:solidFill>
                <a:latin typeface="Microsoft Sans Serif" pitchFamily="34" charset="0"/>
              </a:rPr>
              <a:t>Superior</a:t>
            </a:r>
            <a:br>
              <a:rPr lang="en-US" altLang="en-US" sz="1300" b="1" i="1">
                <a:solidFill>
                  <a:srgbClr val="006666"/>
                </a:solidFill>
                <a:latin typeface="Microsoft Sans Serif" pitchFamily="34" charset="0"/>
              </a:rPr>
            </a:br>
            <a:r>
              <a:rPr lang="en-US" altLang="en-US" sz="1300" b="1" i="1">
                <a:solidFill>
                  <a:srgbClr val="006666"/>
                </a:solidFill>
                <a:latin typeface="Microsoft Sans Serif" pitchFamily="34" charset="0"/>
              </a:rPr>
              <a:t>Value Chain Performance</a:t>
            </a:r>
          </a:p>
        </p:txBody>
      </p:sp>
      <p:sp>
        <p:nvSpPr>
          <p:cNvPr id="223256" name="Text Box 24"/>
          <p:cNvSpPr txBox="1">
            <a:spLocks noChangeArrowheads="1"/>
          </p:cNvSpPr>
          <p:nvPr/>
        </p:nvSpPr>
        <p:spPr bwMode="auto">
          <a:xfrm>
            <a:off x="5845175" y="5661025"/>
            <a:ext cx="1284288" cy="635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ctr" eaLnBrk="1" hangingPunct="1">
              <a:lnSpc>
                <a:spcPct val="80000"/>
              </a:lnSpc>
            </a:pPr>
            <a:r>
              <a:rPr lang="en-US" altLang="en-US" sz="1300" b="1" i="1" dirty="0">
                <a:solidFill>
                  <a:srgbClr val="006666"/>
                </a:solidFill>
                <a:latin typeface="Microsoft Sans Serif" pitchFamily="34" charset="0"/>
              </a:rPr>
              <a:t>Stakeholder</a:t>
            </a:r>
            <a:br>
              <a:rPr lang="en-US" altLang="en-US" sz="1300" b="1" i="1" dirty="0">
                <a:solidFill>
                  <a:srgbClr val="006666"/>
                </a:solidFill>
                <a:latin typeface="Microsoft Sans Serif" pitchFamily="34" charset="0"/>
              </a:rPr>
            </a:br>
            <a:r>
              <a:rPr lang="en-US" altLang="en-US" sz="1300" b="1" i="1" dirty="0">
                <a:solidFill>
                  <a:srgbClr val="006666"/>
                </a:solidFill>
                <a:latin typeface="Microsoft Sans Serif" pitchFamily="34" charset="0"/>
              </a:rPr>
              <a:t>Value Exchange (Lifetime Value of Customer)</a:t>
            </a:r>
          </a:p>
        </p:txBody>
      </p:sp>
      <p:sp>
        <p:nvSpPr>
          <p:cNvPr id="223257" name="Line 25"/>
          <p:cNvSpPr>
            <a:spLocks noChangeShapeType="1"/>
          </p:cNvSpPr>
          <p:nvPr/>
        </p:nvSpPr>
        <p:spPr bwMode="auto">
          <a:xfrm flipV="1">
            <a:off x="7162800" y="3629025"/>
            <a:ext cx="1000125" cy="985838"/>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58" name="Line 26"/>
          <p:cNvSpPr>
            <a:spLocks noChangeShapeType="1"/>
          </p:cNvSpPr>
          <p:nvPr/>
        </p:nvSpPr>
        <p:spPr bwMode="auto">
          <a:xfrm flipV="1">
            <a:off x="7162800" y="2665413"/>
            <a:ext cx="1000125" cy="985837"/>
          </a:xfrm>
          <a:prstGeom prst="line">
            <a:avLst/>
          </a:prstGeom>
          <a:noFill/>
          <a:ln w="25400">
            <a:solidFill>
              <a:srgbClr val="0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59" name="Freeform 27"/>
          <p:cNvSpPr>
            <a:spLocks/>
          </p:cNvSpPr>
          <p:nvPr/>
        </p:nvSpPr>
        <p:spPr bwMode="auto">
          <a:xfrm rot="5400000" flipH="1">
            <a:off x="7380287" y="2208213"/>
            <a:ext cx="1228725" cy="323850"/>
          </a:xfrm>
          <a:custGeom>
            <a:avLst/>
            <a:gdLst>
              <a:gd name="T0" fmla="*/ 0 w 924"/>
              <a:gd name="T1" fmla="*/ 234 h 234"/>
              <a:gd name="T2" fmla="*/ 234 w 924"/>
              <a:gd name="T3" fmla="*/ 0 h 234"/>
              <a:gd name="T4" fmla="*/ 924 w 924"/>
              <a:gd name="T5" fmla="*/ 0 h 234"/>
              <a:gd name="T6" fmla="*/ 693 w 924"/>
              <a:gd name="T7" fmla="*/ 231 h 234"/>
              <a:gd name="T8" fmla="*/ 0 w 924"/>
              <a:gd name="T9" fmla="*/ 234 h 234"/>
            </a:gdLst>
            <a:ahLst/>
            <a:cxnLst>
              <a:cxn ang="0">
                <a:pos x="T0" y="T1"/>
              </a:cxn>
              <a:cxn ang="0">
                <a:pos x="T2" y="T3"/>
              </a:cxn>
              <a:cxn ang="0">
                <a:pos x="T4" y="T5"/>
              </a:cxn>
              <a:cxn ang="0">
                <a:pos x="T6" y="T7"/>
              </a:cxn>
              <a:cxn ang="0">
                <a:pos x="T8" y="T9"/>
              </a:cxn>
            </a:cxnLst>
            <a:rect l="0" t="0" r="r" b="b"/>
            <a:pathLst>
              <a:path w="924" h="234">
                <a:moveTo>
                  <a:pt x="0" y="234"/>
                </a:moveTo>
                <a:lnTo>
                  <a:pt x="234" y="0"/>
                </a:lnTo>
                <a:lnTo>
                  <a:pt x="924" y="0"/>
                </a:lnTo>
                <a:lnTo>
                  <a:pt x="693" y="231"/>
                </a:lnTo>
                <a:lnTo>
                  <a:pt x="0" y="234"/>
                </a:lnTo>
                <a:close/>
              </a:path>
            </a:pathLst>
          </a:custGeom>
          <a:solidFill>
            <a:srgbClr val="FFFF66"/>
          </a:solidFill>
          <a:ln w="25400" cap="flat" cmpd="sng">
            <a:solidFill>
              <a:srgbClr val="FF99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60" name="Freeform 28"/>
          <p:cNvSpPr>
            <a:spLocks/>
          </p:cNvSpPr>
          <p:nvPr/>
        </p:nvSpPr>
        <p:spPr bwMode="auto">
          <a:xfrm>
            <a:off x="6618288" y="1739900"/>
            <a:ext cx="1544637" cy="322263"/>
          </a:xfrm>
          <a:custGeom>
            <a:avLst/>
            <a:gdLst>
              <a:gd name="T0" fmla="*/ 0 w 1071"/>
              <a:gd name="T1" fmla="*/ 228 h 231"/>
              <a:gd name="T2" fmla="*/ 264 w 1071"/>
              <a:gd name="T3" fmla="*/ 0 h 231"/>
              <a:gd name="T4" fmla="*/ 1071 w 1071"/>
              <a:gd name="T5" fmla="*/ 0 h 231"/>
              <a:gd name="T6" fmla="*/ 840 w 1071"/>
              <a:gd name="T7" fmla="*/ 231 h 231"/>
              <a:gd name="T8" fmla="*/ 0 w 1071"/>
              <a:gd name="T9" fmla="*/ 228 h 231"/>
            </a:gdLst>
            <a:ahLst/>
            <a:cxnLst>
              <a:cxn ang="0">
                <a:pos x="T0" y="T1"/>
              </a:cxn>
              <a:cxn ang="0">
                <a:pos x="T2" y="T3"/>
              </a:cxn>
              <a:cxn ang="0">
                <a:pos x="T4" y="T5"/>
              </a:cxn>
              <a:cxn ang="0">
                <a:pos x="T6" y="T7"/>
              </a:cxn>
              <a:cxn ang="0">
                <a:pos x="T8" y="T9"/>
              </a:cxn>
            </a:cxnLst>
            <a:rect l="0" t="0" r="r" b="b"/>
            <a:pathLst>
              <a:path w="1071" h="231">
                <a:moveTo>
                  <a:pt x="0" y="228"/>
                </a:moveTo>
                <a:lnTo>
                  <a:pt x="264" y="0"/>
                </a:lnTo>
                <a:lnTo>
                  <a:pt x="1071" y="0"/>
                </a:lnTo>
                <a:lnTo>
                  <a:pt x="840" y="231"/>
                </a:lnTo>
                <a:lnTo>
                  <a:pt x="0" y="228"/>
                </a:lnTo>
                <a:close/>
              </a:path>
            </a:pathLst>
          </a:custGeom>
          <a:solidFill>
            <a:srgbClr val="FFFF66"/>
          </a:solidFill>
          <a:ln w="25400" cap="flat" cmpd="sng">
            <a:solidFill>
              <a:srgbClr val="FF99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endParaRPr lang="en-US" sz="1800">
              <a:solidFill>
                <a:srgbClr val="000000"/>
              </a:solidFill>
              <a:latin typeface="Arial" charset="0"/>
            </a:endParaRPr>
          </a:p>
        </p:txBody>
      </p:sp>
      <p:sp>
        <p:nvSpPr>
          <p:cNvPr id="223261" name="Text Box 29"/>
          <p:cNvSpPr txBox="1">
            <a:spLocks noChangeArrowheads="1"/>
          </p:cNvSpPr>
          <p:nvPr/>
        </p:nvSpPr>
        <p:spPr bwMode="auto">
          <a:xfrm rot="-2598051">
            <a:off x="4929188" y="4005263"/>
            <a:ext cx="1803400" cy="82391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ctr" eaLnBrk="1" hangingPunct="1"/>
            <a:r>
              <a:rPr lang="en-US" altLang="en-US" sz="1800" b="1">
                <a:solidFill>
                  <a:srgbClr val="FFFFFF"/>
                </a:solidFill>
                <a:latin typeface="Microsoft Sans Serif" pitchFamily="34" charset="0"/>
              </a:rPr>
              <a:t>Drive to Full Potential Performance</a:t>
            </a:r>
          </a:p>
        </p:txBody>
      </p:sp>
      <p:sp>
        <p:nvSpPr>
          <p:cNvPr id="223262" name="Rectangle 30"/>
          <p:cNvSpPr>
            <a:spLocks noChangeArrowheads="1"/>
          </p:cNvSpPr>
          <p:nvPr/>
        </p:nvSpPr>
        <p:spPr bwMode="auto">
          <a:xfrm>
            <a:off x="3275013" y="65088"/>
            <a:ext cx="5545137" cy="915987"/>
          </a:xfrm>
          <a:prstGeom prst="rect">
            <a:avLst/>
          </a:prstGeom>
          <a:noFill/>
          <a:ln>
            <a:noFill/>
          </a:ln>
          <a:effectLst>
            <a:outerShdw dist="38100" algn="ctr" rotWithShape="0">
              <a:srgbClr val="666699"/>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pPr eaLnBrk="1" hangingPunct="1"/>
            <a:r>
              <a:rPr lang="en-US" altLang="en-US" sz="1800" b="1">
                <a:solidFill>
                  <a:srgbClr val="FFFFFF"/>
                </a:solidFill>
                <a:latin typeface="Palatino Linotype" pitchFamily="18" charset="0"/>
                <a:cs typeface="Times New Roman" pitchFamily="18" charset="0"/>
              </a:rPr>
              <a:t>Full Potential Performance Strategy is aimed at effectively and efficiently migrating towards the far back right corner of the Performance Cube</a:t>
            </a:r>
          </a:p>
        </p:txBody>
      </p:sp>
      <p:sp>
        <p:nvSpPr>
          <p:cNvPr id="223263" name="AutoShape 31"/>
          <p:cNvSpPr>
            <a:spLocks noChangeArrowheads="1"/>
          </p:cNvSpPr>
          <p:nvPr/>
        </p:nvSpPr>
        <p:spPr bwMode="auto">
          <a:xfrm>
            <a:off x="107950" y="2924175"/>
            <a:ext cx="2376488" cy="2592388"/>
          </a:xfrm>
          <a:prstGeom prst="upArrow">
            <a:avLst>
              <a:gd name="adj1" fmla="val 68907"/>
              <a:gd name="adj2" fmla="val 2644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85000"/>
              </a:lnSpc>
            </a:pPr>
            <a:r>
              <a:rPr lang="en-US" altLang="en-US" sz="1800" b="1">
                <a:solidFill>
                  <a:srgbClr val="000000"/>
                </a:solidFill>
                <a:latin typeface="Arial" charset="0"/>
              </a:rPr>
              <a:t>Process </a:t>
            </a:r>
          </a:p>
          <a:p>
            <a:pPr algn="ctr">
              <a:lnSpc>
                <a:spcPct val="85000"/>
              </a:lnSpc>
            </a:pPr>
            <a:r>
              <a:rPr lang="en-US" altLang="en-US" sz="1800" b="1">
                <a:solidFill>
                  <a:srgbClr val="000000"/>
                </a:solidFill>
                <a:latin typeface="Arial" charset="0"/>
              </a:rPr>
              <a:t>Improvement </a:t>
            </a:r>
          </a:p>
          <a:p>
            <a:pPr algn="ctr">
              <a:lnSpc>
                <a:spcPct val="85000"/>
              </a:lnSpc>
            </a:pPr>
            <a:r>
              <a:rPr lang="en-US" altLang="en-US" sz="1800" b="1">
                <a:solidFill>
                  <a:srgbClr val="000000"/>
                </a:solidFill>
                <a:latin typeface="Arial" charset="0"/>
              </a:rPr>
              <a:t>Capability</a:t>
            </a:r>
          </a:p>
          <a:p>
            <a:pPr algn="ctr">
              <a:lnSpc>
                <a:spcPct val="85000"/>
              </a:lnSpc>
            </a:pPr>
            <a:r>
              <a:rPr lang="en-US" altLang="en-US" sz="1800" b="1">
                <a:solidFill>
                  <a:srgbClr val="000000"/>
                </a:solidFill>
                <a:latin typeface="Arial" charset="0"/>
              </a:rPr>
              <a:t>Maturity</a:t>
            </a:r>
          </a:p>
        </p:txBody>
      </p:sp>
      <p:sp>
        <p:nvSpPr>
          <p:cNvPr id="223264" name="Text Box 32"/>
          <p:cNvSpPr txBox="1">
            <a:spLocks noChangeArrowheads="1"/>
          </p:cNvSpPr>
          <p:nvPr/>
        </p:nvSpPr>
        <p:spPr bwMode="auto">
          <a:xfrm>
            <a:off x="611188" y="5445125"/>
            <a:ext cx="1512887"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spcBef>
                <a:spcPct val="50000"/>
              </a:spcBef>
            </a:pPr>
            <a:r>
              <a:rPr lang="en-US" altLang="en-US" sz="1800" b="1">
                <a:solidFill>
                  <a:srgbClr val="000000"/>
                </a:solidFill>
                <a:latin typeface="Arial" charset="0"/>
              </a:rPr>
              <a:t>BPI Focus</a:t>
            </a:r>
          </a:p>
        </p:txBody>
      </p:sp>
      <p:sp>
        <p:nvSpPr>
          <p:cNvPr id="223265" name="Text Box 33"/>
          <p:cNvSpPr txBox="1">
            <a:spLocks noChangeArrowheads="1"/>
          </p:cNvSpPr>
          <p:nvPr/>
        </p:nvSpPr>
        <p:spPr bwMode="auto">
          <a:xfrm>
            <a:off x="2339975" y="4443413"/>
            <a:ext cx="1023938" cy="42545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r" eaLnBrk="1" hangingPunct="1"/>
            <a:r>
              <a:rPr lang="en-US" altLang="en-US" sz="1400" b="1" i="1">
                <a:solidFill>
                  <a:srgbClr val="006666"/>
                </a:solidFill>
                <a:latin typeface="Microsoft Sans Serif" pitchFamily="34" charset="0"/>
              </a:rPr>
              <a:t>3.0  Defined/ Specified</a:t>
            </a:r>
          </a:p>
        </p:txBody>
      </p:sp>
      <p:sp>
        <p:nvSpPr>
          <p:cNvPr id="223266" name="Text Box 34"/>
          <p:cNvSpPr txBox="1">
            <a:spLocks noChangeArrowheads="1"/>
          </p:cNvSpPr>
          <p:nvPr/>
        </p:nvSpPr>
        <p:spPr bwMode="auto">
          <a:xfrm>
            <a:off x="2339975" y="3792538"/>
            <a:ext cx="1095375" cy="212725"/>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20738">
              <a:defRPr>
                <a:solidFill>
                  <a:schemeClr val="tx1"/>
                </a:solidFill>
                <a:latin typeface="Arial" charset="0"/>
              </a:defRPr>
            </a:lvl1pPr>
            <a:lvl2pPr marL="409575" algn="l" defTabSz="820738">
              <a:defRPr>
                <a:solidFill>
                  <a:schemeClr val="tx1"/>
                </a:solidFill>
                <a:latin typeface="Arial" charset="0"/>
              </a:defRPr>
            </a:lvl2pPr>
            <a:lvl3pPr marL="820738" algn="l" defTabSz="820738">
              <a:defRPr>
                <a:solidFill>
                  <a:schemeClr val="tx1"/>
                </a:solidFill>
                <a:latin typeface="Arial" charset="0"/>
              </a:defRPr>
            </a:lvl3pPr>
            <a:lvl4pPr marL="1230313" algn="l" defTabSz="820738">
              <a:defRPr>
                <a:solidFill>
                  <a:schemeClr val="tx1"/>
                </a:solidFill>
                <a:latin typeface="Arial" charset="0"/>
              </a:defRPr>
            </a:lvl4pPr>
            <a:lvl5pPr marL="1641475" algn="l" defTabSz="820738">
              <a:defRPr>
                <a:solidFill>
                  <a:schemeClr val="tx1"/>
                </a:solidFill>
                <a:latin typeface="Arial" charset="0"/>
              </a:defRPr>
            </a:lvl5pPr>
            <a:lvl6pPr marL="2098675" defTabSz="820738" fontAlgn="base">
              <a:spcBef>
                <a:spcPct val="0"/>
              </a:spcBef>
              <a:spcAft>
                <a:spcPct val="0"/>
              </a:spcAft>
              <a:defRPr>
                <a:solidFill>
                  <a:schemeClr val="tx1"/>
                </a:solidFill>
                <a:latin typeface="Arial" charset="0"/>
              </a:defRPr>
            </a:lvl6pPr>
            <a:lvl7pPr marL="2555875" defTabSz="820738" fontAlgn="base">
              <a:spcBef>
                <a:spcPct val="0"/>
              </a:spcBef>
              <a:spcAft>
                <a:spcPct val="0"/>
              </a:spcAft>
              <a:defRPr>
                <a:solidFill>
                  <a:schemeClr val="tx1"/>
                </a:solidFill>
                <a:latin typeface="Arial" charset="0"/>
              </a:defRPr>
            </a:lvl7pPr>
            <a:lvl8pPr marL="3013075" defTabSz="820738" fontAlgn="base">
              <a:spcBef>
                <a:spcPct val="0"/>
              </a:spcBef>
              <a:spcAft>
                <a:spcPct val="0"/>
              </a:spcAft>
              <a:defRPr>
                <a:solidFill>
                  <a:schemeClr val="tx1"/>
                </a:solidFill>
                <a:latin typeface="Arial" charset="0"/>
              </a:defRPr>
            </a:lvl8pPr>
            <a:lvl9pPr marL="3470275" defTabSz="820738" fontAlgn="base">
              <a:spcBef>
                <a:spcPct val="0"/>
              </a:spcBef>
              <a:spcAft>
                <a:spcPct val="0"/>
              </a:spcAft>
              <a:defRPr>
                <a:solidFill>
                  <a:schemeClr val="tx1"/>
                </a:solidFill>
                <a:latin typeface="Arial" charset="0"/>
              </a:defRPr>
            </a:lvl9pPr>
          </a:lstStyle>
          <a:p>
            <a:pPr algn="r" eaLnBrk="1" hangingPunct="1"/>
            <a:r>
              <a:rPr lang="en-US" altLang="en-US" sz="1400" b="1" i="1">
                <a:solidFill>
                  <a:srgbClr val="006666"/>
                </a:solidFill>
                <a:latin typeface="Microsoft Sans Serif" pitchFamily="34" charset="0"/>
              </a:rPr>
              <a:t>4.0  Managed</a:t>
            </a:r>
          </a:p>
        </p:txBody>
      </p:sp>
      <p:sp>
        <p:nvSpPr>
          <p:cNvPr id="223267" name="Text Box 35"/>
          <p:cNvSpPr txBox="1">
            <a:spLocks noChangeArrowheads="1"/>
          </p:cNvSpPr>
          <p:nvPr/>
        </p:nvSpPr>
        <p:spPr bwMode="auto">
          <a:xfrm>
            <a:off x="4284663" y="6302375"/>
            <a:ext cx="251936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spcBef>
                <a:spcPct val="50000"/>
              </a:spcBef>
            </a:pPr>
            <a:r>
              <a:rPr lang="en-US" altLang="en-US" sz="1800" b="1">
                <a:solidFill>
                  <a:srgbClr val="000000"/>
                </a:solidFill>
                <a:latin typeface="Arial" charset="0"/>
              </a:rPr>
              <a:t>Objective Function</a:t>
            </a:r>
          </a:p>
        </p:txBody>
      </p:sp>
      <p:sp>
        <p:nvSpPr>
          <p:cNvPr id="223269" name="Text Box 37"/>
          <p:cNvSpPr txBox="1">
            <a:spLocks noChangeArrowheads="1"/>
          </p:cNvSpPr>
          <p:nvPr/>
        </p:nvSpPr>
        <p:spPr bwMode="auto">
          <a:xfrm>
            <a:off x="7546976" y="5229225"/>
            <a:ext cx="1417638"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1" hangingPunct="1">
              <a:spcBef>
                <a:spcPct val="50000"/>
              </a:spcBef>
            </a:pPr>
            <a:r>
              <a:rPr lang="en-US" altLang="en-US" sz="1000" b="1" dirty="0">
                <a:solidFill>
                  <a:srgbClr val="000000"/>
                </a:solidFill>
                <a:latin typeface="Arial" charset="0"/>
              </a:rPr>
              <a:t>Stakeholders are:  Employees, Customers, Shareholders, Suppliers, etc.</a:t>
            </a:r>
          </a:p>
        </p:txBody>
      </p:sp>
    </p:spTree>
    <p:extLst>
      <p:ext uri="{BB962C8B-B14F-4D97-AF65-F5344CB8AC3E}">
        <p14:creationId xmlns:p14="http://schemas.microsoft.com/office/powerpoint/2010/main" val="185346219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23262"/>
                                        </p:tgtEl>
                                        <p:attrNameLst>
                                          <p:attrName>style.visibility</p:attrName>
                                        </p:attrNameLst>
                                      </p:cBhvr>
                                      <p:to>
                                        <p:strVal val="visible"/>
                                      </p:to>
                                    </p:set>
                                    <p:animEffect transition="in" filter="wipe(left)">
                                      <p:cBhvr>
                                        <p:cTn id="7" dur="500"/>
                                        <p:tgtEl>
                                          <p:spTgt spid="2232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3262" grpId="0"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a:extLst>
              <a:ext uri="{FF2B5EF4-FFF2-40B4-BE49-F238E27FC236}">
                <a16:creationId xmlns:a16="http://schemas.microsoft.com/office/drawing/2014/main" id="{E590AAF4-5EC4-4395-B45C-55DFFA5E7CAD}"/>
              </a:ext>
            </a:extLst>
          </p:cNvPr>
          <p:cNvSpPr>
            <a:spLocks noGrp="1"/>
          </p:cNvSpPr>
          <p:nvPr>
            <p:ph type="title"/>
          </p:nvPr>
        </p:nvSpPr>
        <p:spPr>
          <a:xfrm>
            <a:off x="457200" y="123825"/>
            <a:ext cx="7940675" cy="1095375"/>
          </a:xfrm>
        </p:spPr>
        <p:txBody>
          <a:bodyPr/>
          <a:lstStyle/>
          <a:p>
            <a:pPr eaLnBrk="1" hangingPunct="1"/>
            <a:r>
              <a:rPr lang="en-US" altLang="en-US" sz="2800" dirty="0"/>
              <a:t>Organizational Systems, Extended Enterprises down to the smallest process is this happening..</a:t>
            </a:r>
          </a:p>
        </p:txBody>
      </p:sp>
      <p:sp>
        <p:nvSpPr>
          <p:cNvPr id="68627" name="AutoShape 4" descr="Image result for sheet metal clip art">
            <a:extLst>
              <a:ext uri="{FF2B5EF4-FFF2-40B4-BE49-F238E27FC236}">
                <a16:creationId xmlns:a16="http://schemas.microsoft.com/office/drawing/2014/main" id="{D1F70884-71A7-4970-8B78-63ACFA602C64}"/>
              </a:ext>
            </a:extLst>
          </p:cNvPr>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grpSp>
        <p:nvGrpSpPr>
          <p:cNvPr id="2" name="Group 1">
            <a:extLst>
              <a:ext uri="{FF2B5EF4-FFF2-40B4-BE49-F238E27FC236}">
                <a16:creationId xmlns:a16="http://schemas.microsoft.com/office/drawing/2014/main" id="{C6219531-88F5-40A5-A039-B586DA3EC594}"/>
              </a:ext>
            </a:extLst>
          </p:cNvPr>
          <p:cNvGrpSpPr/>
          <p:nvPr/>
        </p:nvGrpSpPr>
        <p:grpSpPr>
          <a:xfrm>
            <a:off x="66675" y="1589088"/>
            <a:ext cx="8848725" cy="5132387"/>
            <a:chOff x="66675" y="1589088"/>
            <a:chExt cx="8848725" cy="5132387"/>
          </a:xfrm>
        </p:grpSpPr>
        <p:sp>
          <p:nvSpPr>
            <p:cNvPr id="5" name="Oval 4">
              <a:extLst>
                <a:ext uri="{FF2B5EF4-FFF2-40B4-BE49-F238E27FC236}">
                  <a16:creationId xmlns:a16="http://schemas.microsoft.com/office/drawing/2014/main" id="{1CFCAD91-B0F7-4F0D-A039-4E997C3137E9}"/>
                </a:ext>
              </a:extLst>
            </p:cNvPr>
            <p:cNvSpPr/>
            <p:nvPr/>
          </p:nvSpPr>
          <p:spPr>
            <a:xfrm>
              <a:off x="2382838" y="4813300"/>
              <a:ext cx="3962400" cy="1908175"/>
            </a:xfrm>
            <a:prstGeom prst="ellipse">
              <a:avLst/>
            </a:prstGeom>
            <a:solidFill>
              <a:schemeClr val="tx2">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800" b="1" dirty="0">
                  <a:solidFill>
                    <a:prstClr val="white"/>
                  </a:solidFill>
                </a:rPr>
                <a:t>The Business Processes/Value Streams/Processes</a:t>
              </a:r>
            </a:p>
            <a:p>
              <a:pPr algn="ctr" fontAlgn="auto">
                <a:spcBef>
                  <a:spcPts val="0"/>
                </a:spcBef>
                <a:spcAft>
                  <a:spcPts val="0"/>
                </a:spcAft>
                <a:defRPr/>
              </a:pPr>
              <a:endParaRPr lang="en-US" sz="1800" dirty="0">
                <a:solidFill>
                  <a:prstClr val="white"/>
                </a:solidFill>
              </a:endParaRPr>
            </a:p>
          </p:txBody>
        </p:sp>
        <p:sp>
          <p:nvSpPr>
            <p:cNvPr id="8" name="Right Arrow 7">
              <a:extLst>
                <a:ext uri="{FF2B5EF4-FFF2-40B4-BE49-F238E27FC236}">
                  <a16:creationId xmlns:a16="http://schemas.microsoft.com/office/drawing/2014/main" id="{A31D1CF0-F471-413F-8950-7C34FED0A775}"/>
                </a:ext>
              </a:extLst>
            </p:cNvPr>
            <p:cNvSpPr/>
            <p:nvPr/>
          </p:nvSpPr>
          <p:spPr>
            <a:xfrm>
              <a:off x="1670050" y="5357813"/>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9" name="Right Arrow 8">
              <a:extLst>
                <a:ext uri="{FF2B5EF4-FFF2-40B4-BE49-F238E27FC236}">
                  <a16:creationId xmlns:a16="http://schemas.microsoft.com/office/drawing/2014/main" id="{CE26577A-1A83-459D-9D29-595E63A23AB9}"/>
                </a:ext>
              </a:extLst>
            </p:cNvPr>
            <p:cNvSpPr/>
            <p:nvPr/>
          </p:nvSpPr>
          <p:spPr>
            <a:xfrm>
              <a:off x="6019800" y="5357752"/>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Cloud 9">
              <a:extLst>
                <a:ext uri="{FF2B5EF4-FFF2-40B4-BE49-F238E27FC236}">
                  <a16:creationId xmlns:a16="http://schemas.microsoft.com/office/drawing/2014/main" id="{B248822B-B4B5-4968-BE76-F9CCBFF3EF29}"/>
                </a:ext>
              </a:extLst>
            </p:cNvPr>
            <p:cNvSpPr/>
            <p:nvPr/>
          </p:nvSpPr>
          <p:spPr>
            <a:xfrm>
              <a:off x="79375" y="4886325"/>
              <a:ext cx="1597025"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Upstream Systems and Inputs:</a:t>
              </a:r>
            </a:p>
            <a:p>
              <a:pPr algn="ctr" fontAlgn="auto">
                <a:spcBef>
                  <a:spcPts val="0"/>
                </a:spcBef>
                <a:spcAft>
                  <a:spcPts val="0"/>
                </a:spcAft>
                <a:defRPr/>
              </a:pPr>
              <a:r>
                <a:rPr lang="en-US" sz="1200" b="1" dirty="0">
                  <a:solidFill>
                    <a:prstClr val="white"/>
                  </a:solidFill>
                </a:rPr>
                <a:t>Suppliers &amp; customer orders</a:t>
              </a:r>
            </a:p>
          </p:txBody>
        </p:sp>
        <p:sp>
          <p:nvSpPr>
            <p:cNvPr id="11" name="Cloud 10">
              <a:extLst>
                <a:ext uri="{FF2B5EF4-FFF2-40B4-BE49-F238E27FC236}">
                  <a16:creationId xmlns:a16="http://schemas.microsoft.com/office/drawing/2014/main" id="{F9F73316-CB56-4185-991C-03119509D8E3}"/>
                </a:ext>
              </a:extLst>
            </p:cNvPr>
            <p:cNvSpPr/>
            <p:nvPr/>
          </p:nvSpPr>
          <p:spPr>
            <a:xfrm>
              <a:off x="7086600" y="4948238"/>
              <a:ext cx="1828800"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Downstream Systems and Outputs:</a:t>
              </a:r>
            </a:p>
            <a:p>
              <a:pPr algn="ctr" fontAlgn="auto">
                <a:spcBef>
                  <a:spcPts val="0"/>
                </a:spcBef>
                <a:spcAft>
                  <a:spcPts val="0"/>
                </a:spcAft>
                <a:defRPr/>
              </a:pPr>
              <a:r>
                <a:rPr lang="en-US" sz="1200" b="1" dirty="0">
                  <a:solidFill>
                    <a:prstClr val="white"/>
                  </a:solidFill>
                </a:rPr>
                <a:t>Orders Fulfilled</a:t>
              </a:r>
            </a:p>
          </p:txBody>
        </p:sp>
        <p:cxnSp>
          <p:nvCxnSpPr>
            <p:cNvPr id="16" name="Straight Arrow Connector 15">
              <a:extLst>
                <a:ext uri="{FF2B5EF4-FFF2-40B4-BE49-F238E27FC236}">
                  <a16:creationId xmlns:a16="http://schemas.microsoft.com/office/drawing/2014/main" id="{ECFD1F2F-4772-448A-899E-933B87CD8A36}"/>
                </a:ext>
              </a:extLst>
            </p:cNvPr>
            <p:cNvCxnSpPr/>
            <p:nvPr/>
          </p:nvCxnSpPr>
          <p:spPr>
            <a:xfrm flipV="1">
              <a:off x="6056313" y="3556000"/>
              <a:ext cx="862012" cy="1485900"/>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21" name="Oval 20">
              <a:extLst>
                <a:ext uri="{FF2B5EF4-FFF2-40B4-BE49-F238E27FC236}">
                  <a16:creationId xmlns:a16="http://schemas.microsoft.com/office/drawing/2014/main" id="{AFACE195-A7A4-4C23-896A-042A86F95A70}"/>
                </a:ext>
              </a:extLst>
            </p:cNvPr>
            <p:cNvSpPr/>
            <p:nvPr/>
          </p:nvSpPr>
          <p:spPr>
            <a:xfrm>
              <a:off x="6299200" y="1863725"/>
              <a:ext cx="2463800" cy="1639888"/>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400" b="1" dirty="0">
                  <a:solidFill>
                    <a:prstClr val="white"/>
                  </a:solidFill>
                </a:rPr>
                <a:t>Data management and Operational Analytics</a:t>
              </a:r>
            </a:p>
            <a:p>
              <a:pPr algn="ctr" fontAlgn="auto">
                <a:spcBef>
                  <a:spcPts val="0"/>
                </a:spcBef>
                <a:spcAft>
                  <a:spcPts val="0"/>
                </a:spcAft>
                <a:defRPr/>
              </a:pPr>
              <a:endParaRPr lang="en-US" sz="1800" dirty="0">
                <a:solidFill>
                  <a:prstClr val="white"/>
                </a:solidFill>
              </a:endParaRPr>
            </a:p>
          </p:txBody>
        </p:sp>
        <p:sp>
          <p:nvSpPr>
            <p:cNvPr id="23" name="Explosion 1 22">
              <a:extLst>
                <a:ext uri="{FF2B5EF4-FFF2-40B4-BE49-F238E27FC236}">
                  <a16:creationId xmlns:a16="http://schemas.microsoft.com/office/drawing/2014/main" id="{48773753-88F0-4030-85B1-0FAD47D42813}"/>
                </a:ext>
              </a:extLst>
            </p:cNvPr>
            <p:cNvSpPr/>
            <p:nvPr/>
          </p:nvSpPr>
          <p:spPr>
            <a:xfrm>
              <a:off x="6689725" y="3584575"/>
              <a:ext cx="1216025" cy="954088"/>
            </a:xfrm>
            <a:prstGeom prst="irregularSeal1">
              <a:avLst/>
            </a:prstGeom>
            <a:solidFill>
              <a:schemeClr val="bg2">
                <a:lumMod val="7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entry</a:t>
              </a:r>
            </a:p>
          </p:txBody>
        </p:sp>
        <p:sp>
          <p:nvSpPr>
            <p:cNvPr id="26" name="Bent Arrow 25">
              <a:extLst>
                <a:ext uri="{FF2B5EF4-FFF2-40B4-BE49-F238E27FC236}">
                  <a16:creationId xmlns:a16="http://schemas.microsoft.com/office/drawing/2014/main" id="{3C7B199D-F5CD-4DAC-A1DF-509104F6EB75}"/>
                </a:ext>
              </a:extLst>
            </p:cNvPr>
            <p:cNvSpPr/>
            <p:nvPr/>
          </p:nvSpPr>
          <p:spPr>
            <a:xfrm rot="3508160" flipH="1">
              <a:off x="7785101" y="3506787"/>
              <a:ext cx="557212" cy="442913"/>
            </a:xfrm>
            <a:prstGeom prst="bentArrow">
              <a:avLst>
                <a:gd name="adj1" fmla="val 18742"/>
                <a:gd name="adj2" fmla="val 26648"/>
                <a:gd name="adj3" fmla="val 37505"/>
                <a:gd name="adj4" fmla="val 38805"/>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black"/>
                </a:solidFill>
              </a:endParaRPr>
            </a:p>
          </p:txBody>
        </p:sp>
        <p:cxnSp>
          <p:nvCxnSpPr>
            <p:cNvPr id="34" name="Straight Arrow Connector 33">
              <a:extLst>
                <a:ext uri="{FF2B5EF4-FFF2-40B4-BE49-F238E27FC236}">
                  <a16:creationId xmlns:a16="http://schemas.microsoft.com/office/drawing/2014/main" id="{9DBFCDF8-7155-48EA-8DD3-1EFD4EEFE83C}"/>
                </a:ext>
              </a:extLst>
            </p:cNvPr>
            <p:cNvCxnSpPr/>
            <p:nvPr/>
          </p:nvCxnSpPr>
          <p:spPr>
            <a:xfrm flipH="1">
              <a:off x="2700338" y="2851150"/>
              <a:ext cx="3409950" cy="7938"/>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39" name="Oval 38">
              <a:extLst>
                <a:ext uri="{FF2B5EF4-FFF2-40B4-BE49-F238E27FC236}">
                  <a16:creationId xmlns:a16="http://schemas.microsoft.com/office/drawing/2014/main" id="{89B5AFD2-24B7-463A-A991-FD59943D6F40}"/>
                </a:ext>
              </a:extLst>
            </p:cNvPr>
            <p:cNvSpPr/>
            <p:nvPr/>
          </p:nvSpPr>
          <p:spPr>
            <a:xfrm>
              <a:off x="66675" y="1698625"/>
              <a:ext cx="2633663" cy="1673225"/>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200" b="1" dirty="0">
                  <a:solidFill>
                    <a:prstClr val="white"/>
                  </a:solidFill>
                </a:rPr>
                <a:t>Leadership &amp; management team</a:t>
              </a:r>
            </a:p>
            <a:p>
              <a:pPr algn="ctr" fontAlgn="auto">
                <a:spcBef>
                  <a:spcPts val="0"/>
                </a:spcBef>
                <a:spcAft>
                  <a:spcPts val="0"/>
                </a:spcAft>
                <a:defRPr/>
              </a:pPr>
              <a:endParaRPr lang="en-US" sz="1200" b="1" dirty="0">
                <a:solidFill>
                  <a:prstClr val="white"/>
                </a:solidFill>
              </a:endParaRPr>
            </a:p>
            <a:p>
              <a:pPr algn="ctr" fontAlgn="auto">
                <a:spcBef>
                  <a:spcPts val="0"/>
                </a:spcBef>
                <a:spcAft>
                  <a:spcPts val="0"/>
                </a:spcAft>
                <a:defRPr/>
              </a:pPr>
              <a:r>
                <a:rPr lang="en-US" sz="1200" dirty="0">
                  <a:solidFill>
                    <a:prstClr val="white"/>
                  </a:solidFill>
                </a:rPr>
                <a:t>(wisdom application, data/facts to information conversion process)</a:t>
              </a:r>
            </a:p>
            <a:p>
              <a:pPr algn="ctr" fontAlgn="auto">
                <a:spcBef>
                  <a:spcPts val="0"/>
                </a:spcBef>
                <a:spcAft>
                  <a:spcPts val="0"/>
                </a:spcAft>
                <a:defRPr/>
              </a:pPr>
              <a:endParaRPr lang="en-US" sz="1600" dirty="0">
                <a:solidFill>
                  <a:prstClr val="white"/>
                </a:solidFill>
              </a:endParaRPr>
            </a:p>
          </p:txBody>
        </p:sp>
        <p:cxnSp>
          <p:nvCxnSpPr>
            <p:cNvPr id="41" name="Straight Arrow Connector 40">
              <a:extLst>
                <a:ext uri="{FF2B5EF4-FFF2-40B4-BE49-F238E27FC236}">
                  <a16:creationId xmlns:a16="http://schemas.microsoft.com/office/drawing/2014/main" id="{EE7833D6-17C3-45A9-B47E-B79684DC2B8B}"/>
                </a:ext>
              </a:extLst>
            </p:cNvPr>
            <p:cNvCxnSpPr/>
            <p:nvPr/>
          </p:nvCxnSpPr>
          <p:spPr>
            <a:xfrm>
              <a:off x="1609725" y="3503613"/>
              <a:ext cx="1308100" cy="1406525"/>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25" name="Explosion 1 24">
              <a:extLst>
                <a:ext uri="{FF2B5EF4-FFF2-40B4-BE49-F238E27FC236}">
                  <a16:creationId xmlns:a16="http://schemas.microsoft.com/office/drawing/2014/main" id="{2B41229C-F5CD-4E4E-B684-7F2083F6FB50}"/>
                </a:ext>
              </a:extLst>
            </p:cNvPr>
            <p:cNvSpPr/>
            <p:nvPr/>
          </p:nvSpPr>
          <p:spPr>
            <a:xfrm>
              <a:off x="5245100" y="3913188"/>
              <a:ext cx="1174750" cy="952500"/>
            </a:xfrm>
            <a:prstGeom prst="irregularSeal1">
              <a:avLst/>
            </a:prstGeom>
            <a:solidFill>
              <a:schemeClr val="bg2">
                <a:lumMod val="75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29" name="Explosion 1 28">
              <a:extLst>
                <a:ext uri="{FF2B5EF4-FFF2-40B4-BE49-F238E27FC236}">
                  <a16:creationId xmlns:a16="http://schemas.microsoft.com/office/drawing/2014/main" id="{4DDD79A7-7543-4ECD-A368-E9ACD507C43E}"/>
                </a:ext>
              </a:extLst>
            </p:cNvPr>
            <p:cNvSpPr/>
            <p:nvPr/>
          </p:nvSpPr>
          <p:spPr>
            <a:xfrm>
              <a:off x="4608513" y="1778000"/>
              <a:ext cx="1712912" cy="1103313"/>
            </a:xfrm>
            <a:prstGeom prst="irregularSeal1">
              <a:avLst/>
            </a:prstGeom>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ortrayal</a:t>
              </a:r>
            </a:p>
          </p:txBody>
        </p:sp>
        <p:sp>
          <p:nvSpPr>
            <p:cNvPr id="30" name="Explosion 1 29">
              <a:extLst>
                <a:ext uri="{FF2B5EF4-FFF2-40B4-BE49-F238E27FC236}">
                  <a16:creationId xmlns:a16="http://schemas.microsoft.com/office/drawing/2014/main" id="{BFCB82B5-6012-401F-8659-BCA91AB63664}"/>
                </a:ext>
              </a:extLst>
            </p:cNvPr>
            <p:cNvSpPr/>
            <p:nvPr/>
          </p:nvSpPr>
          <p:spPr>
            <a:xfrm>
              <a:off x="2736850" y="1589088"/>
              <a:ext cx="1911350" cy="1398587"/>
            </a:xfrm>
            <a:prstGeom prst="irregularSeal1">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erception/ understanding/ insights</a:t>
              </a:r>
            </a:p>
          </p:txBody>
        </p:sp>
        <p:sp>
          <p:nvSpPr>
            <p:cNvPr id="31" name="Explosion 1 30">
              <a:extLst>
                <a:ext uri="{FF2B5EF4-FFF2-40B4-BE49-F238E27FC236}">
                  <a16:creationId xmlns:a16="http://schemas.microsoft.com/office/drawing/2014/main" id="{9A8B9EA3-F8E1-4010-BDD7-B509149F0D8B}"/>
                </a:ext>
              </a:extLst>
            </p:cNvPr>
            <p:cNvSpPr/>
            <p:nvPr/>
          </p:nvSpPr>
          <p:spPr>
            <a:xfrm>
              <a:off x="501650" y="3449638"/>
              <a:ext cx="1325563" cy="949325"/>
            </a:xfrm>
            <a:prstGeom prst="irregularSeal1">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080000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Decisions</a:t>
              </a:r>
            </a:p>
          </p:txBody>
        </p:sp>
        <p:sp>
          <p:nvSpPr>
            <p:cNvPr id="32" name="Explosion 1 31">
              <a:extLst>
                <a:ext uri="{FF2B5EF4-FFF2-40B4-BE49-F238E27FC236}">
                  <a16:creationId xmlns:a16="http://schemas.microsoft.com/office/drawing/2014/main" id="{96CC856B-486B-4F24-8F23-CA9FC6162F9C}"/>
                </a:ext>
              </a:extLst>
            </p:cNvPr>
            <p:cNvSpPr/>
            <p:nvPr/>
          </p:nvSpPr>
          <p:spPr>
            <a:xfrm>
              <a:off x="2165350" y="3589338"/>
              <a:ext cx="1325563" cy="947737"/>
            </a:xfrm>
            <a:prstGeom prst="irregularSeal1">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Actions</a:t>
              </a:r>
            </a:p>
          </p:txBody>
        </p:sp>
        <p:pic>
          <p:nvPicPr>
            <p:cNvPr id="68633" name="Picture 27" descr="Image result for value stream map simple images">
              <a:extLst>
                <a:ext uri="{FF2B5EF4-FFF2-40B4-BE49-F238E27FC236}">
                  <a16:creationId xmlns:a16="http://schemas.microsoft.com/office/drawing/2014/main" id="{1031AA4C-A6FD-4C7C-A144-B6C83431A0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321" t="14018" r="6564" b="7230"/>
            <a:stretch>
              <a:fillRect/>
            </a:stretch>
          </p:blipFill>
          <p:spPr bwMode="auto">
            <a:xfrm>
              <a:off x="2827338" y="6062663"/>
              <a:ext cx="3005137"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70960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A8C38-C040-8FE3-E9D8-AD4A977C834F}"/>
              </a:ext>
            </a:extLst>
          </p:cNvPr>
          <p:cNvSpPr>
            <a:spLocks noGrp="1"/>
          </p:cNvSpPr>
          <p:nvPr>
            <p:ph type="title"/>
          </p:nvPr>
        </p:nvSpPr>
        <p:spPr>
          <a:xfrm>
            <a:off x="381000" y="106597"/>
            <a:ext cx="7886700" cy="1325563"/>
          </a:xfrm>
        </p:spPr>
        <p:txBody>
          <a:bodyPr/>
          <a:lstStyle/>
          <a:p>
            <a:r>
              <a:rPr lang="en-US" dirty="0"/>
              <a:t>Agenda</a:t>
            </a:r>
          </a:p>
        </p:txBody>
      </p:sp>
      <p:sp>
        <p:nvSpPr>
          <p:cNvPr id="3" name="Content Placeholder 2">
            <a:extLst>
              <a:ext uri="{FF2B5EF4-FFF2-40B4-BE49-F238E27FC236}">
                <a16:creationId xmlns:a16="http://schemas.microsoft.com/office/drawing/2014/main" id="{A5A8E09D-F143-AC8C-4127-0ABEDD96C64B}"/>
              </a:ext>
            </a:extLst>
          </p:cNvPr>
          <p:cNvSpPr>
            <a:spLocks noGrp="1"/>
          </p:cNvSpPr>
          <p:nvPr>
            <p:ph idx="1"/>
          </p:nvPr>
        </p:nvSpPr>
        <p:spPr>
          <a:xfrm>
            <a:off x="1143000" y="1219200"/>
            <a:ext cx="6553200" cy="4999038"/>
          </a:xfrm>
        </p:spPr>
        <p:txBody>
          <a:bodyPr>
            <a:normAutofit lnSpcReduction="10000"/>
          </a:bodyPr>
          <a:lstStyle/>
          <a:p>
            <a:pPr marL="0" indent="0">
              <a:lnSpc>
                <a:spcPct val="120000"/>
              </a:lnSpc>
              <a:buNone/>
            </a:pPr>
            <a:endParaRPr lang="en-US" sz="2000" dirty="0"/>
          </a:p>
          <a:p>
            <a:pPr marL="0" indent="0">
              <a:lnSpc>
                <a:spcPct val="120000"/>
              </a:lnSpc>
              <a:buNone/>
            </a:pPr>
            <a:r>
              <a:rPr lang="en-US" sz="2000" dirty="0"/>
              <a:t>11:30-11:40	Scott to ‘tee-up’ the session, go back 		to go forward just a bit</a:t>
            </a:r>
          </a:p>
          <a:p>
            <a:pPr marL="0" indent="0">
              <a:lnSpc>
                <a:spcPct val="120000"/>
              </a:lnSpc>
              <a:buNone/>
            </a:pPr>
            <a:endParaRPr lang="en-US" sz="2000" dirty="0"/>
          </a:p>
          <a:p>
            <a:pPr marL="0" indent="0">
              <a:lnSpc>
                <a:spcPct val="120000"/>
              </a:lnSpc>
              <a:buNone/>
            </a:pPr>
            <a:r>
              <a:rPr lang="en-US" sz="2000" dirty="0"/>
              <a:t>11:40-12:15	Detailed Design &amp; Development of “B” 		Systems</a:t>
            </a:r>
          </a:p>
          <a:p>
            <a:pPr marL="0" indent="0">
              <a:lnSpc>
                <a:spcPct val="120000"/>
              </a:lnSpc>
              <a:buNone/>
            </a:pPr>
            <a:r>
              <a:rPr lang="en-US" sz="2000" dirty="0"/>
              <a:t>			how to accelerate systematic 			improvement</a:t>
            </a:r>
          </a:p>
          <a:p>
            <a:pPr marL="0" indent="0">
              <a:lnSpc>
                <a:spcPct val="120000"/>
              </a:lnSpc>
              <a:buNone/>
            </a:pPr>
            <a:endParaRPr lang="en-US" sz="2000" dirty="0"/>
          </a:p>
          <a:p>
            <a:pPr marL="0" indent="0">
              <a:lnSpc>
                <a:spcPct val="120000"/>
              </a:lnSpc>
              <a:buNone/>
            </a:pPr>
            <a:r>
              <a:rPr lang="en-US" sz="2000" dirty="0"/>
              <a:t>12:25-12:30	Scott close out and overview OA 501 		and also our upcoming Mini-Series on 		AI</a:t>
            </a:r>
          </a:p>
          <a:p>
            <a:pPr marL="0" indent="0">
              <a:lnSpc>
                <a:spcPct val="120000"/>
              </a:lnSpc>
              <a:buNone/>
            </a:pPr>
            <a:endParaRPr lang="en-US" sz="2000" dirty="0"/>
          </a:p>
        </p:txBody>
      </p:sp>
      <p:sp>
        <p:nvSpPr>
          <p:cNvPr id="4" name="Slide Number Placeholder 3">
            <a:extLst>
              <a:ext uri="{FF2B5EF4-FFF2-40B4-BE49-F238E27FC236}">
                <a16:creationId xmlns:a16="http://schemas.microsoft.com/office/drawing/2014/main" id="{0D32801B-4953-AD99-0B28-C5AEEE8B4903}"/>
              </a:ext>
            </a:extLst>
          </p:cNvPr>
          <p:cNvSpPr>
            <a:spLocks noGrp="1"/>
          </p:cNvSpPr>
          <p:nvPr>
            <p:ph type="sldNum" sz="quarter" idx="12"/>
          </p:nvPr>
        </p:nvSpPr>
        <p:spPr/>
        <p:txBody>
          <a:bodyPr/>
          <a:lstStyle/>
          <a:p>
            <a:fld id="{602F7A02-EF0D-4D82-9BFD-3DDF074AABBD}" type="slidenum">
              <a:rPr lang="en-CA" smtClean="0"/>
              <a:t>3</a:t>
            </a:fld>
            <a:endParaRPr lang="en-CA" dirty="0"/>
          </a:p>
        </p:txBody>
      </p:sp>
    </p:spTree>
    <p:extLst>
      <p:ext uri="{BB962C8B-B14F-4D97-AF65-F5344CB8AC3E}">
        <p14:creationId xmlns:p14="http://schemas.microsoft.com/office/powerpoint/2010/main" val="39396401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0" y="974345"/>
            <a:ext cx="3886200" cy="3134965"/>
          </a:xfrm>
          <a:prstGeom prst="rect">
            <a:avLst/>
          </a:prstGeom>
          <a:noFill/>
          <a:ln w="9525">
            <a:noFill/>
            <a:miter lim="800000"/>
            <a:headEnd/>
            <a:tailEnd/>
          </a:ln>
        </p:spPr>
      </p:pic>
      <p:sp>
        <p:nvSpPr>
          <p:cNvPr id="2050" name="AutoShape 2"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sp>
        <p:nvSpPr>
          <p:cNvPr id="2052" name="AutoShape 4"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cxnSp>
        <p:nvCxnSpPr>
          <p:cNvPr id="9" name="Straight Connector 8"/>
          <p:cNvCxnSpPr/>
          <p:nvPr/>
        </p:nvCxnSpPr>
        <p:spPr>
          <a:xfrm>
            <a:off x="571939" y="2726308"/>
            <a:ext cx="28956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587000" y="2459608"/>
            <a:ext cx="0" cy="533400"/>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77801" y="0"/>
            <a:ext cx="8824390" cy="685800"/>
          </a:xfrm>
        </p:spPr>
        <p:txBody>
          <a:bodyPr>
            <a:noAutofit/>
          </a:bodyPr>
          <a:lstStyle/>
          <a:p>
            <a:r>
              <a:rPr lang="en-US" sz="2400" dirty="0"/>
              <a:t>How to Build Better ‘Dials’ on your ‘Dashboards’ and ‘Scorecards </a:t>
            </a:r>
          </a:p>
        </p:txBody>
      </p:sp>
      <p:grpSp>
        <p:nvGrpSpPr>
          <p:cNvPr id="17" name="Group 16">
            <a:extLst>
              <a:ext uri="{FF2B5EF4-FFF2-40B4-BE49-F238E27FC236}">
                <a16:creationId xmlns:a16="http://schemas.microsoft.com/office/drawing/2014/main" id="{F135599B-8CA4-05B6-DCC9-75B2E678ED12}"/>
              </a:ext>
            </a:extLst>
          </p:cNvPr>
          <p:cNvGrpSpPr/>
          <p:nvPr/>
        </p:nvGrpSpPr>
        <p:grpSpPr>
          <a:xfrm>
            <a:off x="1219200" y="4521807"/>
            <a:ext cx="3581400" cy="2145531"/>
            <a:chOff x="67567" y="1296017"/>
            <a:chExt cx="4815466" cy="2830714"/>
          </a:xfrm>
        </p:grpSpPr>
        <p:pic>
          <p:nvPicPr>
            <p:cNvPr id="18" name="Picture 2" descr="http://community.qlikview.com/servlet/JiveServlet/showImage/38-2354-7987/Analysis%2BLatency.PNG">
              <a:extLst>
                <a:ext uri="{FF2B5EF4-FFF2-40B4-BE49-F238E27FC236}">
                  <a16:creationId xmlns:a16="http://schemas.microsoft.com/office/drawing/2014/main" id="{789ABE91-0EC2-E03A-2651-BBA1CA1187B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567" y="1296017"/>
              <a:ext cx="4815466" cy="2830714"/>
            </a:xfrm>
            <a:prstGeom prst="rect">
              <a:avLst/>
            </a:prstGeom>
            <a:noFill/>
          </p:spPr>
        </p:pic>
        <p:grpSp>
          <p:nvGrpSpPr>
            <p:cNvPr id="19" name="Group 18">
              <a:extLst>
                <a:ext uri="{FF2B5EF4-FFF2-40B4-BE49-F238E27FC236}">
                  <a16:creationId xmlns:a16="http://schemas.microsoft.com/office/drawing/2014/main" id="{DD21097F-1E69-CA9B-5EE0-D5F429D3AF71}"/>
                </a:ext>
              </a:extLst>
            </p:cNvPr>
            <p:cNvGrpSpPr/>
            <p:nvPr/>
          </p:nvGrpSpPr>
          <p:grpSpPr>
            <a:xfrm>
              <a:off x="2688749" y="3910035"/>
              <a:ext cx="660433" cy="95338"/>
              <a:chOff x="4822825" y="4360865"/>
              <a:chExt cx="745331" cy="100162"/>
            </a:xfrm>
          </p:grpSpPr>
          <p:cxnSp>
            <p:nvCxnSpPr>
              <p:cNvPr id="30" name="Straight Arrow Connector 29">
                <a:extLst>
                  <a:ext uri="{FF2B5EF4-FFF2-40B4-BE49-F238E27FC236}">
                    <a16:creationId xmlns:a16="http://schemas.microsoft.com/office/drawing/2014/main" id="{B13CBF9A-BA07-6A2A-008E-BBBC18067EDF}"/>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97E3C56-60D8-4A4B-82FC-AE002D790D41}"/>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C27C6C9-C29C-3554-E583-3F9A77E891B9}"/>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CE38885-CC38-C315-77DA-C7C4C311F050}"/>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C03F83CB-7CB8-FE40-CA89-B1FC9F01044D}"/>
                </a:ext>
              </a:extLst>
            </p:cNvPr>
            <p:cNvGrpSpPr/>
            <p:nvPr/>
          </p:nvGrpSpPr>
          <p:grpSpPr>
            <a:xfrm>
              <a:off x="1676400" y="2785436"/>
              <a:ext cx="660433" cy="95338"/>
              <a:chOff x="4822825" y="4360865"/>
              <a:chExt cx="745331" cy="100162"/>
            </a:xfrm>
          </p:grpSpPr>
          <p:cxnSp>
            <p:nvCxnSpPr>
              <p:cNvPr id="26" name="Straight Arrow Connector 25">
                <a:extLst>
                  <a:ext uri="{FF2B5EF4-FFF2-40B4-BE49-F238E27FC236}">
                    <a16:creationId xmlns:a16="http://schemas.microsoft.com/office/drawing/2014/main" id="{DC2CD05C-6ABA-DC6D-AC36-4A60C2A4B2F7}"/>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873166A-1185-C41F-A125-8A90F37C4C4D}"/>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1FE2E82-2D60-5119-4970-39CE1CDB514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DE354C-2CBB-2257-29F2-8EEE25C5EE5F}"/>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62DDCD3C-5CFA-B01F-220B-0BAC7FC33504}"/>
                </a:ext>
              </a:extLst>
            </p:cNvPr>
            <p:cNvGrpSpPr/>
            <p:nvPr/>
          </p:nvGrpSpPr>
          <p:grpSpPr>
            <a:xfrm>
              <a:off x="742812" y="3344985"/>
              <a:ext cx="660433" cy="95338"/>
              <a:chOff x="4822825" y="4360865"/>
              <a:chExt cx="745331" cy="100162"/>
            </a:xfrm>
          </p:grpSpPr>
          <p:cxnSp>
            <p:nvCxnSpPr>
              <p:cNvPr id="22" name="Straight Arrow Connector 21">
                <a:extLst>
                  <a:ext uri="{FF2B5EF4-FFF2-40B4-BE49-F238E27FC236}">
                    <a16:creationId xmlns:a16="http://schemas.microsoft.com/office/drawing/2014/main" id="{EDCB4537-D4B4-BEC5-BC69-6C4FD34E7A97}"/>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EFAEBCA-9388-E141-A653-974D3BB68576}"/>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187AA1-9FF1-9635-58B3-B59D81EB0A0F}"/>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527606-D920-CFAC-DE36-377348355CEF}"/>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12" name="Content Placeholder 11"/>
          <p:cNvSpPr>
            <a:spLocks noGrp="1"/>
          </p:cNvSpPr>
          <p:nvPr>
            <p:ph sz="half" idx="2"/>
          </p:nvPr>
        </p:nvSpPr>
        <p:spPr>
          <a:xfrm>
            <a:off x="3962402" y="724537"/>
            <a:ext cx="5039789" cy="4457063"/>
          </a:xfrm>
          <a:ln>
            <a:solidFill>
              <a:schemeClr val="bg1">
                <a:lumMod val="50000"/>
              </a:schemeClr>
            </a:solidFill>
          </a:ln>
        </p:spPr>
        <p:txBody>
          <a:bodyPr>
            <a:normAutofit lnSpcReduction="10000"/>
          </a:bodyPr>
          <a:lstStyle/>
          <a:p>
            <a:pPr marL="457200" lvl="1" indent="0">
              <a:spcBef>
                <a:spcPts val="600"/>
              </a:spcBef>
              <a:buNone/>
            </a:pPr>
            <a:r>
              <a:rPr lang="en-US" sz="1800" dirty="0"/>
              <a:t>Key Points to Consider:</a:t>
            </a:r>
          </a:p>
          <a:p>
            <a:pPr lvl="1">
              <a:spcBef>
                <a:spcPts val="600"/>
              </a:spcBef>
            </a:pPr>
            <a:r>
              <a:rPr lang="en-US" sz="1400" dirty="0"/>
              <a:t>Good analytics come from good context understanding, use case clarity, </a:t>
            </a:r>
            <a:r>
              <a:rPr lang="en-US" sz="1400" i="1" u="sng" dirty="0"/>
              <a:t>good problem/opportunity statements</a:t>
            </a:r>
            <a:r>
              <a:rPr lang="en-US" sz="1400" dirty="0"/>
              <a:t>, clear understanding of DONE, they specify ‘the questions’</a:t>
            </a:r>
          </a:p>
          <a:p>
            <a:pPr lvl="1">
              <a:spcBef>
                <a:spcPts val="600"/>
              </a:spcBef>
            </a:pPr>
            <a:r>
              <a:rPr lang="en-US" sz="1400" dirty="0"/>
              <a:t>Investment in the data foundation has a positive ROI, as analysts and users move faster when they trust the data – results in faster results</a:t>
            </a:r>
          </a:p>
          <a:p>
            <a:pPr lvl="1">
              <a:spcBef>
                <a:spcPts val="600"/>
              </a:spcBef>
            </a:pPr>
            <a:r>
              <a:rPr lang="en-US" sz="1400" dirty="0"/>
              <a:t>Good data visualizations can tell the right story quickly, because people are predisposed to believe what they see in a chart …</a:t>
            </a:r>
          </a:p>
          <a:p>
            <a:pPr lvl="1">
              <a:spcBef>
                <a:spcPts val="600"/>
              </a:spcBef>
            </a:pPr>
            <a:r>
              <a:rPr lang="en-US" sz="1400" dirty="0"/>
              <a:t>Good Operational Analytics </a:t>
            </a:r>
            <a:r>
              <a:rPr lang="en-US" sz="1400" i="1" u="sng" dirty="0"/>
              <a:t>provokes more timely decisions and actions</a:t>
            </a:r>
            <a:r>
              <a:rPr lang="en-US" sz="1400" dirty="0"/>
              <a:t> – indeed, in most organizational systems, simple and persuasive/influential beats complex/ambiguous every time </a:t>
            </a:r>
          </a:p>
          <a:p>
            <a:pPr lvl="1">
              <a:spcBef>
                <a:spcPts val="600"/>
              </a:spcBef>
            </a:pPr>
            <a:r>
              <a:rPr lang="en-US" sz="1400" dirty="0"/>
              <a:t>Good Operational Analytics </a:t>
            </a:r>
            <a:r>
              <a:rPr lang="en-US" sz="1400" i="1" u="sng" dirty="0"/>
              <a:t>provokes more timely decisions and actions</a:t>
            </a:r>
            <a:r>
              <a:rPr lang="en-US" sz="1400" dirty="0"/>
              <a:t> – indeed, in most organizational systems, simple and persuasive/influential beats complex/ambiguous every time </a:t>
            </a:r>
          </a:p>
          <a:p>
            <a:pPr marL="457200" lvl="1" indent="0">
              <a:spcBef>
                <a:spcPts val="600"/>
              </a:spcBef>
              <a:buNone/>
            </a:pPr>
            <a:endParaRPr lang="en-US" sz="1400" dirty="0"/>
          </a:p>
        </p:txBody>
      </p:sp>
      <p:sp>
        <p:nvSpPr>
          <p:cNvPr id="34" name="Rectangle 33">
            <a:extLst>
              <a:ext uri="{FF2B5EF4-FFF2-40B4-BE49-F238E27FC236}">
                <a16:creationId xmlns:a16="http://schemas.microsoft.com/office/drawing/2014/main" id="{0D41584B-0448-D4DF-29ED-C1225E1C0862}"/>
              </a:ext>
            </a:extLst>
          </p:cNvPr>
          <p:cNvSpPr/>
          <p:nvPr/>
        </p:nvSpPr>
        <p:spPr>
          <a:xfrm>
            <a:off x="4495800" y="5334000"/>
            <a:ext cx="4114799" cy="124124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t>TPG can help your organization speed things up and achieve Better Benefits Faster.  Contact us.</a:t>
            </a:r>
          </a:p>
        </p:txBody>
      </p:sp>
    </p:spTree>
    <p:extLst>
      <p:ext uri="{BB962C8B-B14F-4D97-AF65-F5344CB8AC3E}">
        <p14:creationId xmlns:p14="http://schemas.microsoft.com/office/powerpoint/2010/main" val="4777181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2">
            <a:extLst>
              <a:ext uri="{FF2B5EF4-FFF2-40B4-BE49-F238E27FC236}">
                <a16:creationId xmlns:a16="http://schemas.microsoft.com/office/drawing/2014/main" id="{7BBB52B6-A5CD-4B66-A0ED-603F4F740765}"/>
              </a:ext>
            </a:extLst>
          </p:cNvPr>
          <p:cNvPicPr>
            <a:picLocks noChangeAspect="1" noChangeArrowheads="1"/>
          </p:cNvPicPr>
          <p:nvPr/>
        </p:nvPicPr>
        <p:blipFill rotWithShape="1">
          <a:blip r:embed="rId3" cstate="print"/>
          <a:srcRect r="7225"/>
          <a:stretch/>
        </p:blipFill>
        <p:spPr bwMode="auto">
          <a:xfrm rot="18329652">
            <a:off x="2412500" y="1215518"/>
            <a:ext cx="5028524" cy="4201539"/>
          </a:xfrm>
          <a:prstGeom prst="rect">
            <a:avLst/>
          </a:prstGeom>
          <a:noFill/>
          <a:ln w="9525">
            <a:noFill/>
            <a:miter lim="800000"/>
            <a:headEnd/>
            <a:tailEnd/>
          </a:ln>
        </p:spPr>
      </p:pic>
      <p:sp>
        <p:nvSpPr>
          <p:cNvPr id="68610" name="Title 1">
            <a:extLst>
              <a:ext uri="{FF2B5EF4-FFF2-40B4-BE49-F238E27FC236}">
                <a16:creationId xmlns:a16="http://schemas.microsoft.com/office/drawing/2014/main" id="{E590AAF4-5EC4-4395-B45C-55DFFA5E7CAD}"/>
              </a:ext>
            </a:extLst>
          </p:cNvPr>
          <p:cNvSpPr>
            <a:spLocks noGrp="1"/>
          </p:cNvSpPr>
          <p:nvPr>
            <p:ph type="title"/>
          </p:nvPr>
        </p:nvSpPr>
        <p:spPr>
          <a:xfrm>
            <a:off x="457200" y="123825"/>
            <a:ext cx="7940675" cy="1095375"/>
          </a:xfrm>
        </p:spPr>
        <p:txBody>
          <a:bodyPr/>
          <a:lstStyle/>
          <a:p>
            <a:pPr eaLnBrk="1" hangingPunct="1"/>
            <a:r>
              <a:rPr lang="en-US" altLang="en-US" sz="2400" dirty="0"/>
              <a:t>Rounding the Corner on the Model is a Critical to Success Skillset for the Analyst</a:t>
            </a:r>
          </a:p>
        </p:txBody>
      </p:sp>
      <p:sp>
        <p:nvSpPr>
          <p:cNvPr id="5" name="Oval 4">
            <a:extLst>
              <a:ext uri="{FF2B5EF4-FFF2-40B4-BE49-F238E27FC236}">
                <a16:creationId xmlns:a16="http://schemas.microsoft.com/office/drawing/2014/main" id="{1CFCAD91-B0F7-4F0D-A039-4E997C3137E9}"/>
              </a:ext>
            </a:extLst>
          </p:cNvPr>
          <p:cNvSpPr/>
          <p:nvPr/>
        </p:nvSpPr>
        <p:spPr>
          <a:xfrm>
            <a:off x="2382838" y="4813300"/>
            <a:ext cx="3962400" cy="1908175"/>
          </a:xfrm>
          <a:prstGeom prst="ellipse">
            <a:avLst/>
          </a:prstGeom>
          <a:solidFill>
            <a:schemeClr val="tx2">
              <a:lumMod val="7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800" b="1" dirty="0">
                <a:solidFill>
                  <a:prstClr val="white"/>
                </a:solidFill>
              </a:rPr>
              <a:t>The Business Processes/Value Streams</a:t>
            </a:r>
          </a:p>
          <a:p>
            <a:pPr algn="ctr" fontAlgn="auto">
              <a:spcBef>
                <a:spcPts val="0"/>
              </a:spcBef>
              <a:spcAft>
                <a:spcPts val="0"/>
              </a:spcAft>
              <a:defRPr/>
            </a:pPr>
            <a:endParaRPr lang="en-US" sz="1800" dirty="0">
              <a:solidFill>
                <a:prstClr val="white"/>
              </a:solidFill>
            </a:endParaRPr>
          </a:p>
        </p:txBody>
      </p:sp>
      <p:sp>
        <p:nvSpPr>
          <p:cNvPr id="8" name="Right Arrow 7">
            <a:extLst>
              <a:ext uri="{FF2B5EF4-FFF2-40B4-BE49-F238E27FC236}">
                <a16:creationId xmlns:a16="http://schemas.microsoft.com/office/drawing/2014/main" id="{A31D1CF0-F471-413F-8950-7C34FED0A775}"/>
              </a:ext>
            </a:extLst>
          </p:cNvPr>
          <p:cNvSpPr/>
          <p:nvPr/>
        </p:nvSpPr>
        <p:spPr>
          <a:xfrm>
            <a:off x="1670050" y="5357813"/>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9" name="Right Arrow 8">
            <a:extLst>
              <a:ext uri="{FF2B5EF4-FFF2-40B4-BE49-F238E27FC236}">
                <a16:creationId xmlns:a16="http://schemas.microsoft.com/office/drawing/2014/main" id="{CE26577A-1A83-459D-9D29-595E63A23AB9}"/>
              </a:ext>
            </a:extLst>
          </p:cNvPr>
          <p:cNvSpPr/>
          <p:nvPr/>
        </p:nvSpPr>
        <p:spPr>
          <a:xfrm>
            <a:off x="6019800" y="5357752"/>
            <a:ext cx="1066800" cy="685800"/>
          </a:xfrm>
          <a:prstGeom prst="rightArrow">
            <a:avLst/>
          </a:prstGeom>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Cloud 9">
            <a:extLst>
              <a:ext uri="{FF2B5EF4-FFF2-40B4-BE49-F238E27FC236}">
                <a16:creationId xmlns:a16="http://schemas.microsoft.com/office/drawing/2014/main" id="{B248822B-B4B5-4968-BE76-F9CCBFF3EF29}"/>
              </a:ext>
            </a:extLst>
          </p:cNvPr>
          <p:cNvSpPr/>
          <p:nvPr/>
        </p:nvSpPr>
        <p:spPr>
          <a:xfrm>
            <a:off x="79375" y="4886325"/>
            <a:ext cx="1597025"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Upstream Systems and Inputs:</a:t>
            </a:r>
          </a:p>
          <a:p>
            <a:pPr algn="ctr" fontAlgn="auto">
              <a:spcBef>
                <a:spcPts val="0"/>
              </a:spcBef>
              <a:spcAft>
                <a:spcPts val="0"/>
              </a:spcAft>
              <a:defRPr/>
            </a:pPr>
            <a:r>
              <a:rPr lang="en-US" sz="1200" b="1" dirty="0">
                <a:solidFill>
                  <a:prstClr val="white"/>
                </a:solidFill>
              </a:rPr>
              <a:t>Suppliers &amp; customer orders</a:t>
            </a:r>
          </a:p>
        </p:txBody>
      </p:sp>
      <p:sp>
        <p:nvSpPr>
          <p:cNvPr id="11" name="Cloud 10">
            <a:extLst>
              <a:ext uri="{FF2B5EF4-FFF2-40B4-BE49-F238E27FC236}">
                <a16:creationId xmlns:a16="http://schemas.microsoft.com/office/drawing/2014/main" id="{F9F73316-CB56-4185-991C-03119509D8E3}"/>
              </a:ext>
            </a:extLst>
          </p:cNvPr>
          <p:cNvSpPr/>
          <p:nvPr/>
        </p:nvSpPr>
        <p:spPr>
          <a:xfrm>
            <a:off x="7086600" y="4948238"/>
            <a:ext cx="1828800" cy="1504950"/>
          </a:xfrm>
          <a:prstGeom prst="cloud">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prstClr val="white"/>
                </a:solidFill>
              </a:rPr>
              <a:t>Downstream Systems and Outputs:</a:t>
            </a:r>
          </a:p>
          <a:p>
            <a:pPr algn="ctr" fontAlgn="auto">
              <a:spcBef>
                <a:spcPts val="0"/>
              </a:spcBef>
              <a:spcAft>
                <a:spcPts val="0"/>
              </a:spcAft>
              <a:defRPr/>
            </a:pPr>
            <a:r>
              <a:rPr lang="en-US" sz="1200" b="1" dirty="0">
                <a:solidFill>
                  <a:prstClr val="white"/>
                </a:solidFill>
              </a:rPr>
              <a:t>Orders Fulfilled</a:t>
            </a:r>
          </a:p>
        </p:txBody>
      </p:sp>
      <p:cxnSp>
        <p:nvCxnSpPr>
          <p:cNvPr id="16" name="Straight Arrow Connector 15">
            <a:extLst>
              <a:ext uri="{FF2B5EF4-FFF2-40B4-BE49-F238E27FC236}">
                <a16:creationId xmlns:a16="http://schemas.microsoft.com/office/drawing/2014/main" id="{ECFD1F2F-4772-448A-899E-933B87CD8A36}"/>
              </a:ext>
            </a:extLst>
          </p:cNvPr>
          <p:cNvCxnSpPr/>
          <p:nvPr/>
        </p:nvCxnSpPr>
        <p:spPr>
          <a:xfrm flipV="1">
            <a:off x="6056313" y="3556000"/>
            <a:ext cx="862012" cy="1485900"/>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21" name="Oval 20">
            <a:extLst>
              <a:ext uri="{FF2B5EF4-FFF2-40B4-BE49-F238E27FC236}">
                <a16:creationId xmlns:a16="http://schemas.microsoft.com/office/drawing/2014/main" id="{AFACE195-A7A4-4C23-896A-042A86F95A70}"/>
              </a:ext>
            </a:extLst>
          </p:cNvPr>
          <p:cNvSpPr/>
          <p:nvPr/>
        </p:nvSpPr>
        <p:spPr>
          <a:xfrm>
            <a:off x="6299200" y="1863725"/>
            <a:ext cx="2463800" cy="1639888"/>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400" b="1" dirty="0">
                <a:solidFill>
                  <a:prstClr val="white"/>
                </a:solidFill>
              </a:rPr>
              <a:t>Data management and Operational Analytics</a:t>
            </a:r>
          </a:p>
          <a:p>
            <a:pPr algn="ctr" fontAlgn="auto">
              <a:spcBef>
                <a:spcPts val="0"/>
              </a:spcBef>
              <a:spcAft>
                <a:spcPts val="0"/>
              </a:spcAft>
              <a:defRPr/>
            </a:pPr>
            <a:endParaRPr lang="en-US" sz="1800" dirty="0">
              <a:solidFill>
                <a:prstClr val="white"/>
              </a:solidFill>
            </a:endParaRPr>
          </a:p>
        </p:txBody>
      </p:sp>
      <p:sp>
        <p:nvSpPr>
          <p:cNvPr id="23" name="Explosion 1 22">
            <a:extLst>
              <a:ext uri="{FF2B5EF4-FFF2-40B4-BE49-F238E27FC236}">
                <a16:creationId xmlns:a16="http://schemas.microsoft.com/office/drawing/2014/main" id="{48773753-88F0-4030-85B1-0FAD47D42813}"/>
              </a:ext>
            </a:extLst>
          </p:cNvPr>
          <p:cNvSpPr/>
          <p:nvPr/>
        </p:nvSpPr>
        <p:spPr>
          <a:xfrm>
            <a:off x="7040335" y="3521808"/>
            <a:ext cx="1216025" cy="954088"/>
          </a:xfrm>
          <a:prstGeom prst="irregularSeal1">
            <a:avLst/>
          </a:prstGeom>
          <a:gradFill flip="none" rotWithShape="1">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0" scaled="1"/>
            <a:tileRect/>
          </a:gra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entry</a:t>
            </a:r>
          </a:p>
        </p:txBody>
      </p:sp>
      <p:sp>
        <p:nvSpPr>
          <p:cNvPr id="26" name="Bent Arrow 25">
            <a:extLst>
              <a:ext uri="{FF2B5EF4-FFF2-40B4-BE49-F238E27FC236}">
                <a16:creationId xmlns:a16="http://schemas.microsoft.com/office/drawing/2014/main" id="{3C7B199D-F5CD-4DAC-A1DF-509104F6EB75}"/>
              </a:ext>
            </a:extLst>
          </p:cNvPr>
          <p:cNvSpPr/>
          <p:nvPr/>
        </p:nvSpPr>
        <p:spPr>
          <a:xfrm rot="3508160" flipH="1">
            <a:off x="7850593" y="3462272"/>
            <a:ext cx="557212" cy="442913"/>
          </a:xfrm>
          <a:prstGeom prst="bentArrow">
            <a:avLst>
              <a:gd name="adj1" fmla="val 18742"/>
              <a:gd name="adj2" fmla="val 26648"/>
              <a:gd name="adj3" fmla="val 37505"/>
              <a:gd name="adj4" fmla="val 38805"/>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black"/>
              </a:solidFill>
            </a:endParaRPr>
          </a:p>
        </p:txBody>
      </p:sp>
      <p:sp>
        <p:nvSpPr>
          <p:cNvPr id="27" name="Explosion 1 26">
            <a:extLst>
              <a:ext uri="{FF2B5EF4-FFF2-40B4-BE49-F238E27FC236}">
                <a16:creationId xmlns:a16="http://schemas.microsoft.com/office/drawing/2014/main" id="{2FF7A2AB-60D0-4ADF-A924-E524B3115835}"/>
              </a:ext>
            </a:extLst>
          </p:cNvPr>
          <p:cNvSpPr/>
          <p:nvPr/>
        </p:nvSpPr>
        <p:spPr>
          <a:xfrm>
            <a:off x="6492875" y="2698750"/>
            <a:ext cx="1917700" cy="989013"/>
          </a:xfrm>
          <a:prstGeom prst="irregularSeal1">
            <a:avLst/>
          </a:prstGeom>
          <a:gradFill flip="none" rotWithShape="1">
            <a:gsLst>
              <a:gs pos="0">
                <a:schemeClr val="accent2">
                  <a:lumMod val="20000"/>
                  <a:lumOff val="80000"/>
                  <a:shade val="30000"/>
                  <a:satMod val="115000"/>
                </a:schemeClr>
              </a:gs>
              <a:gs pos="50000">
                <a:schemeClr val="accent2">
                  <a:lumMod val="20000"/>
                  <a:lumOff val="80000"/>
                  <a:shade val="67500"/>
                  <a:satMod val="115000"/>
                </a:schemeClr>
              </a:gs>
              <a:gs pos="100000">
                <a:schemeClr val="accent2">
                  <a:lumMod val="20000"/>
                  <a:lumOff val="8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400" dirty="0">
              <a:solidFill>
                <a:srgbClr val="1F497D">
                  <a:lumMod val="50000"/>
                </a:srgbClr>
              </a:solidFill>
            </a:endParaRPr>
          </a:p>
        </p:txBody>
      </p:sp>
      <p:sp>
        <p:nvSpPr>
          <p:cNvPr id="28" name="TextBox 27">
            <a:extLst>
              <a:ext uri="{FF2B5EF4-FFF2-40B4-BE49-F238E27FC236}">
                <a16:creationId xmlns:a16="http://schemas.microsoft.com/office/drawing/2014/main" id="{0149BC82-5294-4D46-B818-5B7F243B9D16}"/>
              </a:ext>
            </a:extLst>
          </p:cNvPr>
          <p:cNvSpPr txBox="1">
            <a:spLocks noChangeArrowheads="1"/>
          </p:cNvSpPr>
          <p:nvPr/>
        </p:nvSpPr>
        <p:spPr bwMode="auto">
          <a:xfrm>
            <a:off x="6815138" y="3054350"/>
            <a:ext cx="18288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900">
                <a:solidFill>
                  <a:srgbClr val="010000"/>
                </a:solidFill>
                <a:latin typeface="Arial" charset="0"/>
              </a:defRPr>
            </a:lvl1pPr>
            <a:lvl2pPr marL="742950" indent="-285750" eaLnBrk="0" hangingPunct="0">
              <a:defRPr sz="900">
                <a:solidFill>
                  <a:srgbClr val="010000"/>
                </a:solidFill>
                <a:latin typeface="Arial" charset="0"/>
              </a:defRPr>
            </a:lvl2pPr>
            <a:lvl3pPr marL="1143000" indent="-228600" eaLnBrk="0" hangingPunct="0">
              <a:defRPr sz="900">
                <a:solidFill>
                  <a:srgbClr val="010000"/>
                </a:solidFill>
                <a:latin typeface="Arial" charset="0"/>
              </a:defRPr>
            </a:lvl3pPr>
            <a:lvl4pPr marL="1600200" indent="-228600" eaLnBrk="0" hangingPunct="0">
              <a:defRPr sz="900">
                <a:solidFill>
                  <a:srgbClr val="010000"/>
                </a:solidFill>
                <a:latin typeface="Arial" charset="0"/>
              </a:defRPr>
            </a:lvl4pPr>
            <a:lvl5pPr marL="2057400" indent="-228600" eaLnBrk="0" hangingPunct="0">
              <a:defRPr sz="900">
                <a:solidFill>
                  <a:srgbClr val="010000"/>
                </a:solidFill>
                <a:latin typeface="Arial" charset="0"/>
              </a:defRPr>
            </a:lvl5pPr>
            <a:lvl6pPr marL="2514600" indent="-228600" eaLnBrk="0" fontAlgn="base" hangingPunct="0">
              <a:spcBef>
                <a:spcPct val="0"/>
              </a:spcBef>
              <a:spcAft>
                <a:spcPct val="0"/>
              </a:spcAft>
              <a:defRPr sz="900">
                <a:solidFill>
                  <a:srgbClr val="010000"/>
                </a:solidFill>
                <a:latin typeface="Arial" charset="0"/>
              </a:defRPr>
            </a:lvl6pPr>
            <a:lvl7pPr marL="2971800" indent="-228600" eaLnBrk="0" fontAlgn="base" hangingPunct="0">
              <a:spcBef>
                <a:spcPct val="0"/>
              </a:spcBef>
              <a:spcAft>
                <a:spcPct val="0"/>
              </a:spcAft>
              <a:defRPr sz="900">
                <a:solidFill>
                  <a:srgbClr val="010000"/>
                </a:solidFill>
                <a:latin typeface="Arial" charset="0"/>
              </a:defRPr>
            </a:lvl7pPr>
            <a:lvl8pPr marL="3429000" indent="-228600" eaLnBrk="0" fontAlgn="base" hangingPunct="0">
              <a:spcBef>
                <a:spcPct val="0"/>
              </a:spcBef>
              <a:spcAft>
                <a:spcPct val="0"/>
              </a:spcAft>
              <a:defRPr sz="900">
                <a:solidFill>
                  <a:srgbClr val="010000"/>
                </a:solidFill>
                <a:latin typeface="Arial" charset="0"/>
              </a:defRPr>
            </a:lvl8pPr>
            <a:lvl9pPr marL="3886200" indent="-228600" eaLnBrk="0" fontAlgn="base" hangingPunct="0">
              <a:spcBef>
                <a:spcPct val="0"/>
              </a:spcBef>
              <a:spcAft>
                <a:spcPct val="0"/>
              </a:spcAft>
              <a:defRPr sz="900">
                <a:solidFill>
                  <a:srgbClr val="010000"/>
                </a:solidFill>
                <a:latin typeface="Arial" charset="0"/>
              </a:defRPr>
            </a:lvl9pPr>
          </a:lstStyle>
          <a:p>
            <a:pPr eaLnBrk="1" hangingPunct="1">
              <a:defRPr/>
            </a:pPr>
            <a:r>
              <a:rPr lang="en-US" altLang="en-US" sz="1050" dirty="0">
                <a:solidFill>
                  <a:srgbClr val="C00000"/>
                </a:solidFill>
              </a:rPr>
              <a:t>Data Organization</a:t>
            </a:r>
          </a:p>
        </p:txBody>
      </p:sp>
      <p:cxnSp>
        <p:nvCxnSpPr>
          <p:cNvPr id="34" name="Straight Arrow Connector 33">
            <a:extLst>
              <a:ext uri="{FF2B5EF4-FFF2-40B4-BE49-F238E27FC236}">
                <a16:creationId xmlns:a16="http://schemas.microsoft.com/office/drawing/2014/main" id="{9DBFCDF8-7155-48EA-8DD3-1EFD4EEFE83C}"/>
              </a:ext>
            </a:extLst>
          </p:cNvPr>
          <p:cNvCxnSpPr/>
          <p:nvPr/>
        </p:nvCxnSpPr>
        <p:spPr>
          <a:xfrm flipH="1">
            <a:off x="2700338" y="2851150"/>
            <a:ext cx="3409950" cy="7938"/>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39" name="Oval 38">
            <a:extLst>
              <a:ext uri="{FF2B5EF4-FFF2-40B4-BE49-F238E27FC236}">
                <a16:creationId xmlns:a16="http://schemas.microsoft.com/office/drawing/2014/main" id="{89B5AFD2-24B7-463A-A991-FD59943D6F40}"/>
              </a:ext>
            </a:extLst>
          </p:cNvPr>
          <p:cNvSpPr/>
          <p:nvPr/>
        </p:nvSpPr>
        <p:spPr>
          <a:xfrm>
            <a:off x="66675" y="1698625"/>
            <a:ext cx="2633663" cy="1673225"/>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r>
              <a:rPr lang="en-US" sz="1200" b="1" dirty="0">
                <a:solidFill>
                  <a:prstClr val="white"/>
                </a:solidFill>
              </a:rPr>
              <a:t>Leadership &amp; management team</a:t>
            </a:r>
          </a:p>
          <a:p>
            <a:pPr algn="ctr" fontAlgn="auto">
              <a:spcBef>
                <a:spcPts val="0"/>
              </a:spcBef>
              <a:spcAft>
                <a:spcPts val="0"/>
              </a:spcAft>
              <a:defRPr/>
            </a:pPr>
            <a:endParaRPr lang="en-US" sz="1200" b="1" dirty="0">
              <a:solidFill>
                <a:prstClr val="white"/>
              </a:solidFill>
            </a:endParaRPr>
          </a:p>
          <a:p>
            <a:pPr algn="ctr" fontAlgn="auto">
              <a:spcBef>
                <a:spcPts val="0"/>
              </a:spcBef>
              <a:spcAft>
                <a:spcPts val="0"/>
              </a:spcAft>
              <a:defRPr/>
            </a:pPr>
            <a:r>
              <a:rPr lang="en-US" sz="1200" dirty="0">
                <a:solidFill>
                  <a:prstClr val="white"/>
                </a:solidFill>
              </a:rPr>
              <a:t>(wisdom application, data/facts to information conversion process)</a:t>
            </a:r>
          </a:p>
          <a:p>
            <a:pPr algn="ctr" fontAlgn="auto">
              <a:spcBef>
                <a:spcPts val="0"/>
              </a:spcBef>
              <a:spcAft>
                <a:spcPts val="0"/>
              </a:spcAft>
              <a:defRPr/>
            </a:pPr>
            <a:endParaRPr lang="en-US" sz="1600" dirty="0">
              <a:solidFill>
                <a:prstClr val="white"/>
              </a:solidFill>
            </a:endParaRPr>
          </a:p>
        </p:txBody>
      </p:sp>
      <p:cxnSp>
        <p:nvCxnSpPr>
          <p:cNvPr id="41" name="Straight Arrow Connector 40">
            <a:extLst>
              <a:ext uri="{FF2B5EF4-FFF2-40B4-BE49-F238E27FC236}">
                <a16:creationId xmlns:a16="http://schemas.microsoft.com/office/drawing/2014/main" id="{EE7833D6-17C3-45A9-B47E-B79684DC2B8B}"/>
              </a:ext>
            </a:extLst>
          </p:cNvPr>
          <p:cNvCxnSpPr/>
          <p:nvPr/>
        </p:nvCxnSpPr>
        <p:spPr>
          <a:xfrm>
            <a:off x="1609725" y="3503613"/>
            <a:ext cx="1308100" cy="1406525"/>
          </a:xfrm>
          <a:prstGeom prst="straightConnector1">
            <a:avLst/>
          </a:prstGeom>
          <a:ln>
            <a:solidFill>
              <a:schemeClr val="bg1">
                <a:lumMod val="65000"/>
              </a:schemeClr>
            </a:solidFill>
            <a:tailEnd type="triangle"/>
          </a:ln>
        </p:spPr>
        <p:style>
          <a:lnRef idx="3">
            <a:schemeClr val="dk1"/>
          </a:lnRef>
          <a:fillRef idx="0">
            <a:schemeClr val="dk1"/>
          </a:fillRef>
          <a:effectRef idx="2">
            <a:schemeClr val="dk1"/>
          </a:effectRef>
          <a:fontRef idx="minor">
            <a:schemeClr val="tx1"/>
          </a:fontRef>
        </p:style>
      </p:cxnSp>
      <p:sp>
        <p:nvSpPr>
          <p:cNvPr id="68627" name="AutoShape 4" descr="Image result for sheet metal clip art">
            <a:extLst>
              <a:ext uri="{FF2B5EF4-FFF2-40B4-BE49-F238E27FC236}">
                <a16:creationId xmlns:a16="http://schemas.microsoft.com/office/drawing/2014/main" id="{D1F70884-71A7-4970-8B78-63ACFA602C64}"/>
              </a:ext>
            </a:extLst>
          </p:cNvPr>
          <p:cNvSpPr>
            <a:spLocks noChangeAspect="1" noChangeArrowheads="1"/>
          </p:cNvSpPr>
          <p:nvPr/>
        </p:nvSpPr>
        <p:spPr bwMode="auto">
          <a:xfrm>
            <a:off x="307975" y="793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0"/>
              </a:spcBef>
              <a:buFontTx/>
              <a:buNone/>
            </a:pPr>
            <a:endParaRPr lang="en-US" altLang="en-US" sz="1800">
              <a:solidFill>
                <a:srgbClr val="000000"/>
              </a:solidFill>
            </a:endParaRPr>
          </a:p>
        </p:txBody>
      </p:sp>
      <p:sp>
        <p:nvSpPr>
          <p:cNvPr id="25" name="Explosion 1 24">
            <a:extLst>
              <a:ext uri="{FF2B5EF4-FFF2-40B4-BE49-F238E27FC236}">
                <a16:creationId xmlns:a16="http://schemas.microsoft.com/office/drawing/2014/main" id="{2B41229C-F5CD-4E4E-B684-7F2083F6FB50}"/>
              </a:ext>
            </a:extLst>
          </p:cNvPr>
          <p:cNvSpPr/>
          <p:nvPr/>
        </p:nvSpPr>
        <p:spPr>
          <a:xfrm>
            <a:off x="6128544" y="4673323"/>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29" name="Explosion 1 28">
            <a:extLst>
              <a:ext uri="{FF2B5EF4-FFF2-40B4-BE49-F238E27FC236}">
                <a16:creationId xmlns:a16="http://schemas.microsoft.com/office/drawing/2014/main" id="{4DDD79A7-7543-4ECD-A368-E9ACD507C43E}"/>
              </a:ext>
            </a:extLst>
          </p:cNvPr>
          <p:cNvSpPr/>
          <p:nvPr/>
        </p:nvSpPr>
        <p:spPr>
          <a:xfrm>
            <a:off x="3278251" y="1199642"/>
            <a:ext cx="1712912" cy="1103313"/>
          </a:xfrm>
          <a:prstGeom prst="irregularSeal1">
            <a:avLst/>
          </a:prstGeom>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ortrayal</a:t>
            </a:r>
          </a:p>
        </p:txBody>
      </p:sp>
      <p:sp>
        <p:nvSpPr>
          <p:cNvPr id="30" name="Explosion 1 29">
            <a:extLst>
              <a:ext uri="{FF2B5EF4-FFF2-40B4-BE49-F238E27FC236}">
                <a16:creationId xmlns:a16="http://schemas.microsoft.com/office/drawing/2014/main" id="{BFCB82B5-6012-401F-8659-BCA91AB63664}"/>
              </a:ext>
            </a:extLst>
          </p:cNvPr>
          <p:cNvSpPr/>
          <p:nvPr/>
        </p:nvSpPr>
        <p:spPr>
          <a:xfrm>
            <a:off x="1546988" y="1090899"/>
            <a:ext cx="1911350" cy="1398587"/>
          </a:xfrm>
          <a:prstGeom prst="irregularSeal1">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srgbClr val="1F497D">
                    <a:lumMod val="50000"/>
                  </a:srgbClr>
                </a:solidFill>
              </a:rPr>
              <a:t>Information perception/ understanding/ insights</a:t>
            </a:r>
          </a:p>
        </p:txBody>
      </p:sp>
      <p:sp>
        <p:nvSpPr>
          <p:cNvPr id="31" name="Explosion 1 30">
            <a:extLst>
              <a:ext uri="{FF2B5EF4-FFF2-40B4-BE49-F238E27FC236}">
                <a16:creationId xmlns:a16="http://schemas.microsoft.com/office/drawing/2014/main" id="{9A8B9EA3-F8E1-4010-BDD7-B509149F0D8B}"/>
              </a:ext>
            </a:extLst>
          </p:cNvPr>
          <p:cNvSpPr/>
          <p:nvPr/>
        </p:nvSpPr>
        <p:spPr>
          <a:xfrm>
            <a:off x="501650" y="3449638"/>
            <a:ext cx="1325563" cy="949325"/>
          </a:xfrm>
          <a:prstGeom prst="irregularSeal1">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080000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Decisions</a:t>
            </a:r>
          </a:p>
        </p:txBody>
      </p:sp>
      <p:sp>
        <p:nvSpPr>
          <p:cNvPr id="32" name="Explosion 1 31">
            <a:extLst>
              <a:ext uri="{FF2B5EF4-FFF2-40B4-BE49-F238E27FC236}">
                <a16:creationId xmlns:a16="http://schemas.microsoft.com/office/drawing/2014/main" id="{96CC856B-486B-4F24-8F23-CA9FC6162F9C}"/>
              </a:ext>
            </a:extLst>
          </p:cNvPr>
          <p:cNvSpPr/>
          <p:nvPr/>
        </p:nvSpPr>
        <p:spPr>
          <a:xfrm>
            <a:off x="2165350" y="3589338"/>
            <a:ext cx="1325563" cy="947737"/>
          </a:xfrm>
          <a:prstGeom prst="irregularSeal1">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0" scaled="1"/>
            <a:tileRect/>
          </a:gra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dirty="0">
                <a:solidFill>
                  <a:prstClr val="white"/>
                </a:solidFill>
              </a:rPr>
              <a:t>Actions</a:t>
            </a:r>
          </a:p>
        </p:txBody>
      </p:sp>
      <p:pic>
        <p:nvPicPr>
          <p:cNvPr id="68633" name="Picture 27" descr="Image result for value stream map simple images">
            <a:extLst>
              <a:ext uri="{FF2B5EF4-FFF2-40B4-BE49-F238E27FC236}">
                <a16:creationId xmlns:a16="http://schemas.microsoft.com/office/drawing/2014/main" id="{1031AA4C-A6FD-4C7C-A144-B6C83431A0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1321" t="14018" r="6564" b="7230"/>
          <a:stretch>
            <a:fillRect/>
          </a:stretch>
        </p:blipFill>
        <p:spPr bwMode="auto">
          <a:xfrm>
            <a:off x="2827338" y="6062663"/>
            <a:ext cx="3005137"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Explosion 1 24">
            <a:extLst>
              <a:ext uri="{FF2B5EF4-FFF2-40B4-BE49-F238E27FC236}">
                <a16:creationId xmlns:a16="http://schemas.microsoft.com/office/drawing/2014/main" id="{D08856C9-0C96-4C6C-9C9D-946C77F66776}"/>
              </a:ext>
            </a:extLst>
          </p:cNvPr>
          <p:cNvSpPr/>
          <p:nvPr/>
        </p:nvSpPr>
        <p:spPr>
          <a:xfrm>
            <a:off x="1173163" y="4516351"/>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36" name="Explosion 1 24">
            <a:extLst>
              <a:ext uri="{FF2B5EF4-FFF2-40B4-BE49-F238E27FC236}">
                <a16:creationId xmlns:a16="http://schemas.microsoft.com/office/drawing/2014/main" id="{0F8267A6-8F50-4C8A-B914-3B7EA172BCC1}"/>
              </a:ext>
            </a:extLst>
          </p:cNvPr>
          <p:cNvSpPr/>
          <p:nvPr/>
        </p:nvSpPr>
        <p:spPr>
          <a:xfrm>
            <a:off x="2359024" y="4758375"/>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37" name="Explosion 1 24">
            <a:extLst>
              <a:ext uri="{FF2B5EF4-FFF2-40B4-BE49-F238E27FC236}">
                <a16:creationId xmlns:a16="http://schemas.microsoft.com/office/drawing/2014/main" id="{105A8EC0-CF2C-444E-961B-05A1ACFF0E8F}"/>
              </a:ext>
            </a:extLst>
          </p:cNvPr>
          <p:cNvSpPr/>
          <p:nvPr/>
        </p:nvSpPr>
        <p:spPr>
          <a:xfrm>
            <a:off x="3012503" y="5500688"/>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38" name="Explosion 1 24">
            <a:extLst>
              <a:ext uri="{FF2B5EF4-FFF2-40B4-BE49-F238E27FC236}">
                <a16:creationId xmlns:a16="http://schemas.microsoft.com/office/drawing/2014/main" id="{61A8E4DD-E0D6-4B80-8CB7-FEEBD4FE8901}"/>
              </a:ext>
            </a:extLst>
          </p:cNvPr>
          <p:cNvSpPr/>
          <p:nvPr/>
        </p:nvSpPr>
        <p:spPr>
          <a:xfrm>
            <a:off x="4847373" y="5468851"/>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40" name="Explosion 1 24">
            <a:extLst>
              <a:ext uri="{FF2B5EF4-FFF2-40B4-BE49-F238E27FC236}">
                <a16:creationId xmlns:a16="http://schemas.microsoft.com/office/drawing/2014/main" id="{FC41597C-3AF4-4013-8B44-C086106F7521}"/>
              </a:ext>
            </a:extLst>
          </p:cNvPr>
          <p:cNvSpPr/>
          <p:nvPr/>
        </p:nvSpPr>
        <p:spPr>
          <a:xfrm>
            <a:off x="7814952" y="4433888"/>
            <a:ext cx="1174750" cy="952500"/>
          </a:xfrm>
          <a:prstGeom prst="irregularSeal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000" b="1" dirty="0">
                <a:solidFill>
                  <a:prstClr val="white"/>
                </a:solidFill>
              </a:rPr>
              <a:t>Data capture</a:t>
            </a:r>
          </a:p>
        </p:txBody>
      </p:sp>
      <p:sp>
        <p:nvSpPr>
          <p:cNvPr id="2" name="Oval 1">
            <a:extLst>
              <a:ext uri="{FF2B5EF4-FFF2-40B4-BE49-F238E27FC236}">
                <a16:creationId xmlns:a16="http://schemas.microsoft.com/office/drawing/2014/main" id="{35E05B82-E4BF-485A-8E1D-01B366570725}"/>
              </a:ext>
            </a:extLst>
          </p:cNvPr>
          <p:cNvSpPr/>
          <p:nvPr/>
        </p:nvSpPr>
        <p:spPr>
          <a:xfrm>
            <a:off x="79375" y="1219200"/>
            <a:ext cx="4107878" cy="3352800"/>
          </a:xfrm>
          <a:prstGeom prst="ellipse">
            <a:avLst/>
          </a:prstGeom>
          <a:solidFill>
            <a:srgbClr val="C00000">
              <a:alpha val="2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Curved Right 2">
            <a:extLst>
              <a:ext uri="{FF2B5EF4-FFF2-40B4-BE49-F238E27FC236}">
                <a16:creationId xmlns:a16="http://schemas.microsoft.com/office/drawing/2014/main" id="{A06FCF47-55C3-45AE-AF1D-79D4A96103C5}"/>
              </a:ext>
            </a:extLst>
          </p:cNvPr>
          <p:cNvSpPr/>
          <p:nvPr/>
        </p:nvSpPr>
        <p:spPr>
          <a:xfrm>
            <a:off x="10031" y="1273175"/>
            <a:ext cx="1706438" cy="3509876"/>
          </a:xfrm>
          <a:prstGeom prst="curved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7408883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0"/>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grpId="0" nodeType="afterEffect">
                                  <p:stCondLst>
                                    <p:cond delay="0"/>
                                  </p:stCondLst>
                                  <p:childTnLst>
                                    <p:set>
                                      <p:cBhvr>
                                        <p:cTn id="9" dur="1" fill="hold">
                                          <p:stCondLst>
                                            <p:cond delay="499"/>
                                          </p:stCondLst>
                                        </p:cTn>
                                        <p:tgtEl>
                                          <p:spTgt spid="8"/>
                                        </p:tgtEl>
                                        <p:attrNameLst>
                                          <p:attrName>style.visibility</p:attrName>
                                        </p:attrNameLst>
                                      </p:cBhvr>
                                      <p:to>
                                        <p:strVal val="visible"/>
                                      </p:to>
                                    </p:set>
                                  </p:childTnLst>
                                </p:cTn>
                              </p:par>
                            </p:childTnLst>
                          </p:cTn>
                        </p:par>
                        <p:par>
                          <p:cTn id="10" fill="hold" nodeType="afterGroup">
                            <p:stCondLst>
                              <p:cond delay="1000"/>
                            </p:stCondLst>
                            <p:childTnLst>
                              <p:par>
                                <p:cTn id="11" presetID="1" presetClass="entr" presetSubtype="0" fill="hold" grpId="0" nodeType="afterEffect">
                                  <p:stCondLst>
                                    <p:cond delay="0"/>
                                  </p:stCondLst>
                                  <p:childTnLst>
                                    <p:set>
                                      <p:cBhvr>
                                        <p:cTn id="12" dur="1" fill="hold">
                                          <p:stCondLst>
                                            <p:cond delay="499"/>
                                          </p:stCondLst>
                                        </p:cTn>
                                        <p:tgtEl>
                                          <p:spTgt spid="5"/>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nodeType="afterEffect">
                                  <p:stCondLst>
                                    <p:cond delay="0"/>
                                  </p:stCondLst>
                                  <p:childTnLst>
                                    <p:set>
                                      <p:cBhvr>
                                        <p:cTn id="15" dur="1" fill="hold">
                                          <p:stCondLst>
                                            <p:cond delay="499"/>
                                          </p:stCondLst>
                                        </p:cTn>
                                        <p:tgtEl>
                                          <p:spTgt spid="9"/>
                                        </p:tgtEl>
                                        <p:attrNameLst>
                                          <p:attrName>style.visibility</p:attrName>
                                        </p:attrNameLst>
                                      </p:cBhvr>
                                      <p:to>
                                        <p:strVal val="visible"/>
                                      </p:to>
                                    </p:set>
                                  </p:childTnLst>
                                </p:cTn>
                              </p:par>
                            </p:childTnLst>
                          </p:cTn>
                        </p:par>
                        <p:par>
                          <p:cTn id="16" fill="hold" nodeType="afterGroup">
                            <p:stCondLst>
                              <p:cond delay="2000"/>
                            </p:stCondLst>
                            <p:childTnLst>
                              <p:par>
                                <p:cTn id="17" presetID="1" presetClass="entr" presetSubtype="0" fill="hold" grpId="0" nodeType="afterEffect">
                                  <p:stCondLst>
                                    <p:cond delay="0"/>
                                  </p:stCondLst>
                                  <p:childTnLst>
                                    <p:set>
                                      <p:cBhvr>
                                        <p:cTn id="18" dur="1" fill="hold">
                                          <p:stCondLst>
                                            <p:cond delay="499"/>
                                          </p:stCondLst>
                                        </p:cTn>
                                        <p:tgtEl>
                                          <p:spTgt spid="11"/>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499"/>
                                          </p:stCondLst>
                                        </p:cTn>
                                        <p:tgtEl>
                                          <p:spTgt spid="16"/>
                                        </p:tgtEl>
                                        <p:attrNameLst>
                                          <p:attrName>style.visibility</p:attrName>
                                        </p:attrNameLst>
                                      </p:cBhvr>
                                      <p:to>
                                        <p:strVal val="visible"/>
                                      </p:to>
                                    </p:set>
                                  </p:childTnLst>
                                </p:cTn>
                              </p:par>
                            </p:childTnLst>
                          </p:cTn>
                        </p:par>
                        <p:par>
                          <p:cTn id="23" fill="hold" nodeType="afterGroup">
                            <p:stCondLst>
                              <p:cond delay="500"/>
                            </p:stCondLst>
                            <p:childTnLst>
                              <p:par>
                                <p:cTn id="24" presetID="1" presetClass="entr" presetSubtype="0" fill="hold" grpId="0" nodeType="afterEffect">
                                  <p:stCondLst>
                                    <p:cond delay="0"/>
                                  </p:stCondLst>
                                  <p:childTnLst>
                                    <p:set>
                                      <p:cBhvr>
                                        <p:cTn id="25" dur="1" fill="hold">
                                          <p:stCondLst>
                                            <p:cond delay="499"/>
                                          </p:stCondLst>
                                        </p:cTn>
                                        <p:tgtEl>
                                          <p:spTgt spid="25"/>
                                        </p:tgtEl>
                                        <p:attrNameLst>
                                          <p:attrName>style.visibility</p:attrName>
                                        </p:attrNameLst>
                                      </p:cBhvr>
                                      <p:to>
                                        <p:strVal val="visible"/>
                                      </p:to>
                                    </p:set>
                                  </p:childTnLst>
                                </p:cTn>
                              </p:par>
                            </p:childTnLst>
                          </p:cTn>
                        </p:par>
                        <p:par>
                          <p:cTn id="26" fill="hold" nodeType="afterGroup">
                            <p:stCondLst>
                              <p:cond delay="1000"/>
                            </p:stCondLst>
                            <p:childTnLst>
                              <p:par>
                                <p:cTn id="27" presetID="1" presetClass="entr" presetSubtype="0" fill="hold" grpId="0" nodeType="afterEffect">
                                  <p:stCondLst>
                                    <p:cond delay="0"/>
                                  </p:stCondLst>
                                  <p:childTnLst>
                                    <p:set>
                                      <p:cBhvr>
                                        <p:cTn id="28" dur="1" fill="hold">
                                          <p:stCondLst>
                                            <p:cond delay="499"/>
                                          </p:stCondLst>
                                        </p:cTn>
                                        <p:tgtEl>
                                          <p:spTgt spid="23"/>
                                        </p:tgtEl>
                                        <p:attrNameLst>
                                          <p:attrName>style.visibility</p:attrName>
                                        </p:attrNameLst>
                                      </p:cBhvr>
                                      <p:to>
                                        <p:strVal val="visible"/>
                                      </p:to>
                                    </p:set>
                                  </p:childTnLst>
                                </p:cTn>
                              </p:par>
                            </p:childTnLst>
                          </p:cTn>
                        </p:par>
                        <p:par>
                          <p:cTn id="29" fill="hold" nodeType="afterGroup">
                            <p:stCondLst>
                              <p:cond delay="1500"/>
                            </p:stCondLst>
                            <p:childTnLst>
                              <p:par>
                                <p:cTn id="30" presetID="1" presetClass="entr" presetSubtype="0" fill="hold" nodeType="afterEffect">
                                  <p:stCondLst>
                                    <p:cond delay="0"/>
                                  </p:stCondLst>
                                  <p:childTnLst>
                                    <p:set>
                                      <p:cBhvr>
                                        <p:cTn id="31" dur="1" fill="hold">
                                          <p:stCondLst>
                                            <p:cond delay="499"/>
                                          </p:stCondLst>
                                        </p:cTn>
                                        <p:tgtEl>
                                          <p:spTgt spid="26"/>
                                        </p:tgtEl>
                                        <p:attrNameLst>
                                          <p:attrName>style.visibility</p:attrName>
                                        </p:attrNameLst>
                                      </p:cBhvr>
                                      <p:to>
                                        <p:strVal val="visible"/>
                                      </p:to>
                                    </p:set>
                                  </p:childTnLst>
                                </p:cTn>
                              </p:par>
                            </p:childTnLst>
                          </p:cTn>
                        </p:par>
                        <p:par>
                          <p:cTn id="32" fill="hold" nodeType="afterGroup">
                            <p:stCondLst>
                              <p:cond delay="2000"/>
                            </p:stCondLst>
                            <p:childTnLst>
                              <p:par>
                                <p:cTn id="33" presetID="1" presetClass="entr" presetSubtype="0" fill="hold" grpId="0" nodeType="afterEffect">
                                  <p:stCondLst>
                                    <p:cond delay="0"/>
                                  </p:stCondLst>
                                  <p:childTnLst>
                                    <p:set>
                                      <p:cBhvr>
                                        <p:cTn id="34" dur="1" fill="hold">
                                          <p:stCondLst>
                                            <p:cond delay="499"/>
                                          </p:stCondLst>
                                        </p:cTn>
                                        <p:tgtEl>
                                          <p:spTgt spid="27"/>
                                        </p:tgtEl>
                                        <p:attrNameLst>
                                          <p:attrName>style.visibility</p:attrName>
                                        </p:attrNameLst>
                                      </p:cBhvr>
                                      <p:to>
                                        <p:strVal val="visible"/>
                                      </p:to>
                                    </p:set>
                                  </p:childTnLst>
                                </p:cTn>
                              </p:par>
                            </p:childTnLst>
                          </p:cTn>
                        </p:par>
                        <p:par>
                          <p:cTn id="35" fill="hold" nodeType="afterGroup">
                            <p:stCondLst>
                              <p:cond delay="2500"/>
                            </p:stCondLst>
                            <p:childTnLst>
                              <p:par>
                                <p:cTn id="36" presetID="1" presetClass="entr" presetSubtype="0" fill="hold" grpId="0" nodeType="afterEffect">
                                  <p:stCondLst>
                                    <p:cond delay="0"/>
                                  </p:stCondLst>
                                  <p:childTnLst>
                                    <p:set>
                                      <p:cBhvr>
                                        <p:cTn id="37" dur="1" fill="hold">
                                          <p:stCondLst>
                                            <p:cond delay="499"/>
                                          </p:stCondLst>
                                        </p:cTn>
                                        <p:tgtEl>
                                          <p:spTgt spid="28"/>
                                        </p:tgtEl>
                                        <p:attrNameLst>
                                          <p:attrName>style.visibility</p:attrName>
                                        </p:attrNameLst>
                                      </p:cBhvr>
                                      <p:to>
                                        <p:strVal val="visible"/>
                                      </p:to>
                                    </p:set>
                                  </p:childTnLst>
                                </p:cTn>
                              </p:par>
                            </p:childTnLst>
                          </p:cTn>
                        </p:par>
                        <p:par>
                          <p:cTn id="38" fill="hold" nodeType="afterGroup">
                            <p:stCondLst>
                              <p:cond delay="3000"/>
                            </p:stCondLst>
                            <p:childTnLst>
                              <p:par>
                                <p:cTn id="39" presetID="1" presetClass="entr" presetSubtype="0" fill="hold" grpId="0" nodeType="afterEffect">
                                  <p:stCondLst>
                                    <p:cond delay="0"/>
                                  </p:stCondLst>
                                  <p:childTnLst>
                                    <p:set>
                                      <p:cBhvr>
                                        <p:cTn id="40" dur="1" fill="hold">
                                          <p:stCondLst>
                                            <p:cond delay="499"/>
                                          </p:stCondLst>
                                        </p:cTn>
                                        <p:tgtEl>
                                          <p:spTgt spid="21"/>
                                        </p:tgtEl>
                                        <p:attrNameLst>
                                          <p:attrName>style.visibility</p:attrName>
                                        </p:attrNameLst>
                                      </p:cBhvr>
                                      <p:to>
                                        <p:strVal val="visible"/>
                                      </p:to>
                                    </p:set>
                                  </p:childTnLst>
                                </p:cTn>
                              </p:par>
                            </p:childTnLst>
                          </p:cTn>
                        </p:par>
                      </p:childTnLst>
                    </p:cTn>
                  </p:par>
                  <p:par>
                    <p:cTn id="41" fill="hold" nodeType="clickPar">
                      <p:stCondLst>
                        <p:cond delay="indefinite"/>
                      </p:stCondLst>
                      <p:childTnLst>
                        <p:par>
                          <p:cTn id="42" fill="hold" nodeType="withGroup">
                            <p:stCondLst>
                              <p:cond delay="0"/>
                            </p:stCondLst>
                            <p:childTnLst>
                              <p:par>
                                <p:cTn id="43" presetID="1" presetClass="entr" presetSubtype="0" fill="hold" grpId="0" nodeType="clickEffect">
                                  <p:stCondLst>
                                    <p:cond delay="0"/>
                                  </p:stCondLst>
                                  <p:childTnLst>
                                    <p:set>
                                      <p:cBhvr>
                                        <p:cTn id="44" dur="1" fill="hold">
                                          <p:stCondLst>
                                            <p:cond delay="499"/>
                                          </p:stCondLst>
                                        </p:cTn>
                                        <p:tgtEl>
                                          <p:spTgt spid="29"/>
                                        </p:tgtEl>
                                        <p:attrNameLst>
                                          <p:attrName>style.visibility</p:attrName>
                                        </p:attrNameLst>
                                      </p:cBhvr>
                                      <p:to>
                                        <p:strVal val="visible"/>
                                      </p:to>
                                    </p:set>
                                  </p:childTnLst>
                                </p:cTn>
                              </p:par>
                            </p:childTnLst>
                          </p:cTn>
                        </p:par>
                        <p:par>
                          <p:cTn id="45" fill="hold" nodeType="afterGroup">
                            <p:stCondLst>
                              <p:cond delay="500"/>
                            </p:stCondLst>
                            <p:childTnLst>
                              <p:par>
                                <p:cTn id="46" presetID="1" presetClass="entr" presetSubtype="0" fill="hold" nodeType="afterEffect">
                                  <p:stCondLst>
                                    <p:cond delay="0"/>
                                  </p:stCondLst>
                                  <p:childTnLst>
                                    <p:set>
                                      <p:cBhvr>
                                        <p:cTn id="47" dur="1" fill="hold">
                                          <p:stCondLst>
                                            <p:cond delay="499"/>
                                          </p:stCondLst>
                                        </p:cTn>
                                        <p:tgtEl>
                                          <p:spTgt spid="34"/>
                                        </p:tgtEl>
                                        <p:attrNameLst>
                                          <p:attrName>style.visibility</p:attrName>
                                        </p:attrNameLst>
                                      </p:cBhvr>
                                      <p:to>
                                        <p:strVal val="visible"/>
                                      </p:to>
                                    </p:set>
                                  </p:childTnLst>
                                </p:cTn>
                              </p:par>
                            </p:childTnLst>
                          </p:cTn>
                        </p:par>
                        <p:par>
                          <p:cTn id="48" fill="hold" nodeType="afterGroup">
                            <p:stCondLst>
                              <p:cond delay="1000"/>
                            </p:stCondLst>
                            <p:childTnLst>
                              <p:par>
                                <p:cTn id="49" presetID="1" presetClass="entr" presetSubtype="0" fill="hold" grpId="0" nodeType="afterEffect">
                                  <p:stCondLst>
                                    <p:cond delay="0"/>
                                  </p:stCondLst>
                                  <p:childTnLst>
                                    <p:set>
                                      <p:cBhvr>
                                        <p:cTn id="50" dur="1" fill="hold">
                                          <p:stCondLst>
                                            <p:cond delay="499"/>
                                          </p:stCondLst>
                                        </p:cTn>
                                        <p:tgtEl>
                                          <p:spTgt spid="30"/>
                                        </p:tgtEl>
                                        <p:attrNameLst>
                                          <p:attrName>style.visibility</p:attrName>
                                        </p:attrNameLst>
                                      </p:cBhvr>
                                      <p:to>
                                        <p:strVal val="visible"/>
                                      </p:to>
                                    </p:set>
                                  </p:childTnLst>
                                </p:cTn>
                              </p:par>
                            </p:childTnLst>
                          </p:cTn>
                        </p:par>
                      </p:childTnLst>
                    </p:cTn>
                  </p:par>
                  <p:par>
                    <p:cTn id="51" fill="hold" nodeType="clickPar">
                      <p:stCondLst>
                        <p:cond delay="indefinite"/>
                      </p:stCondLst>
                      <p:childTnLst>
                        <p:par>
                          <p:cTn id="52" fill="hold" nodeType="withGroup">
                            <p:stCondLst>
                              <p:cond delay="0"/>
                            </p:stCondLst>
                            <p:childTnLst>
                              <p:par>
                                <p:cTn id="53" presetID="1" presetClass="entr" presetSubtype="0" fill="hold" grpId="0" nodeType="clickEffect">
                                  <p:stCondLst>
                                    <p:cond delay="0"/>
                                  </p:stCondLst>
                                  <p:childTnLst>
                                    <p:set>
                                      <p:cBhvr>
                                        <p:cTn id="54" dur="1" fill="hold">
                                          <p:stCondLst>
                                            <p:cond delay="499"/>
                                          </p:stCondLst>
                                        </p:cTn>
                                        <p:tgtEl>
                                          <p:spTgt spid="39"/>
                                        </p:tgtEl>
                                        <p:attrNameLst>
                                          <p:attrName>style.visibility</p:attrName>
                                        </p:attrNameLst>
                                      </p:cBhvr>
                                      <p:to>
                                        <p:strVal val="visible"/>
                                      </p:to>
                                    </p:set>
                                  </p:childTnLst>
                                </p:cTn>
                              </p:par>
                            </p:childTnLst>
                          </p:cTn>
                        </p:par>
                      </p:childTnLst>
                    </p:cTn>
                  </p:par>
                  <p:par>
                    <p:cTn id="55" fill="hold" nodeType="clickPar">
                      <p:stCondLst>
                        <p:cond delay="indefinite"/>
                      </p:stCondLst>
                      <p:childTnLst>
                        <p:par>
                          <p:cTn id="56" fill="hold" nodeType="withGroup">
                            <p:stCondLst>
                              <p:cond delay="0"/>
                            </p:stCondLst>
                            <p:childTnLst>
                              <p:par>
                                <p:cTn id="57" presetID="1" presetClass="entr" presetSubtype="0" fill="hold" grpId="0" nodeType="clickEffect">
                                  <p:stCondLst>
                                    <p:cond delay="0"/>
                                  </p:stCondLst>
                                  <p:childTnLst>
                                    <p:set>
                                      <p:cBhvr>
                                        <p:cTn id="58" dur="1" fill="hold">
                                          <p:stCondLst>
                                            <p:cond delay="499"/>
                                          </p:stCondLst>
                                        </p:cTn>
                                        <p:tgtEl>
                                          <p:spTgt spid="31"/>
                                        </p:tgtEl>
                                        <p:attrNameLst>
                                          <p:attrName>style.visibility</p:attrName>
                                        </p:attrNameLst>
                                      </p:cBhvr>
                                      <p:to>
                                        <p:strVal val="visible"/>
                                      </p:to>
                                    </p:set>
                                  </p:childTnLst>
                                </p:cTn>
                              </p:par>
                            </p:childTnLst>
                          </p:cTn>
                        </p:par>
                        <p:par>
                          <p:cTn id="59" fill="hold" nodeType="afterGroup">
                            <p:stCondLst>
                              <p:cond delay="500"/>
                            </p:stCondLst>
                            <p:childTnLst>
                              <p:par>
                                <p:cTn id="60" presetID="1" presetClass="entr" presetSubtype="0" fill="hold" nodeType="afterEffect">
                                  <p:stCondLst>
                                    <p:cond delay="0"/>
                                  </p:stCondLst>
                                  <p:childTnLst>
                                    <p:set>
                                      <p:cBhvr>
                                        <p:cTn id="61" dur="1" fill="hold">
                                          <p:stCondLst>
                                            <p:cond delay="499"/>
                                          </p:stCondLst>
                                        </p:cTn>
                                        <p:tgtEl>
                                          <p:spTgt spid="41"/>
                                        </p:tgtEl>
                                        <p:attrNameLst>
                                          <p:attrName>style.visibility</p:attrName>
                                        </p:attrNameLst>
                                      </p:cBhvr>
                                      <p:to>
                                        <p:strVal val="visible"/>
                                      </p:to>
                                    </p:set>
                                  </p:childTnLst>
                                </p:cTn>
                              </p:par>
                            </p:childTnLst>
                          </p:cTn>
                        </p:par>
                        <p:par>
                          <p:cTn id="62" fill="hold" nodeType="afterGroup">
                            <p:stCondLst>
                              <p:cond delay="1000"/>
                            </p:stCondLst>
                            <p:childTnLst>
                              <p:par>
                                <p:cTn id="63" presetID="1" presetClass="entr" presetSubtype="0" fill="hold" grpId="0" nodeType="afterEffect">
                                  <p:stCondLst>
                                    <p:cond delay="0"/>
                                  </p:stCondLst>
                                  <p:childTnLst>
                                    <p:set>
                                      <p:cBhvr>
                                        <p:cTn id="64" dur="1" fill="hold">
                                          <p:stCondLst>
                                            <p:cond delay="499"/>
                                          </p:stCondLst>
                                        </p:cTn>
                                        <p:tgtEl>
                                          <p:spTgt spid="32"/>
                                        </p:tgtEl>
                                        <p:attrNameLst>
                                          <p:attrName>style.visibility</p:attrName>
                                        </p:attrNameLst>
                                      </p:cBhvr>
                                      <p:to>
                                        <p:strVal val="visible"/>
                                      </p:to>
                                    </p:set>
                                  </p:childTnLst>
                                </p:cTn>
                              </p:par>
                            </p:childTnLst>
                          </p:cTn>
                        </p:par>
                        <p:par>
                          <p:cTn id="65" fill="hold">
                            <p:stCondLst>
                              <p:cond delay="1500"/>
                            </p:stCondLst>
                            <p:childTnLst>
                              <p:par>
                                <p:cTn id="66" presetID="1" presetClass="entr" presetSubtype="0" fill="hold" grpId="0" nodeType="afterEffect">
                                  <p:stCondLst>
                                    <p:cond delay="0"/>
                                  </p:stCondLst>
                                  <p:childTnLst>
                                    <p:set>
                                      <p:cBhvr>
                                        <p:cTn id="67" dur="1" fill="hold">
                                          <p:stCondLst>
                                            <p:cond delay="499"/>
                                          </p:stCondLst>
                                        </p:cTn>
                                        <p:tgtEl>
                                          <p:spTgt spid="35"/>
                                        </p:tgtEl>
                                        <p:attrNameLst>
                                          <p:attrName>style.visibility</p:attrName>
                                        </p:attrNameLst>
                                      </p:cBhvr>
                                      <p:to>
                                        <p:strVal val="visible"/>
                                      </p:to>
                                    </p:set>
                                  </p:childTnLst>
                                </p:cTn>
                              </p:par>
                            </p:childTnLst>
                          </p:cTn>
                        </p:par>
                        <p:par>
                          <p:cTn id="68" fill="hold">
                            <p:stCondLst>
                              <p:cond delay="2000"/>
                            </p:stCondLst>
                            <p:childTnLst>
                              <p:par>
                                <p:cTn id="69" presetID="1" presetClass="entr" presetSubtype="0" fill="hold" grpId="0" nodeType="afterEffect">
                                  <p:stCondLst>
                                    <p:cond delay="0"/>
                                  </p:stCondLst>
                                  <p:childTnLst>
                                    <p:set>
                                      <p:cBhvr>
                                        <p:cTn id="70" dur="1" fill="hold">
                                          <p:stCondLst>
                                            <p:cond delay="499"/>
                                          </p:stCondLst>
                                        </p:cTn>
                                        <p:tgtEl>
                                          <p:spTgt spid="36"/>
                                        </p:tgtEl>
                                        <p:attrNameLst>
                                          <p:attrName>style.visibility</p:attrName>
                                        </p:attrNameLst>
                                      </p:cBhvr>
                                      <p:to>
                                        <p:strVal val="visible"/>
                                      </p:to>
                                    </p:set>
                                  </p:childTnLst>
                                </p:cTn>
                              </p:par>
                            </p:childTnLst>
                          </p:cTn>
                        </p:par>
                        <p:par>
                          <p:cTn id="71" fill="hold">
                            <p:stCondLst>
                              <p:cond delay="2500"/>
                            </p:stCondLst>
                            <p:childTnLst>
                              <p:par>
                                <p:cTn id="72" presetID="1" presetClass="entr" presetSubtype="0" fill="hold" grpId="0" nodeType="afterEffect">
                                  <p:stCondLst>
                                    <p:cond delay="0"/>
                                  </p:stCondLst>
                                  <p:childTnLst>
                                    <p:set>
                                      <p:cBhvr>
                                        <p:cTn id="73" dur="1" fill="hold">
                                          <p:stCondLst>
                                            <p:cond delay="499"/>
                                          </p:stCondLst>
                                        </p:cTn>
                                        <p:tgtEl>
                                          <p:spTgt spid="37"/>
                                        </p:tgtEl>
                                        <p:attrNameLst>
                                          <p:attrName>style.visibility</p:attrName>
                                        </p:attrNameLst>
                                      </p:cBhvr>
                                      <p:to>
                                        <p:strVal val="visible"/>
                                      </p:to>
                                    </p:set>
                                  </p:childTnLst>
                                </p:cTn>
                              </p:par>
                            </p:childTnLst>
                          </p:cTn>
                        </p:par>
                        <p:par>
                          <p:cTn id="74" fill="hold">
                            <p:stCondLst>
                              <p:cond delay="3000"/>
                            </p:stCondLst>
                            <p:childTnLst>
                              <p:par>
                                <p:cTn id="75" presetID="1" presetClass="entr" presetSubtype="0" fill="hold" grpId="0" nodeType="afterEffect">
                                  <p:stCondLst>
                                    <p:cond delay="0"/>
                                  </p:stCondLst>
                                  <p:childTnLst>
                                    <p:set>
                                      <p:cBhvr>
                                        <p:cTn id="76" dur="1" fill="hold">
                                          <p:stCondLst>
                                            <p:cond delay="499"/>
                                          </p:stCondLst>
                                        </p:cTn>
                                        <p:tgtEl>
                                          <p:spTgt spid="38"/>
                                        </p:tgtEl>
                                        <p:attrNameLst>
                                          <p:attrName>style.visibility</p:attrName>
                                        </p:attrNameLst>
                                      </p:cBhvr>
                                      <p:to>
                                        <p:strVal val="visible"/>
                                      </p:to>
                                    </p:set>
                                  </p:childTnLst>
                                </p:cTn>
                              </p:par>
                            </p:childTnLst>
                          </p:cTn>
                        </p:par>
                        <p:par>
                          <p:cTn id="77" fill="hold">
                            <p:stCondLst>
                              <p:cond delay="3500"/>
                            </p:stCondLst>
                            <p:childTnLst>
                              <p:par>
                                <p:cTn id="78" presetID="1" presetClass="entr" presetSubtype="0" fill="hold" grpId="0" nodeType="afterEffect">
                                  <p:stCondLst>
                                    <p:cond delay="0"/>
                                  </p:stCondLst>
                                  <p:childTnLst>
                                    <p:set>
                                      <p:cBhvr>
                                        <p:cTn id="79" dur="1" fill="hold">
                                          <p:stCondLst>
                                            <p:cond delay="499"/>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autoUpdateAnimBg="0"/>
      <p:bldP spid="8" grpId="0" animBg="1" autoUpdateAnimBg="0"/>
      <p:bldP spid="10" grpId="0" animBg="1" autoUpdateAnimBg="0"/>
      <p:bldP spid="11" grpId="0" animBg="1" autoUpdateAnimBg="0"/>
      <p:bldP spid="21" grpId="0" animBg="1" autoUpdateAnimBg="0"/>
      <p:bldP spid="23" grpId="0" animBg="1" autoUpdateAnimBg="0"/>
      <p:bldP spid="27" grpId="0" animBg="1" autoUpdateAnimBg="0"/>
      <p:bldP spid="28" grpId="0" autoUpdateAnimBg="0"/>
      <p:bldP spid="39" grpId="0" animBg="1" autoUpdateAnimBg="0"/>
      <p:bldP spid="25" grpId="0" animBg="1" autoUpdateAnimBg="0"/>
      <p:bldP spid="29" grpId="0" animBg="1" autoUpdateAnimBg="0"/>
      <p:bldP spid="30" grpId="0" animBg="1" autoUpdateAnimBg="0"/>
      <p:bldP spid="31" grpId="0" animBg="1" autoUpdateAnimBg="0"/>
      <p:bldP spid="32" grpId="0" animBg="1" autoUpdateAnimBg="0"/>
      <p:bldP spid="35" grpId="0" animBg="1" autoUpdateAnimBg="0"/>
      <p:bldP spid="36" grpId="0" animBg="1" autoUpdateAnimBg="0"/>
      <p:bldP spid="37" grpId="0" animBg="1" autoUpdateAnimBg="0"/>
      <p:bldP spid="38" grpId="0" animBg="1" autoUpdateAnimBg="0"/>
      <p:bldP spid="40" grpId="0" animBg="1" autoUpdateAnimBg="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172E6-EB4D-4CA9-B032-D89C0DD951AC}"/>
              </a:ext>
            </a:extLst>
          </p:cNvPr>
          <p:cNvSpPr>
            <a:spLocks noGrp="1"/>
          </p:cNvSpPr>
          <p:nvPr>
            <p:ph type="title"/>
          </p:nvPr>
        </p:nvSpPr>
        <p:spPr>
          <a:xfrm>
            <a:off x="568060" y="478555"/>
            <a:ext cx="7829550" cy="450690"/>
          </a:xfrm>
        </p:spPr>
        <p:txBody>
          <a:bodyPr>
            <a:noAutofit/>
          </a:bodyPr>
          <a:lstStyle/>
          <a:p>
            <a:r>
              <a:rPr lang="en-US" sz="2100" b="1" dirty="0"/>
              <a:t>Objective:  </a:t>
            </a:r>
            <a:r>
              <a:rPr lang="en-US" sz="2100" dirty="0"/>
              <a:t>build out the capability to do the top half of the Op Analytics Process DO-TRAIN/COACH Approach)</a:t>
            </a:r>
            <a:endParaRPr lang="en-CA" sz="2100" dirty="0"/>
          </a:p>
        </p:txBody>
      </p:sp>
      <p:pic>
        <p:nvPicPr>
          <p:cNvPr id="13" name="Picture 12">
            <a:extLst>
              <a:ext uri="{FF2B5EF4-FFF2-40B4-BE49-F238E27FC236}">
                <a16:creationId xmlns:a16="http://schemas.microsoft.com/office/drawing/2014/main" id="{2D6B5E61-311A-4087-969B-D1CED99EAB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7068" y="6018645"/>
            <a:ext cx="1862774" cy="123499"/>
          </a:xfrm>
          <a:prstGeom prst="rect">
            <a:avLst/>
          </a:prstGeom>
        </p:spPr>
      </p:pic>
      <p:grpSp>
        <p:nvGrpSpPr>
          <p:cNvPr id="117" name="Group 116">
            <a:extLst>
              <a:ext uri="{FF2B5EF4-FFF2-40B4-BE49-F238E27FC236}">
                <a16:creationId xmlns:a16="http://schemas.microsoft.com/office/drawing/2014/main" id="{72F2C1C1-2BAB-444D-81F9-7FE59FB5D609}"/>
              </a:ext>
            </a:extLst>
          </p:cNvPr>
          <p:cNvGrpSpPr/>
          <p:nvPr/>
        </p:nvGrpSpPr>
        <p:grpSpPr>
          <a:xfrm>
            <a:off x="57199" y="1776719"/>
            <a:ext cx="2763773" cy="3623238"/>
            <a:chOff x="6707801" y="1138366"/>
            <a:chExt cx="3685031" cy="4830984"/>
          </a:xfrm>
        </p:grpSpPr>
        <p:pic>
          <p:nvPicPr>
            <p:cNvPr id="118" name="Picture 2">
              <a:extLst>
                <a:ext uri="{FF2B5EF4-FFF2-40B4-BE49-F238E27FC236}">
                  <a16:creationId xmlns:a16="http://schemas.microsoft.com/office/drawing/2014/main" id="{6AE3A1A8-B5ED-4090-AFED-97C7A145775A}"/>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l="5939" r="5939"/>
            <a:stretch/>
          </p:blipFill>
          <p:spPr bwMode="auto">
            <a:xfrm>
              <a:off x="6707801" y="3595986"/>
              <a:ext cx="3608224" cy="237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9" name="Straight Connector 118">
              <a:extLst>
                <a:ext uri="{FF2B5EF4-FFF2-40B4-BE49-F238E27FC236}">
                  <a16:creationId xmlns:a16="http://schemas.microsoft.com/office/drawing/2014/main" id="{FB7BAD45-5F70-4C1C-8929-023B9AC220AD}"/>
                </a:ext>
              </a:extLst>
            </p:cNvPr>
            <p:cNvCxnSpPr/>
            <p:nvPr/>
          </p:nvCxnSpPr>
          <p:spPr>
            <a:xfrm>
              <a:off x="6914959" y="4937841"/>
              <a:ext cx="290540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1" name="Diagram 120">
              <a:extLst>
                <a:ext uri="{FF2B5EF4-FFF2-40B4-BE49-F238E27FC236}">
                  <a16:creationId xmlns:a16="http://schemas.microsoft.com/office/drawing/2014/main" id="{21DFDEB8-5365-4986-8FBF-E83BFA7B78DC}"/>
                </a:ext>
              </a:extLst>
            </p:cNvPr>
            <p:cNvGraphicFramePr/>
            <p:nvPr/>
          </p:nvGraphicFramePr>
          <p:xfrm>
            <a:off x="7021500" y="1138366"/>
            <a:ext cx="3371332" cy="27093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sp>
        <p:nvSpPr>
          <p:cNvPr id="11" name="Rectangle 10">
            <a:extLst>
              <a:ext uri="{FF2B5EF4-FFF2-40B4-BE49-F238E27FC236}">
                <a16:creationId xmlns:a16="http://schemas.microsoft.com/office/drawing/2014/main" id="{67C42237-82BA-4950-990B-4872C71E8478}"/>
              </a:ext>
            </a:extLst>
          </p:cNvPr>
          <p:cNvSpPr/>
          <p:nvPr/>
        </p:nvSpPr>
        <p:spPr>
          <a:xfrm>
            <a:off x="666573" y="3572229"/>
            <a:ext cx="1326734" cy="23649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The Questions</a:t>
            </a:r>
          </a:p>
        </p:txBody>
      </p:sp>
      <p:sp>
        <p:nvSpPr>
          <p:cNvPr id="126" name="Rectangle 125">
            <a:extLst>
              <a:ext uri="{FF2B5EF4-FFF2-40B4-BE49-F238E27FC236}">
                <a16:creationId xmlns:a16="http://schemas.microsoft.com/office/drawing/2014/main" id="{35836FB7-078A-4477-ADA7-9C633F3C5C1B}"/>
              </a:ext>
            </a:extLst>
          </p:cNvPr>
          <p:cNvSpPr/>
          <p:nvPr/>
        </p:nvSpPr>
        <p:spPr>
          <a:xfrm>
            <a:off x="614363" y="5214446"/>
            <a:ext cx="1321260" cy="311253"/>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e Questions/Needs</a:t>
            </a:r>
          </a:p>
        </p:txBody>
      </p:sp>
      <p:sp>
        <p:nvSpPr>
          <p:cNvPr id="3" name="Rectangle 2">
            <a:extLst>
              <a:ext uri="{FF2B5EF4-FFF2-40B4-BE49-F238E27FC236}">
                <a16:creationId xmlns:a16="http://schemas.microsoft.com/office/drawing/2014/main" id="{379E4CA3-D163-4680-A0FD-BCB1ADDB3D0E}"/>
              </a:ext>
            </a:extLst>
          </p:cNvPr>
          <p:cNvSpPr/>
          <p:nvPr/>
        </p:nvSpPr>
        <p:spPr>
          <a:xfrm>
            <a:off x="2820972" y="4537963"/>
            <a:ext cx="6110462" cy="912974"/>
          </a:xfrm>
          <a:prstGeom prst="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e Data Management Role:  (Exists as Silo)</a:t>
            </a:r>
          </a:p>
          <a:p>
            <a:pPr algn="ctr"/>
            <a:r>
              <a:rPr lang="en-US" sz="1200" dirty="0"/>
              <a:t>Data Sources, MMS, SQL tables, Query tools, and what’s called Feature Extraction in the form of Reports/Tables/some charts</a:t>
            </a:r>
            <a:endParaRPr lang="en-US" sz="1350" dirty="0"/>
          </a:p>
        </p:txBody>
      </p:sp>
      <p:sp>
        <p:nvSpPr>
          <p:cNvPr id="4" name="Rectangle 3">
            <a:extLst>
              <a:ext uri="{FF2B5EF4-FFF2-40B4-BE49-F238E27FC236}">
                <a16:creationId xmlns:a16="http://schemas.microsoft.com/office/drawing/2014/main" id="{B307EFBE-E10F-456E-91B0-83CCE4F54843}"/>
              </a:ext>
            </a:extLst>
          </p:cNvPr>
          <p:cNvSpPr/>
          <p:nvPr/>
        </p:nvSpPr>
        <p:spPr>
          <a:xfrm>
            <a:off x="2959950" y="4273431"/>
            <a:ext cx="5832505" cy="264533"/>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accent3">
                    <a:lumMod val="50000"/>
                  </a:schemeClr>
                </a:solidFill>
              </a:rPr>
              <a:t>User Interface to Power BI output:  (Data Management Role)</a:t>
            </a:r>
          </a:p>
        </p:txBody>
      </p:sp>
      <p:sp>
        <p:nvSpPr>
          <p:cNvPr id="5" name="Rectangle 4">
            <a:extLst>
              <a:ext uri="{FF2B5EF4-FFF2-40B4-BE49-F238E27FC236}">
                <a16:creationId xmlns:a16="http://schemas.microsoft.com/office/drawing/2014/main" id="{27A2F590-2696-48F7-9ADB-5EF7EC7FAA3E}"/>
              </a:ext>
            </a:extLst>
          </p:cNvPr>
          <p:cNvSpPr/>
          <p:nvPr/>
        </p:nvSpPr>
        <p:spPr>
          <a:xfrm>
            <a:off x="5020554" y="3760684"/>
            <a:ext cx="1536208" cy="512747"/>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The Analyst Role: doesn’t exist yet</a:t>
            </a:r>
          </a:p>
        </p:txBody>
      </p:sp>
      <p:sp>
        <p:nvSpPr>
          <p:cNvPr id="15" name="Rectangle 14">
            <a:extLst>
              <a:ext uri="{FF2B5EF4-FFF2-40B4-BE49-F238E27FC236}">
                <a16:creationId xmlns:a16="http://schemas.microsoft.com/office/drawing/2014/main" id="{E589AA15-F89E-4E75-BC45-2C728A960B81}"/>
              </a:ext>
            </a:extLst>
          </p:cNvPr>
          <p:cNvSpPr/>
          <p:nvPr/>
        </p:nvSpPr>
        <p:spPr>
          <a:xfrm>
            <a:off x="5256681" y="2504452"/>
            <a:ext cx="1063952" cy="124406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The Implementation Science and Benefits Realization Role doesn’t exist yet (PMO)</a:t>
            </a:r>
          </a:p>
        </p:txBody>
      </p:sp>
      <p:sp>
        <p:nvSpPr>
          <p:cNvPr id="6" name="Arrow: Right 5">
            <a:extLst>
              <a:ext uri="{FF2B5EF4-FFF2-40B4-BE49-F238E27FC236}">
                <a16:creationId xmlns:a16="http://schemas.microsoft.com/office/drawing/2014/main" id="{126535E6-EB33-4A38-B5FB-FD0610286174}"/>
              </a:ext>
            </a:extLst>
          </p:cNvPr>
          <p:cNvSpPr/>
          <p:nvPr/>
        </p:nvSpPr>
        <p:spPr>
          <a:xfrm>
            <a:off x="6573899" y="3808720"/>
            <a:ext cx="1337547" cy="3634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Arrow: Right 16">
            <a:extLst>
              <a:ext uri="{FF2B5EF4-FFF2-40B4-BE49-F238E27FC236}">
                <a16:creationId xmlns:a16="http://schemas.microsoft.com/office/drawing/2014/main" id="{9CBACA22-DB04-4B76-9BF2-665F9E46EE1E}"/>
              </a:ext>
            </a:extLst>
          </p:cNvPr>
          <p:cNvSpPr/>
          <p:nvPr/>
        </p:nvSpPr>
        <p:spPr>
          <a:xfrm rot="10800000">
            <a:off x="3657600" y="3835321"/>
            <a:ext cx="1362954" cy="3634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Arrow: Right 7">
            <a:extLst>
              <a:ext uri="{FF2B5EF4-FFF2-40B4-BE49-F238E27FC236}">
                <a16:creationId xmlns:a16="http://schemas.microsoft.com/office/drawing/2014/main" id="{119302E3-8F16-4C0A-A906-7958390D54CE}"/>
              </a:ext>
            </a:extLst>
          </p:cNvPr>
          <p:cNvSpPr/>
          <p:nvPr/>
        </p:nvSpPr>
        <p:spPr>
          <a:xfrm rot="16200000">
            <a:off x="5421754" y="1969988"/>
            <a:ext cx="733806" cy="3634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a:extLst>
              <a:ext uri="{FF2B5EF4-FFF2-40B4-BE49-F238E27FC236}">
                <a16:creationId xmlns:a16="http://schemas.microsoft.com/office/drawing/2014/main" id="{42F3CD57-01B5-4B77-B718-E01A2D045963}"/>
              </a:ext>
            </a:extLst>
          </p:cNvPr>
          <p:cNvSpPr/>
          <p:nvPr/>
        </p:nvSpPr>
        <p:spPr>
          <a:xfrm>
            <a:off x="2811919" y="1679014"/>
            <a:ext cx="2102987" cy="1811109"/>
          </a:xfrm>
          <a:prstGeom prst="rect">
            <a:avLst/>
          </a:prstGeom>
          <a:solidFill>
            <a:schemeClr val="accent2">
              <a:lumMod val="75000"/>
            </a:schemeClr>
          </a:solid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The BPI/Analytics Team:</a:t>
            </a:r>
          </a:p>
          <a:p>
            <a:pPr algn="ctr"/>
            <a:endParaRPr lang="en-US" sz="1350" dirty="0"/>
          </a:p>
        </p:txBody>
      </p:sp>
      <p:sp>
        <p:nvSpPr>
          <p:cNvPr id="12" name="Rectangle 11">
            <a:extLst>
              <a:ext uri="{FF2B5EF4-FFF2-40B4-BE49-F238E27FC236}">
                <a16:creationId xmlns:a16="http://schemas.microsoft.com/office/drawing/2014/main" id="{E657B75E-D9FC-4E58-A8F6-875F9AF65FF7}"/>
              </a:ext>
            </a:extLst>
          </p:cNvPr>
          <p:cNvSpPr/>
          <p:nvPr/>
        </p:nvSpPr>
        <p:spPr>
          <a:xfrm>
            <a:off x="3550778" y="5576681"/>
            <a:ext cx="5313348" cy="369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We need to get this going from top to bottom instead </a:t>
            </a:r>
            <a:r>
              <a:rPr lang="en-US" sz="1350"/>
              <a:t>of bottom to top!!</a:t>
            </a:r>
          </a:p>
        </p:txBody>
      </p:sp>
      <p:sp>
        <p:nvSpPr>
          <p:cNvPr id="7" name="Oval 6">
            <a:extLst>
              <a:ext uri="{FF2B5EF4-FFF2-40B4-BE49-F238E27FC236}">
                <a16:creationId xmlns:a16="http://schemas.microsoft.com/office/drawing/2014/main" id="{5BC1AF90-B6AD-4AFA-A215-6C2868920253}"/>
              </a:ext>
            </a:extLst>
          </p:cNvPr>
          <p:cNvSpPr/>
          <p:nvPr/>
        </p:nvSpPr>
        <p:spPr>
          <a:xfrm>
            <a:off x="212567" y="2002607"/>
            <a:ext cx="2179057" cy="2169584"/>
          </a:xfrm>
          <a:prstGeom prst="ellipse">
            <a:avLst/>
          </a:prstGeom>
          <a:solidFill>
            <a:srgbClr val="990033">
              <a:alpha val="4000"/>
            </a:srgb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0" name="Rectangle 19">
            <a:extLst>
              <a:ext uri="{FF2B5EF4-FFF2-40B4-BE49-F238E27FC236}">
                <a16:creationId xmlns:a16="http://schemas.microsoft.com/office/drawing/2014/main" id="{923F242E-918C-446D-A1EA-D3ABE7821FC2}"/>
              </a:ext>
            </a:extLst>
          </p:cNvPr>
          <p:cNvSpPr/>
          <p:nvPr/>
        </p:nvSpPr>
        <p:spPr>
          <a:xfrm>
            <a:off x="6710962" y="1472605"/>
            <a:ext cx="2102987" cy="2275913"/>
          </a:xfrm>
          <a:prstGeom prst="rect">
            <a:avLst/>
          </a:prstGeom>
          <a:solidFill>
            <a:schemeClr val="accent2">
              <a:lumMod val="75000"/>
            </a:schemeClr>
          </a:solid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The BPI/Analytics Support Team:</a:t>
            </a:r>
          </a:p>
          <a:p>
            <a:pPr algn="ctr"/>
            <a:endParaRPr lang="en-US" sz="1350" dirty="0"/>
          </a:p>
        </p:txBody>
      </p:sp>
      <p:sp>
        <p:nvSpPr>
          <p:cNvPr id="9" name="Oval 8">
            <a:extLst>
              <a:ext uri="{FF2B5EF4-FFF2-40B4-BE49-F238E27FC236}">
                <a16:creationId xmlns:a16="http://schemas.microsoft.com/office/drawing/2014/main" id="{660D25B4-D341-D864-212C-10476C955BEA}"/>
              </a:ext>
            </a:extLst>
          </p:cNvPr>
          <p:cNvSpPr/>
          <p:nvPr/>
        </p:nvSpPr>
        <p:spPr>
          <a:xfrm>
            <a:off x="2286000" y="990600"/>
            <a:ext cx="7162800" cy="3294996"/>
          </a:xfrm>
          <a:prstGeom prst="ellipse">
            <a:avLst/>
          </a:prstGeom>
          <a:solidFill>
            <a:srgbClr val="C00000">
              <a:alpha val="26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63373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172E6-EB4D-4CA9-B032-D89C0DD951AC}"/>
              </a:ext>
            </a:extLst>
          </p:cNvPr>
          <p:cNvSpPr>
            <a:spLocks noGrp="1"/>
          </p:cNvSpPr>
          <p:nvPr>
            <p:ph type="title"/>
          </p:nvPr>
        </p:nvSpPr>
        <p:spPr>
          <a:xfrm>
            <a:off x="439935" y="413646"/>
            <a:ext cx="8264129" cy="600920"/>
          </a:xfrm>
        </p:spPr>
        <p:txBody>
          <a:bodyPr>
            <a:noAutofit/>
          </a:bodyPr>
          <a:lstStyle/>
          <a:p>
            <a:r>
              <a:rPr lang="en-US" sz="2100" dirty="0"/>
              <a:t>Getting to Visualizations that create insights (aha moments) that provoke timely decisions and actions and improvements is the key</a:t>
            </a:r>
            <a:endParaRPr lang="en-CA" sz="2100" dirty="0"/>
          </a:p>
        </p:txBody>
      </p:sp>
      <p:sp>
        <p:nvSpPr>
          <p:cNvPr id="4" name="Slide Number Placeholder 3">
            <a:extLst>
              <a:ext uri="{FF2B5EF4-FFF2-40B4-BE49-F238E27FC236}">
                <a16:creationId xmlns:a16="http://schemas.microsoft.com/office/drawing/2014/main" id="{98681A5D-5099-4F5A-B20A-B41465BD82BD}"/>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02F7A02-EF0D-4D82-9BFD-3DDF074AABBD}" type="slidenum">
              <a:rPr kumimoji="0" lang="en-CA" sz="900" b="0" i="0" u="none" strike="noStrike" kern="1200" cap="none" spc="0" normalizeH="0" baseline="0" noProof="0" smtClean="0">
                <a:ln>
                  <a:noFill/>
                </a:ln>
                <a:solidFill>
                  <a:prstClr val="black">
                    <a:tint val="75000"/>
                  </a:prstClr>
                </a:solidFill>
                <a:effectLst/>
                <a:uLnTx/>
                <a:uFillTx/>
                <a:latin typeface="Open Sans"/>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en-CA" sz="900" b="0" i="0" u="none" strike="noStrike" kern="1200" cap="none" spc="0" normalizeH="0" baseline="0" noProof="0" dirty="0">
              <a:ln>
                <a:noFill/>
              </a:ln>
              <a:solidFill>
                <a:prstClr val="black">
                  <a:tint val="75000"/>
                </a:prstClr>
              </a:solidFill>
              <a:effectLst/>
              <a:uLnTx/>
              <a:uFillTx/>
              <a:latin typeface="Open Sans"/>
              <a:ea typeface="+mn-ea"/>
              <a:cs typeface="+mn-cs"/>
            </a:endParaRPr>
          </a:p>
        </p:txBody>
      </p:sp>
      <p:pic>
        <p:nvPicPr>
          <p:cNvPr id="13" name="Picture 12">
            <a:extLst>
              <a:ext uri="{FF2B5EF4-FFF2-40B4-BE49-F238E27FC236}">
                <a16:creationId xmlns:a16="http://schemas.microsoft.com/office/drawing/2014/main" id="{2D6B5E61-311A-4087-969B-D1CED99EAB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5268" y="6218636"/>
            <a:ext cx="2483698" cy="164665"/>
          </a:xfrm>
          <a:prstGeom prst="rect">
            <a:avLst/>
          </a:prstGeom>
        </p:spPr>
      </p:pic>
      <p:grpSp>
        <p:nvGrpSpPr>
          <p:cNvPr id="20" name="Group 19">
            <a:extLst>
              <a:ext uri="{FF2B5EF4-FFF2-40B4-BE49-F238E27FC236}">
                <a16:creationId xmlns:a16="http://schemas.microsoft.com/office/drawing/2014/main" id="{A565A9EC-7D77-4424-9C33-3CA5D15B4ADA}"/>
              </a:ext>
            </a:extLst>
          </p:cNvPr>
          <p:cNvGrpSpPr/>
          <p:nvPr/>
        </p:nvGrpSpPr>
        <p:grpSpPr>
          <a:xfrm>
            <a:off x="5127414" y="2474226"/>
            <a:ext cx="3352800" cy="1909549"/>
            <a:chOff x="4800600" y="2514600"/>
            <a:chExt cx="4044950" cy="3135313"/>
          </a:xfrm>
        </p:grpSpPr>
        <p:pic>
          <p:nvPicPr>
            <p:cNvPr id="21" name="Picture 2">
              <a:extLst>
                <a:ext uri="{FF2B5EF4-FFF2-40B4-BE49-F238E27FC236}">
                  <a16:creationId xmlns:a16="http://schemas.microsoft.com/office/drawing/2014/main" id="{B79618EE-9FBE-43D8-B310-D4C51E1773B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800600" y="2514600"/>
              <a:ext cx="4044950" cy="313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Connector 21">
              <a:extLst>
                <a:ext uri="{FF2B5EF4-FFF2-40B4-BE49-F238E27FC236}">
                  <a16:creationId xmlns:a16="http://schemas.microsoft.com/office/drawing/2014/main" id="{5CE2CCB5-B643-42D3-835D-A44A15A8164B}"/>
                </a:ext>
              </a:extLst>
            </p:cNvPr>
            <p:cNvCxnSpPr/>
            <p:nvPr/>
          </p:nvCxnSpPr>
          <p:spPr>
            <a:xfrm>
              <a:off x="5029199" y="4267200"/>
              <a:ext cx="35052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Up Arrow 10">
              <a:extLst>
                <a:ext uri="{FF2B5EF4-FFF2-40B4-BE49-F238E27FC236}">
                  <a16:creationId xmlns:a16="http://schemas.microsoft.com/office/drawing/2014/main" id="{C7DFDB5F-A410-4E77-8DC6-690869297D0A}"/>
                </a:ext>
              </a:extLst>
            </p:cNvPr>
            <p:cNvSpPr/>
            <p:nvPr/>
          </p:nvSpPr>
          <p:spPr>
            <a:xfrm>
              <a:off x="7848600" y="3103848"/>
              <a:ext cx="484632" cy="978408"/>
            </a:xfrm>
            <a:prstGeom prst="upArrow">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1800">
                <a:solidFill>
                  <a:srgbClr val="FFFFFF"/>
                </a:solidFill>
              </a:endParaRPr>
            </a:p>
          </p:txBody>
        </p:sp>
      </p:grpSp>
      <p:sp>
        <p:nvSpPr>
          <p:cNvPr id="24" name="Rectangle 23">
            <a:extLst>
              <a:ext uri="{FF2B5EF4-FFF2-40B4-BE49-F238E27FC236}">
                <a16:creationId xmlns:a16="http://schemas.microsoft.com/office/drawing/2014/main" id="{FB0033A8-A525-4CD7-9D36-C762174413F8}"/>
              </a:ext>
            </a:extLst>
          </p:cNvPr>
          <p:cNvSpPr/>
          <p:nvPr/>
        </p:nvSpPr>
        <p:spPr>
          <a:xfrm>
            <a:off x="3315692" y="4517035"/>
            <a:ext cx="5642414" cy="1981312"/>
          </a:xfrm>
          <a:prstGeom prst="rect">
            <a:avLst/>
          </a:prstGeom>
        </p:spPr>
        <p:txBody>
          <a:bodyPr wrap="square">
            <a:spAutoFit/>
          </a:bodyPr>
          <a:lstStyle/>
          <a:p>
            <a:pPr marL="0" marR="0" lvl="0" indent="0" algn="l" defTabSz="685800" rtl="0" eaLnBrk="1" fontAlgn="auto" latinLnBrk="0" hangingPunct="1">
              <a:lnSpc>
                <a:spcPct val="150000"/>
              </a:lnSpc>
              <a:spcBef>
                <a:spcPts val="0"/>
              </a:spcBef>
              <a:spcAft>
                <a:spcPts val="0"/>
              </a:spcAft>
              <a:buClr>
                <a:prstClr val="black"/>
              </a:buClr>
              <a:buSzTx/>
              <a:buFontTx/>
              <a:buNone/>
              <a:tabLst/>
              <a:defRPr/>
            </a:pPr>
            <a:r>
              <a:rPr lang="en-US" sz="1200" b="1" kern="0" dirty="0">
                <a:solidFill>
                  <a:srgbClr val="C00000"/>
                </a:solidFill>
                <a:latin typeface="Open Sans"/>
              </a:rPr>
              <a:t>Must do, Accelerate ability to cycle bottom to top on the OA Triangle</a:t>
            </a:r>
            <a:endParaRPr kumimoji="0" lang="en-US" sz="1200" b="1" i="0" u="none" strike="noStrike" kern="0" cap="none" spc="0" normalizeH="0" baseline="0" noProof="0" dirty="0">
              <a:ln>
                <a:noFill/>
              </a:ln>
              <a:solidFill>
                <a:srgbClr val="C00000"/>
              </a:solidFill>
              <a:effectLst/>
              <a:uLnTx/>
              <a:uFillTx/>
              <a:latin typeface="Open Sans"/>
              <a:ea typeface="+mn-ea"/>
            </a:endParaRPr>
          </a:p>
          <a:p>
            <a:pPr marL="0" marR="0" lvl="0" indent="0" algn="l" defTabSz="685800" rtl="0" eaLnBrk="1" fontAlgn="auto" latinLnBrk="0" hangingPunct="1">
              <a:lnSpc>
                <a:spcPct val="150000"/>
              </a:lnSpc>
              <a:spcBef>
                <a:spcPts val="0"/>
              </a:spcBef>
              <a:spcAft>
                <a:spcPts val="0"/>
              </a:spcAft>
              <a:buClr>
                <a:prstClr val="black"/>
              </a:buClr>
              <a:buSzTx/>
              <a:buFontTx/>
              <a:buNone/>
              <a:tabLst/>
              <a:defRPr/>
            </a:pPr>
            <a:endParaRPr kumimoji="0" lang="en-US" sz="450" b="1"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Open Sans"/>
                <a:ea typeface="+mn-ea"/>
                <a:cs typeface="+mn-cs"/>
              </a:rPr>
              <a:t>Improved Alignment of OA work with Strategy—better</a:t>
            </a:r>
            <a:r>
              <a:rPr kumimoji="0" lang="en-US" sz="1400" b="0" i="0" u="none" strike="noStrike" kern="0" cap="none" spc="0" normalizeH="0" noProof="0" dirty="0">
                <a:ln>
                  <a:noFill/>
                </a:ln>
                <a:solidFill>
                  <a:prstClr val="black"/>
                </a:solidFill>
                <a:effectLst/>
                <a:uLnTx/>
                <a:uFillTx/>
                <a:latin typeface="Open Sans"/>
                <a:ea typeface="+mn-ea"/>
                <a:cs typeface="+mn-cs"/>
              </a:rPr>
              <a:t> portfolios due to</a:t>
            </a:r>
            <a:r>
              <a:rPr lang="en-US" sz="1400" kern="0" dirty="0">
                <a:solidFill>
                  <a:prstClr val="black"/>
                </a:solidFill>
                <a:latin typeface="Open Sans"/>
                <a:ea typeface="+mn-ea"/>
              </a:rPr>
              <a:t> leveraging better OA</a:t>
            </a:r>
            <a:endParaRPr kumimoji="0" lang="en-US" sz="800" b="0"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lang="en-US" sz="1400" kern="0" dirty="0">
                <a:solidFill>
                  <a:prstClr val="black"/>
                </a:solidFill>
                <a:latin typeface="Open Sans"/>
              </a:rPr>
              <a:t>integrate data creatively, from multiple sources, rapidly using best tools available</a:t>
            </a:r>
            <a:endParaRPr kumimoji="0" lang="en-US" sz="800" b="0"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Open Sans"/>
                <a:ea typeface="+mn-ea"/>
                <a:cs typeface="+mn-cs"/>
              </a:rPr>
              <a:t>Visualizations </a:t>
            </a:r>
            <a:r>
              <a:rPr kumimoji="0" lang="en-US" sz="1400" b="0" i="0" u="sng" strike="noStrike" kern="0" cap="none" spc="0" normalizeH="0" baseline="0" noProof="0" dirty="0">
                <a:ln>
                  <a:noFill/>
                </a:ln>
                <a:solidFill>
                  <a:prstClr val="black"/>
                </a:solidFill>
                <a:effectLst/>
                <a:uLnTx/>
                <a:uFillTx/>
                <a:latin typeface="Open Sans"/>
                <a:ea typeface="+mn-ea"/>
                <a:cs typeface="+mn-cs"/>
              </a:rPr>
              <a:t>mus</a:t>
            </a:r>
            <a:r>
              <a:rPr kumimoji="0" lang="en-US" sz="1400" b="0" i="0" u="none" strike="noStrike" kern="0" cap="none" spc="0" normalizeH="0" baseline="0" noProof="0" dirty="0">
                <a:ln>
                  <a:noFill/>
                </a:ln>
                <a:solidFill>
                  <a:prstClr val="black"/>
                </a:solidFill>
                <a:effectLst/>
                <a:uLnTx/>
                <a:uFillTx/>
                <a:latin typeface="Open Sans"/>
                <a:ea typeface="+mn-ea"/>
                <a:cs typeface="+mn-cs"/>
              </a:rPr>
              <a:t>t minimize the latency to get to the </a:t>
            </a:r>
            <a:r>
              <a:rPr kumimoji="0" lang="en-US" sz="1400" b="1" i="0" u="none" strike="noStrike" kern="0" cap="none" spc="0" normalizeH="0" baseline="0" noProof="0" dirty="0">
                <a:ln>
                  <a:noFill/>
                </a:ln>
                <a:solidFill>
                  <a:prstClr val="black"/>
                </a:solidFill>
                <a:effectLst/>
                <a:uLnTx/>
                <a:uFillTx/>
                <a:latin typeface="Open Sans"/>
                <a:ea typeface="+mn-ea"/>
                <a:cs typeface="+mn-cs"/>
              </a:rPr>
              <a:t>“Ah-Ha” moment and then drive the causal chain</a:t>
            </a:r>
            <a:r>
              <a:rPr kumimoji="0" lang="en-US" sz="1400" b="1" i="0" u="none" strike="noStrike" kern="0" cap="none" spc="0" normalizeH="0" noProof="0" dirty="0">
                <a:ln>
                  <a:noFill/>
                </a:ln>
                <a:solidFill>
                  <a:prstClr val="black"/>
                </a:solidFill>
                <a:effectLst/>
                <a:uLnTx/>
                <a:uFillTx/>
                <a:latin typeface="Open Sans"/>
                <a:ea typeface="+mn-ea"/>
                <a:cs typeface="+mn-cs"/>
              </a:rPr>
              <a:t> to Benefits Realization</a:t>
            </a:r>
            <a:endParaRPr kumimoji="0" lang="en-US" sz="1400" b="1" i="0" u="none" strike="noStrike" kern="0" cap="none" spc="0" normalizeH="0" baseline="0" noProof="0" dirty="0">
              <a:ln>
                <a:noFill/>
              </a:ln>
              <a:solidFill>
                <a:prstClr val="black"/>
              </a:solidFill>
              <a:effectLst/>
              <a:uLnTx/>
              <a:uFillTx/>
              <a:latin typeface="Open Sans"/>
              <a:ea typeface="+mn-ea"/>
              <a:cs typeface="+mn-cs"/>
            </a:endParaRPr>
          </a:p>
        </p:txBody>
      </p:sp>
      <p:grpSp>
        <p:nvGrpSpPr>
          <p:cNvPr id="3" name="Group 2">
            <a:extLst>
              <a:ext uri="{FF2B5EF4-FFF2-40B4-BE49-F238E27FC236}">
                <a16:creationId xmlns:a16="http://schemas.microsoft.com/office/drawing/2014/main" id="{AB64E09E-A5A4-1A11-31F2-DB3A84131561}"/>
              </a:ext>
            </a:extLst>
          </p:cNvPr>
          <p:cNvGrpSpPr/>
          <p:nvPr/>
        </p:nvGrpSpPr>
        <p:grpSpPr>
          <a:xfrm>
            <a:off x="67567" y="1296017"/>
            <a:ext cx="4815466" cy="2830714"/>
            <a:chOff x="67567" y="1296017"/>
            <a:chExt cx="4815466" cy="2830714"/>
          </a:xfrm>
        </p:grpSpPr>
        <p:pic>
          <p:nvPicPr>
            <p:cNvPr id="19" name="Picture 2" descr="http://community.qlikview.com/servlet/JiveServlet/showImage/38-2354-7987/Analysis%2BLatency.PNG">
              <a:extLst>
                <a:ext uri="{FF2B5EF4-FFF2-40B4-BE49-F238E27FC236}">
                  <a16:creationId xmlns:a16="http://schemas.microsoft.com/office/drawing/2014/main" id="{C722F620-7C0D-4868-B175-317B4B45599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7567" y="1296017"/>
              <a:ext cx="4815466" cy="2830714"/>
            </a:xfrm>
            <a:prstGeom prst="rect">
              <a:avLst/>
            </a:prstGeom>
            <a:noFill/>
          </p:spPr>
        </p:pic>
        <p:grpSp>
          <p:nvGrpSpPr>
            <p:cNvPr id="30" name="Group 29">
              <a:extLst>
                <a:ext uri="{FF2B5EF4-FFF2-40B4-BE49-F238E27FC236}">
                  <a16:creationId xmlns:a16="http://schemas.microsoft.com/office/drawing/2014/main" id="{B47C8FCA-9581-44A5-8180-C56A6150303A}"/>
                </a:ext>
              </a:extLst>
            </p:cNvPr>
            <p:cNvGrpSpPr/>
            <p:nvPr/>
          </p:nvGrpSpPr>
          <p:grpSpPr>
            <a:xfrm>
              <a:off x="2688749" y="3910035"/>
              <a:ext cx="660433" cy="95338"/>
              <a:chOff x="4822825" y="4360865"/>
              <a:chExt cx="745331" cy="100162"/>
            </a:xfrm>
          </p:grpSpPr>
          <p:cxnSp>
            <p:nvCxnSpPr>
              <p:cNvPr id="10" name="Straight Arrow Connector 9">
                <a:extLst>
                  <a:ext uri="{FF2B5EF4-FFF2-40B4-BE49-F238E27FC236}">
                    <a16:creationId xmlns:a16="http://schemas.microsoft.com/office/drawing/2014/main" id="{1F975C84-AE78-4A8D-A399-7B8C7CD5E81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2A1C2F6-31E0-4129-A39B-6ECECC50042B}"/>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CC46EBB-4A9E-4837-8519-0B7E6B9EA0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90FEFAE-156D-4B3D-9BB9-35BB01ACAEF9}"/>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17D31DB-9B82-499E-BC20-D0F9A2B0C090}"/>
                </a:ext>
              </a:extLst>
            </p:cNvPr>
            <p:cNvGrpSpPr/>
            <p:nvPr/>
          </p:nvGrpSpPr>
          <p:grpSpPr>
            <a:xfrm>
              <a:off x="1676400" y="2785436"/>
              <a:ext cx="660433" cy="95338"/>
              <a:chOff x="4822825" y="4360865"/>
              <a:chExt cx="745331" cy="100162"/>
            </a:xfrm>
          </p:grpSpPr>
          <p:cxnSp>
            <p:nvCxnSpPr>
              <p:cNvPr id="35" name="Straight Arrow Connector 34">
                <a:extLst>
                  <a:ext uri="{FF2B5EF4-FFF2-40B4-BE49-F238E27FC236}">
                    <a16:creationId xmlns:a16="http://schemas.microsoft.com/office/drawing/2014/main" id="{2C84C461-8533-4BF7-89D9-6898BC100DA6}"/>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33C6543-59EF-477C-A5AA-89B3A115B06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CE3D64-31C3-4896-B649-92D26DDA581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113144-02A4-4914-89D1-1BC1EF75AD02}"/>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B0A4039F-5828-4F1A-B40F-0E7CC707A23B}"/>
                </a:ext>
              </a:extLst>
            </p:cNvPr>
            <p:cNvGrpSpPr/>
            <p:nvPr/>
          </p:nvGrpSpPr>
          <p:grpSpPr>
            <a:xfrm>
              <a:off x="742812" y="3344985"/>
              <a:ext cx="660433" cy="95338"/>
              <a:chOff x="4822825" y="4360865"/>
              <a:chExt cx="745331" cy="100162"/>
            </a:xfrm>
          </p:grpSpPr>
          <p:cxnSp>
            <p:nvCxnSpPr>
              <p:cNvPr id="40" name="Straight Arrow Connector 39">
                <a:extLst>
                  <a:ext uri="{FF2B5EF4-FFF2-40B4-BE49-F238E27FC236}">
                    <a16:creationId xmlns:a16="http://schemas.microsoft.com/office/drawing/2014/main" id="{01A41798-C05A-40CF-80FD-6162805EC8CE}"/>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C7903AA-D918-49D9-9FA2-5230604377EF}"/>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278B70A-799F-4456-ACC0-8A2390F820D4}"/>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8C23C8D-D101-4181-BE4C-29C491849824}"/>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77" name="Group 76">
            <a:extLst>
              <a:ext uri="{FF2B5EF4-FFF2-40B4-BE49-F238E27FC236}">
                <a16:creationId xmlns:a16="http://schemas.microsoft.com/office/drawing/2014/main" id="{30730EE6-E503-4222-ACE4-9357A863B782}"/>
              </a:ext>
            </a:extLst>
          </p:cNvPr>
          <p:cNvGrpSpPr/>
          <p:nvPr/>
        </p:nvGrpSpPr>
        <p:grpSpPr>
          <a:xfrm>
            <a:off x="5817676" y="4117302"/>
            <a:ext cx="558998" cy="75122"/>
            <a:chOff x="4822825" y="4360865"/>
            <a:chExt cx="745331" cy="100162"/>
          </a:xfrm>
        </p:grpSpPr>
        <p:cxnSp>
          <p:nvCxnSpPr>
            <p:cNvPr id="78" name="Straight Arrow Connector 77">
              <a:extLst>
                <a:ext uri="{FF2B5EF4-FFF2-40B4-BE49-F238E27FC236}">
                  <a16:creationId xmlns:a16="http://schemas.microsoft.com/office/drawing/2014/main" id="{DE93D2EF-88EB-4556-A324-2CFA6BAF7357}"/>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8C23647A-E41E-48AC-ADDB-7AE9F77FFB7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1270BBA-22E7-42F4-9626-A96990634192}"/>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1DFC259-BA17-4559-8FEE-81E94EFAFBB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DB51DBA7-7FBC-4FB7-861D-045EC90773C6}"/>
              </a:ext>
            </a:extLst>
          </p:cNvPr>
          <p:cNvGrpSpPr/>
          <p:nvPr/>
        </p:nvGrpSpPr>
        <p:grpSpPr>
          <a:xfrm>
            <a:off x="7094859" y="3939131"/>
            <a:ext cx="558998" cy="75122"/>
            <a:chOff x="4822825" y="4360865"/>
            <a:chExt cx="745331" cy="100162"/>
          </a:xfrm>
        </p:grpSpPr>
        <p:cxnSp>
          <p:nvCxnSpPr>
            <p:cNvPr id="83" name="Straight Arrow Connector 82">
              <a:extLst>
                <a:ext uri="{FF2B5EF4-FFF2-40B4-BE49-F238E27FC236}">
                  <a16:creationId xmlns:a16="http://schemas.microsoft.com/office/drawing/2014/main" id="{C78C71A9-7555-4ABC-8617-F4FDB4562B48}"/>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2B120F74-BE40-4D82-8F80-B328C4C3C749}"/>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DCB2931-BDF4-4BD8-8E5C-11BE8E70F6DA}"/>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640F46C-B62E-4F77-AB96-6A61CCF2EDF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55F8986D-C88B-4A23-9196-9FFDCA78C125}"/>
              </a:ext>
            </a:extLst>
          </p:cNvPr>
          <p:cNvGrpSpPr/>
          <p:nvPr/>
        </p:nvGrpSpPr>
        <p:grpSpPr>
          <a:xfrm>
            <a:off x="5857399" y="3773753"/>
            <a:ext cx="558998" cy="75122"/>
            <a:chOff x="4822825" y="4360865"/>
            <a:chExt cx="745331" cy="100162"/>
          </a:xfrm>
        </p:grpSpPr>
        <p:cxnSp>
          <p:nvCxnSpPr>
            <p:cNvPr id="88" name="Straight Arrow Connector 87">
              <a:extLst>
                <a:ext uri="{FF2B5EF4-FFF2-40B4-BE49-F238E27FC236}">
                  <a16:creationId xmlns:a16="http://schemas.microsoft.com/office/drawing/2014/main" id="{8E53117B-D7A8-4ED8-B082-16F6D996E583}"/>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6A59F32B-2BA2-488F-AA71-9BE41E2BAF5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353373B-B0CC-4BC3-A23C-D89FE759FAA0}"/>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19FCAFC-2842-427E-81D0-249E61BCA680}"/>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00959837-2DF4-4D39-8A8B-A1197DC048C2}"/>
              </a:ext>
            </a:extLst>
          </p:cNvPr>
          <p:cNvGrpSpPr/>
          <p:nvPr/>
        </p:nvGrpSpPr>
        <p:grpSpPr>
          <a:xfrm>
            <a:off x="6490102" y="3595658"/>
            <a:ext cx="558998" cy="75122"/>
            <a:chOff x="4822825" y="4360865"/>
            <a:chExt cx="745331" cy="100162"/>
          </a:xfrm>
        </p:grpSpPr>
        <p:cxnSp>
          <p:nvCxnSpPr>
            <p:cNvPr id="93" name="Straight Arrow Connector 92">
              <a:extLst>
                <a:ext uri="{FF2B5EF4-FFF2-40B4-BE49-F238E27FC236}">
                  <a16:creationId xmlns:a16="http://schemas.microsoft.com/office/drawing/2014/main" id="{5898F972-B2A2-42E0-9AF1-4D976071135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9BB780AE-C505-4225-8644-16D98C090B57}"/>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36BEF3B-23C6-4517-A260-6D4B3D0D6B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FA88176-F8F9-4D18-9C56-EDA47EED61DD}"/>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985049C8-BDEC-4DC1-BA53-C038BBC14D3B}"/>
              </a:ext>
            </a:extLst>
          </p:cNvPr>
          <p:cNvGrpSpPr/>
          <p:nvPr/>
        </p:nvGrpSpPr>
        <p:grpSpPr>
          <a:xfrm>
            <a:off x="7134895" y="3630004"/>
            <a:ext cx="558998" cy="75122"/>
            <a:chOff x="4822825" y="4360865"/>
            <a:chExt cx="745331" cy="100162"/>
          </a:xfrm>
        </p:grpSpPr>
        <p:cxnSp>
          <p:nvCxnSpPr>
            <p:cNvPr id="98" name="Straight Arrow Connector 97">
              <a:extLst>
                <a:ext uri="{FF2B5EF4-FFF2-40B4-BE49-F238E27FC236}">
                  <a16:creationId xmlns:a16="http://schemas.microsoft.com/office/drawing/2014/main" id="{2AC8C612-786A-4AF0-99FE-31CDC68A7214}"/>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6C42E9A-98F1-44D3-8B5A-5702857BB5A3}"/>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6D0C2A0-3E0B-42E0-9E21-60DC3012C16C}"/>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F0B4836-1F23-4198-954E-58E40DB3E565}"/>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44B2712D-FB6D-4F99-8313-1078A2611424}"/>
              </a:ext>
            </a:extLst>
          </p:cNvPr>
          <p:cNvGrpSpPr/>
          <p:nvPr/>
        </p:nvGrpSpPr>
        <p:grpSpPr>
          <a:xfrm>
            <a:off x="6535861" y="3269975"/>
            <a:ext cx="558998" cy="75122"/>
            <a:chOff x="4822825" y="4360865"/>
            <a:chExt cx="745331" cy="100162"/>
          </a:xfrm>
        </p:grpSpPr>
        <p:cxnSp>
          <p:nvCxnSpPr>
            <p:cNvPr id="103" name="Straight Arrow Connector 102">
              <a:extLst>
                <a:ext uri="{FF2B5EF4-FFF2-40B4-BE49-F238E27FC236}">
                  <a16:creationId xmlns:a16="http://schemas.microsoft.com/office/drawing/2014/main" id="{730AF135-5BDD-450D-B17C-766AA60D83BA}"/>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5F09386F-15DC-45C8-ADA9-C9D94762B5D9}"/>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5DD4A25-D288-4A33-B0D8-21454E522977}"/>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7743AF8-D821-4839-B3C6-848AE6F7CF28}"/>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9C4EA2A9-8984-4347-802C-41FD93AE3B28}"/>
              </a:ext>
            </a:extLst>
          </p:cNvPr>
          <p:cNvGrpSpPr/>
          <p:nvPr/>
        </p:nvGrpSpPr>
        <p:grpSpPr>
          <a:xfrm>
            <a:off x="6524315" y="2930603"/>
            <a:ext cx="558998" cy="75122"/>
            <a:chOff x="4822825" y="4360865"/>
            <a:chExt cx="745331" cy="100162"/>
          </a:xfrm>
        </p:grpSpPr>
        <p:cxnSp>
          <p:nvCxnSpPr>
            <p:cNvPr id="108" name="Straight Arrow Connector 107">
              <a:extLst>
                <a:ext uri="{FF2B5EF4-FFF2-40B4-BE49-F238E27FC236}">
                  <a16:creationId xmlns:a16="http://schemas.microsoft.com/office/drawing/2014/main" id="{E1FBD479-BF39-46C5-BC2D-E03A6C273745}"/>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E7BE9F9-D2F3-4734-AE23-D4261BB61256}"/>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8BC02C4-97D5-42C0-B7B2-69DF951DBBB3}"/>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C8242A-90C6-4DF3-8D1C-A432FB01EE5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5B5EEDAB-57BA-4831-85D0-1C9E316A424D}"/>
              </a:ext>
            </a:extLst>
          </p:cNvPr>
          <p:cNvGrpSpPr/>
          <p:nvPr/>
        </p:nvGrpSpPr>
        <p:grpSpPr>
          <a:xfrm>
            <a:off x="6525187" y="2679838"/>
            <a:ext cx="558998" cy="75122"/>
            <a:chOff x="4822825" y="4360865"/>
            <a:chExt cx="745331" cy="100162"/>
          </a:xfrm>
        </p:grpSpPr>
        <p:cxnSp>
          <p:nvCxnSpPr>
            <p:cNvPr id="113" name="Straight Arrow Connector 112">
              <a:extLst>
                <a:ext uri="{FF2B5EF4-FFF2-40B4-BE49-F238E27FC236}">
                  <a16:creationId xmlns:a16="http://schemas.microsoft.com/office/drawing/2014/main" id="{66BF2C92-3402-401F-B517-21A7504D6FBC}"/>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B622DD68-8D53-4A9C-BFE1-6CC20CE7C6E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41249E0-8753-49AC-9AAC-ADC86477A879}"/>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40BED79-3A96-4FCC-923D-D8D03E28A9B8}"/>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pic>
        <p:nvPicPr>
          <p:cNvPr id="1030" name="Picture 6" descr="Harness the Power of Aha! Moments to Help Your Team Learn |">
            <a:extLst>
              <a:ext uri="{FF2B5EF4-FFF2-40B4-BE49-F238E27FC236}">
                <a16:creationId xmlns:a16="http://schemas.microsoft.com/office/drawing/2014/main" id="{A9683ACE-C08E-4FCF-B9FB-5AF3710313D8}"/>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6090827" y="1116623"/>
            <a:ext cx="1376659" cy="1200513"/>
          </a:xfrm>
          <a:prstGeom prst="rect">
            <a:avLst/>
          </a:prstGeom>
          <a:noFill/>
          <a:extLst>
            <a:ext uri="{909E8E84-426E-40DD-AFC4-6F175D3DCCD1}">
              <a14:hiddenFill xmlns:a14="http://schemas.microsoft.com/office/drawing/2010/main">
                <a:solidFill>
                  <a:srgbClr val="FFFFFF"/>
                </a:solidFill>
              </a14:hiddenFill>
            </a:ext>
          </a:extLst>
        </p:spPr>
      </p:pic>
      <p:sp>
        <p:nvSpPr>
          <p:cNvPr id="70" name="Oval 69">
            <a:extLst>
              <a:ext uri="{FF2B5EF4-FFF2-40B4-BE49-F238E27FC236}">
                <a16:creationId xmlns:a16="http://schemas.microsoft.com/office/drawing/2014/main" id="{5DE7379F-A996-40A0-BBBC-7AE829C28700}"/>
              </a:ext>
            </a:extLst>
          </p:cNvPr>
          <p:cNvSpPr/>
          <p:nvPr/>
        </p:nvSpPr>
        <p:spPr>
          <a:xfrm>
            <a:off x="5869233" y="2542329"/>
            <a:ext cx="1742295" cy="967991"/>
          </a:xfrm>
          <a:prstGeom prst="ellipse">
            <a:avLst/>
          </a:prstGeom>
          <a:solidFill>
            <a:srgbClr val="C00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FA0D3A2F-8027-DC45-AEAD-FC3F0FFBF30C}"/>
              </a:ext>
            </a:extLst>
          </p:cNvPr>
          <p:cNvSpPr/>
          <p:nvPr/>
        </p:nvSpPr>
        <p:spPr>
          <a:xfrm>
            <a:off x="4090824" y="1450396"/>
            <a:ext cx="1226072" cy="9144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Timely Benefits Realization</a:t>
            </a:r>
          </a:p>
        </p:txBody>
      </p:sp>
      <p:sp>
        <p:nvSpPr>
          <p:cNvPr id="6" name="Arrow: Curved Up 5">
            <a:extLst>
              <a:ext uri="{FF2B5EF4-FFF2-40B4-BE49-F238E27FC236}">
                <a16:creationId xmlns:a16="http://schemas.microsoft.com/office/drawing/2014/main" id="{4F96F43C-B649-FF56-FC5C-8115C203242F}"/>
              </a:ext>
            </a:extLst>
          </p:cNvPr>
          <p:cNvSpPr/>
          <p:nvPr/>
        </p:nvSpPr>
        <p:spPr>
          <a:xfrm rot="18670654">
            <a:off x="4083937" y="2673700"/>
            <a:ext cx="1216152" cy="731520"/>
          </a:xfrm>
          <a:prstGeom prst="curved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272430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Effect transition="in" filter="fade">
                                      <p:cBhvr>
                                        <p:cTn id="12" dur="500"/>
                                        <p:tgtEl>
                                          <p:spTgt spid="2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xEl>
                                              <p:pRg st="2" end="2"/>
                                            </p:txEl>
                                          </p:spTgt>
                                        </p:tgtEl>
                                        <p:attrNameLst>
                                          <p:attrName>style.visibility</p:attrName>
                                        </p:attrNameLst>
                                      </p:cBhvr>
                                      <p:to>
                                        <p:strVal val="visible"/>
                                      </p:to>
                                    </p:set>
                                    <p:animEffect transition="in" filter="fade">
                                      <p:cBhvr>
                                        <p:cTn id="17" dur="500"/>
                                        <p:tgtEl>
                                          <p:spTgt spid="2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xEl>
                                              <p:pRg st="3" end="3"/>
                                            </p:txEl>
                                          </p:spTgt>
                                        </p:tgtEl>
                                        <p:attrNameLst>
                                          <p:attrName>style.visibility</p:attrName>
                                        </p:attrNameLst>
                                      </p:cBhvr>
                                      <p:to>
                                        <p:strVal val="visible"/>
                                      </p:to>
                                    </p:set>
                                    <p:animEffect transition="in" filter="fade">
                                      <p:cBhvr>
                                        <p:cTn id="22" dur="500"/>
                                        <p:tgtEl>
                                          <p:spTgt spid="2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xEl>
                                              <p:pRg st="4" end="4"/>
                                            </p:txEl>
                                          </p:spTgt>
                                        </p:tgtEl>
                                        <p:attrNameLst>
                                          <p:attrName>style.visibility</p:attrName>
                                        </p:attrNameLst>
                                      </p:cBhvr>
                                      <p:to>
                                        <p:strVal val="visible"/>
                                      </p:to>
                                    </p:set>
                                    <p:animEffect transition="in" filter="fade">
                                      <p:cBhvr>
                                        <p:cTn id="27" dur="500"/>
                                        <p:tgtEl>
                                          <p:spTgt spid="2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500"/>
                                        <p:tgtEl>
                                          <p:spTgt spid="77"/>
                                        </p:tgtEl>
                                      </p:cBhvr>
                                    </p:animEffect>
                                  </p:childTnLst>
                                </p:cTn>
                              </p:par>
                              <p:par>
                                <p:cTn id="33" presetID="10" presetClass="entr" presetSubtype="0" fill="hold" nodeType="with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fade">
                                      <p:cBhvr>
                                        <p:cTn id="35" dur="500"/>
                                        <p:tgtEl>
                                          <p:spTgt spid="82"/>
                                        </p:tgtEl>
                                      </p:cBhvr>
                                    </p:animEffect>
                                  </p:childTnLst>
                                </p:cTn>
                              </p:par>
                              <p:par>
                                <p:cTn id="36" presetID="10" presetClass="entr" presetSubtype="0" fill="hold" nodeType="withEffect">
                                  <p:stCondLst>
                                    <p:cond delay="0"/>
                                  </p:stCondLst>
                                  <p:childTnLst>
                                    <p:set>
                                      <p:cBhvr>
                                        <p:cTn id="37" dur="1" fill="hold">
                                          <p:stCondLst>
                                            <p:cond delay="0"/>
                                          </p:stCondLst>
                                        </p:cTn>
                                        <p:tgtEl>
                                          <p:spTgt spid="87"/>
                                        </p:tgtEl>
                                        <p:attrNameLst>
                                          <p:attrName>style.visibility</p:attrName>
                                        </p:attrNameLst>
                                      </p:cBhvr>
                                      <p:to>
                                        <p:strVal val="visible"/>
                                      </p:to>
                                    </p:set>
                                    <p:animEffect transition="in" filter="fade">
                                      <p:cBhvr>
                                        <p:cTn id="38" dur="500"/>
                                        <p:tgtEl>
                                          <p:spTgt spid="87"/>
                                        </p:tgtEl>
                                      </p:cBhvr>
                                    </p:animEffect>
                                  </p:childTnLst>
                                </p:cTn>
                              </p:par>
                              <p:par>
                                <p:cTn id="39" presetID="10" presetClass="entr" presetSubtype="0" fill="hold" nodeType="withEffect">
                                  <p:stCondLst>
                                    <p:cond delay="0"/>
                                  </p:stCondLst>
                                  <p:childTnLst>
                                    <p:set>
                                      <p:cBhvr>
                                        <p:cTn id="40" dur="1" fill="hold">
                                          <p:stCondLst>
                                            <p:cond delay="0"/>
                                          </p:stCondLst>
                                        </p:cTn>
                                        <p:tgtEl>
                                          <p:spTgt spid="92"/>
                                        </p:tgtEl>
                                        <p:attrNameLst>
                                          <p:attrName>style.visibility</p:attrName>
                                        </p:attrNameLst>
                                      </p:cBhvr>
                                      <p:to>
                                        <p:strVal val="visible"/>
                                      </p:to>
                                    </p:set>
                                    <p:animEffect transition="in" filter="fade">
                                      <p:cBhvr>
                                        <p:cTn id="41" dur="500"/>
                                        <p:tgtEl>
                                          <p:spTgt spid="92"/>
                                        </p:tgtEl>
                                      </p:cBhvr>
                                    </p:animEffect>
                                  </p:childTnLst>
                                </p:cTn>
                              </p:par>
                              <p:par>
                                <p:cTn id="42" presetID="10" presetClass="entr" presetSubtype="0" fill="hold" nodeType="withEffect">
                                  <p:stCondLst>
                                    <p:cond delay="0"/>
                                  </p:stCondLst>
                                  <p:childTnLst>
                                    <p:set>
                                      <p:cBhvr>
                                        <p:cTn id="43" dur="1" fill="hold">
                                          <p:stCondLst>
                                            <p:cond delay="0"/>
                                          </p:stCondLst>
                                        </p:cTn>
                                        <p:tgtEl>
                                          <p:spTgt spid="97"/>
                                        </p:tgtEl>
                                        <p:attrNameLst>
                                          <p:attrName>style.visibility</p:attrName>
                                        </p:attrNameLst>
                                      </p:cBhvr>
                                      <p:to>
                                        <p:strVal val="visible"/>
                                      </p:to>
                                    </p:set>
                                    <p:animEffect transition="in" filter="fade">
                                      <p:cBhvr>
                                        <p:cTn id="44" dur="500"/>
                                        <p:tgtEl>
                                          <p:spTgt spid="97"/>
                                        </p:tgtEl>
                                      </p:cBhvr>
                                    </p:animEffect>
                                  </p:childTnLst>
                                </p:cTn>
                              </p:par>
                              <p:par>
                                <p:cTn id="45" presetID="10" presetClass="entr" presetSubtype="0" fill="hold" nodeType="withEffect">
                                  <p:stCondLst>
                                    <p:cond delay="0"/>
                                  </p:stCondLst>
                                  <p:childTnLst>
                                    <p:set>
                                      <p:cBhvr>
                                        <p:cTn id="46" dur="1" fill="hold">
                                          <p:stCondLst>
                                            <p:cond delay="0"/>
                                          </p:stCondLst>
                                        </p:cTn>
                                        <p:tgtEl>
                                          <p:spTgt spid="102"/>
                                        </p:tgtEl>
                                        <p:attrNameLst>
                                          <p:attrName>style.visibility</p:attrName>
                                        </p:attrNameLst>
                                      </p:cBhvr>
                                      <p:to>
                                        <p:strVal val="visible"/>
                                      </p:to>
                                    </p:set>
                                    <p:animEffect transition="in" filter="fade">
                                      <p:cBhvr>
                                        <p:cTn id="47" dur="500"/>
                                        <p:tgtEl>
                                          <p:spTgt spid="102"/>
                                        </p:tgtEl>
                                      </p:cBhvr>
                                    </p:animEffect>
                                  </p:childTnLst>
                                </p:cTn>
                              </p:par>
                              <p:par>
                                <p:cTn id="48" presetID="10" presetClass="entr" presetSubtype="0" fill="hold" nodeType="withEffect">
                                  <p:stCondLst>
                                    <p:cond delay="0"/>
                                  </p:stCondLst>
                                  <p:childTnLst>
                                    <p:set>
                                      <p:cBhvr>
                                        <p:cTn id="49" dur="1" fill="hold">
                                          <p:stCondLst>
                                            <p:cond delay="0"/>
                                          </p:stCondLst>
                                        </p:cTn>
                                        <p:tgtEl>
                                          <p:spTgt spid="107"/>
                                        </p:tgtEl>
                                        <p:attrNameLst>
                                          <p:attrName>style.visibility</p:attrName>
                                        </p:attrNameLst>
                                      </p:cBhvr>
                                      <p:to>
                                        <p:strVal val="visible"/>
                                      </p:to>
                                    </p:set>
                                    <p:animEffect transition="in" filter="fade">
                                      <p:cBhvr>
                                        <p:cTn id="50" dur="500"/>
                                        <p:tgtEl>
                                          <p:spTgt spid="107"/>
                                        </p:tgtEl>
                                      </p:cBhvr>
                                    </p:animEffect>
                                  </p:childTnLst>
                                </p:cTn>
                              </p:par>
                              <p:par>
                                <p:cTn id="51" presetID="10" presetClass="entr" presetSubtype="0" fill="hold" nodeType="withEffect">
                                  <p:stCondLst>
                                    <p:cond delay="0"/>
                                  </p:stCondLst>
                                  <p:childTnLst>
                                    <p:set>
                                      <p:cBhvr>
                                        <p:cTn id="52" dur="1" fill="hold">
                                          <p:stCondLst>
                                            <p:cond delay="0"/>
                                          </p:stCondLst>
                                        </p:cTn>
                                        <p:tgtEl>
                                          <p:spTgt spid="112"/>
                                        </p:tgtEl>
                                        <p:attrNameLst>
                                          <p:attrName>style.visibility</p:attrName>
                                        </p:attrNameLst>
                                      </p:cBhvr>
                                      <p:to>
                                        <p:strVal val="visible"/>
                                      </p:to>
                                    </p:set>
                                    <p:animEffect transition="in" filter="fade">
                                      <p:cBhvr>
                                        <p:cTn id="53" dur="500"/>
                                        <p:tgtEl>
                                          <p:spTgt spid="11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030"/>
                                        </p:tgtEl>
                                        <p:attrNameLst>
                                          <p:attrName>style.visibility</p:attrName>
                                        </p:attrNameLst>
                                      </p:cBhvr>
                                      <p:to>
                                        <p:strVal val="visible"/>
                                      </p:to>
                                    </p:set>
                                    <p:animEffect transition="in" filter="fade">
                                      <p:cBhvr>
                                        <p:cTn id="58" dur="50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60EAF-4B11-0BC2-A93E-3FFC95710549}"/>
              </a:ext>
            </a:extLst>
          </p:cNvPr>
          <p:cNvSpPr>
            <a:spLocks noGrp="1"/>
          </p:cNvSpPr>
          <p:nvPr>
            <p:ph type="title"/>
          </p:nvPr>
        </p:nvSpPr>
        <p:spPr/>
        <p:txBody>
          <a:bodyPr/>
          <a:lstStyle/>
          <a:p>
            <a:r>
              <a:rPr lang="en-US" sz="2400" dirty="0"/>
              <a:t>How do we design, develop, build and execute better ‘B’ Management Systems</a:t>
            </a:r>
          </a:p>
        </p:txBody>
      </p:sp>
      <p:sp>
        <p:nvSpPr>
          <p:cNvPr id="3" name="Content Placeholder 2">
            <a:extLst>
              <a:ext uri="{FF2B5EF4-FFF2-40B4-BE49-F238E27FC236}">
                <a16:creationId xmlns:a16="http://schemas.microsoft.com/office/drawing/2014/main" id="{FB9495F6-DA68-1D0E-B06D-FFB6B84577E4}"/>
              </a:ext>
            </a:extLst>
          </p:cNvPr>
          <p:cNvSpPr>
            <a:spLocks noGrp="1"/>
          </p:cNvSpPr>
          <p:nvPr>
            <p:ph idx="1"/>
          </p:nvPr>
        </p:nvSpPr>
        <p:spPr/>
        <p:txBody>
          <a:bodyPr/>
          <a:lstStyle/>
          <a:p>
            <a:r>
              <a:rPr lang="en-US" dirty="0"/>
              <a:t>The focus of todays OA 301 Webinar is on Synthesis and Integration:</a:t>
            </a:r>
          </a:p>
          <a:p>
            <a:endParaRPr lang="en-US" dirty="0"/>
          </a:p>
          <a:p>
            <a:pPr lvl="1"/>
            <a:r>
              <a:rPr lang="en-US" dirty="0"/>
              <a:t>Why does this matter, what’s the Purpose, Why is this important?</a:t>
            </a:r>
          </a:p>
          <a:p>
            <a:pPr lvl="1"/>
            <a:endParaRPr lang="en-US" dirty="0"/>
          </a:p>
          <a:p>
            <a:pPr lvl="1"/>
            <a:r>
              <a:rPr lang="en-US" dirty="0"/>
              <a:t>How do we go about Engineering better Management Systems that will drive performance and process improvement faster and better?</a:t>
            </a:r>
          </a:p>
          <a:p>
            <a:pPr marL="446087" lvl="1" indent="0">
              <a:buNone/>
            </a:pPr>
            <a:endParaRPr lang="en-US" dirty="0"/>
          </a:p>
          <a:p>
            <a:pPr lvl="1"/>
            <a:r>
              <a:rPr lang="en-US" dirty="0"/>
              <a:t>What are the system components for a ‘Great’ BPI/</a:t>
            </a:r>
            <a:r>
              <a:rPr lang="en-US" dirty="0" err="1"/>
              <a:t>Org’l</a:t>
            </a:r>
            <a:r>
              <a:rPr lang="en-US" dirty="0"/>
              <a:t> Excellence Program/System that need to be ‘built out’ and integrated?</a:t>
            </a:r>
          </a:p>
          <a:p>
            <a:pPr lvl="1"/>
            <a:endParaRPr lang="en-US" dirty="0"/>
          </a:p>
          <a:p>
            <a:pPr lvl="1"/>
            <a:r>
              <a:rPr lang="en-US" dirty="0"/>
              <a:t>How do we make all this doable, less overwhelming?</a:t>
            </a:r>
          </a:p>
          <a:p>
            <a:pPr lvl="1"/>
            <a:endParaRPr lang="en-US" dirty="0"/>
          </a:p>
          <a:p>
            <a:pPr lvl="1"/>
            <a:r>
              <a:rPr lang="en-US" dirty="0"/>
              <a:t>What are the Pragmatic First Steps?</a:t>
            </a:r>
          </a:p>
          <a:p>
            <a:pPr lvl="1"/>
            <a:endParaRPr lang="en-US" dirty="0"/>
          </a:p>
          <a:p>
            <a:pPr lvl="1"/>
            <a:r>
              <a:rPr lang="en-US" dirty="0"/>
              <a:t>On to an ISE view of AI…..</a:t>
            </a:r>
          </a:p>
        </p:txBody>
      </p:sp>
      <p:sp>
        <p:nvSpPr>
          <p:cNvPr id="4" name="Rectangle: Rounded Corners 3">
            <a:extLst>
              <a:ext uri="{FF2B5EF4-FFF2-40B4-BE49-F238E27FC236}">
                <a16:creationId xmlns:a16="http://schemas.microsoft.com/office/drawing/2014/main" id="{F9C14737-400F-AD0C-2BAA-D809C411A7DF}"/>
              </a:ext>
            </a:extLst>
          </p:cNvPr>
          <p:cNvSpPr/>
          <p:nvPr/>
        </p:nvSpPr>
        <p:spPr bwMode="auto">
          <a:xfrm>
            <a:off x="381000" y="3253581"/>
            <a:ext cx="7772400" cy="609600"/>
          </a:xfrm>
          <a:prstGeom prst="roundRect">
            <a:avLst/>
          </a:prstGeom>
          <a:solidFill>
            <a:schemeClr val="accent1">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30965465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610A0C-64D7-E922-6B60-22709B929B93}"/>
              </a:ext>
            </a:extLst>
          </p:cNvPr>
          <p:cNvSpPr>
            <a:spLocks noGrp="1"/>
          </p:cNvSpPr>
          <p:nvPr>
            <p:ph type="title"/>
          </p:nvPr>
        </p:nvSpPr>
        <p:spPr>
          <a:xfrm>
            <a:off x="342900" y="104440"/>
            <a:ext cx="6477000" cy="685800"/>
          </a:xfrm>
        </p:spPr>
        <p:txBody>
          <a:bodyPr/>
          <a:lstStyle/>
          <a:p>
            <a:r>
              <a:rPr lang="en-US" dirty="0"/>
              <a:t>What are the components of the ‘Management System’ (‘B’)</a:t>
            </a:r>
          </a:p>
        </p:txBody>
      </p:sp>
      <p:graphicFrame>
        <p:nvGraphicFramePr>
          <p:cNvPr id="4" name="Content Placeholder 3">
            <a:extLst>
              <a:ext uri="{FF2B5EF4-FFF2-40B4-BE49-F238E27FC236}">
                <a16:creationId xmlns:a16="http://schemas.microsoft.com/office/drawing/2014/main" id="{17842211-7447-E467-2C28-EF8008ACBDF6}"/>
              </a:ext>
            </a:extLst>
          </p:cNvPr>
          <p:cNvGraphicFramePr>
            <a:graphicFrameLocks noGrp="1"/>
          </p:cNvGraphicFramePr>
          <p:nvPr>
            <p:ph idx="1"/>
            <p:extLst>
              <p:ext uri="{D42A27DB-BD31-4B8C-83A1-F6EECF244321}">
                <p14:modId xmlns:p14="http://schemas.microsoft.com/office/powerpoint/2010/main" val="2957035855"/>
              </p:ext>
            </p:extLst>
          </p:nvPr>
        </p:nvGraphicFramePr>
        <p:xfrm>
          <a:off x="228600" y="15240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a:extLst>
              <a:ext uri="{FF2B5EF4-FFF2-40B4-BE49-F238E27FC236}">
                <a16:creationId xmlns:a16="http://schemas.microsoft.com/office/drawing/2014/main" id="{66BC73AD-11F1-408A-4B23-AF1CE31EAC93}"/>
              </a:ext>
            </a:extLst>
          </p:cNvPr>
          <p:cNvSpPr/>
          <p:nvPr/>
        </p:nvSpPr>
        <p:spPr bwMode="auto">
          <a:xfrm>
            <a:off x="342900" y="3558426"/>
            <a:ext cx="1676400" cy="9144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300" b="0" i="0" u="none" strike="noStrike" cap="none" normalizeH="0" baseline="0" dirty="0">
                <a:ln>
                  <a:noFill/>
                </a:ln>
                <a:solidFill>
                  <a:schemeClr val="bg1"/>
                </a:solidFill>
                <a:effectLst/>
                <a:latin typeface="Arial" charset="0"/>
                <a:ea typeface="ＭＳ Ｐゴシック" pitchFamily="1" charset="-128"/>
              </a:rPr>
              <a:t>Tiered PDSA Huddles (Communication &amp; Coordination)</a:t>
            </a:r>
          </a:p>
        </p:txBody>
      </p:sp>
      <p:sp>
        <p:nvSpPr>
          <p:cNvPr id="6" name="Rectangle 5">
            <a:extLst>
              <a:ext uri="{FF2B5EF4-FFF2-40B4-BE49-F238E27FC236}">
                <a16:creationId xmlns:a16="http://schemas.microsoft.com/office/drawing/2014/main" id="{76155232-D33C-3877-4101-8AF9FDC35278}"/>
              </a:ext>
            </a:extLst>
          </p:cNvPr>
          <p:cNvSpPr/>
          <p:nvPr/>
        </p:nvSpPr>
        <p:spPr bwMode="auto">
          <a:xfrm>
            <a:off x="1219200" y="1165974"/>
            <a:ext cx="2209800" cy="9144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300" b="0" i="0" u="none" strike="noStrike" cap="none" normalizeH="0" baseline="0" dirty="0">
                <a:ln>
                  <a:noFill/>
                </a:ln>
                <a:solidFill>
                  <a:schemeClr val="bg1"/>
                </a:solidFill>
                <a:effectLst/>
                <a:latin typeface="Arial" charset="0"/>
                <a:ea typeface="ＭＳ Ｐゴシック" pitchFamily="1" charset="-128"/>
              </a:rPr>
              <a:t>Visible Measurement Systems (Knowledge of Results, </a:t>
            </a:r>
            <a:r>
              <a:rPr kumimoji="0" lang="en-US" sz="1300" b="1" i="0" u="none" strike="noStrike" cap="none" normalizeH="0" baseline="0" dirty="0">
                <a:ln>
                  <a:noFill/>
                </a:ln>
                <a:solidFill>
                  <a:schemeClr val="bg1"/>
                </a:solidFill>
                <a:effectLst/>
                <a:latin typeface="Arial" charset="0"/>
                <a:ea typeface="ＭＳ Ｐゴシック" pitchFamily="1" charset="-128"/>
              </a:rPr>
              <a:t>Accountability)</a:t>
            </a:r>
          </a:p>
        </p:txBody>
      </p:sp>
      <p:sp>
        <p:nvSpPr>
          <p:cNvPr id="7" name="Rectangle 6">
            <a:extLst>
              <a:ext uri="{FF2B5EF4-FFF2-40B4-BE49-F238E27FC236}">
                <a16:creationId xmlns:a16="http://schemas.microsoft.com/office/drawing/2014/main" id="{F06D404F-9D85-5155-26BB-56179FD9D642}"/>
              </a:ext>
            </a:extLst>
          </p:cNvPr>
          <p:cNvSpPr/>
          <p:nvPr/>
        </p:nvSpPr>
        <p:spPr bwMode="auto">
          <a:xfrm>
            <a:off x="5328248" y="1165974"/>
            <a:ext cx="1874808" cy="9144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300" b="0" i="0" u="none" strike="noStrike" cap="none" normalizeH="0" baseline="0" dirty="0">
                <a:ln>
                  <a:noFill/>
                </a:ln>
                <a:solidFill>
                  <a:schemeClr val="bg1"/>
                </a:solidFill>
                <a:effectLst/>
                <a:latin typeface="Arial" charset="0"/>
                <a:ea typeface="ＭＳ Ｐゴシック" pitchFamily="1" charset="-128"/>
              </a:rPr>
              <a:t>Scorecards, Dashboards, Chartbooks (</a:t>
            </a:r>
            <a:r>
              <a:rPr kumimoji="0" lang="en-US" sz="1300" b="0" i="0" u="none" strike="noStrike" cap="none" normalizeH="0" baseline="0" dirty="0" err="1">
                <a:ln>
                  <a:noFill/>
                </a:ln>
                <a:solidFill>
                  <a:schemeClr val="bg1"/>
                </a:solidFill>
                <a:effectLst/>
                <a:latin typeface="Arial" charset="0"/>
                <a:ea typeface="ＭＳ Ｐゴシック" pitchFamily="1" charset="-128"/>
              </a:rPr>
              <a:t>PowerBI</a:t>
            </a:r>
            <a:r>
              <a:rPr kumimoji="0" lang="en-US" sz="1300" b="0" i="0" u="none" strike="noStrike" cap="none" normalizeH="0" baseline="0" dirty="0">
                <a:ln>
                  <a:noFill/>
                </a:ln>
                <a:solidFill>
                  <a:schemeClr val="bg1"/>
                </a:solidFill>
                <a:effectLst/>
                <a:latin typeface="Arial" charset="0"/>
                <a:ea typeface="ＭＳ Ｐゴシック" pitchFamily="1" charset="-128"/>
              </a:rPr>
              <a:t>)</a:t>
            </a:r>
          </a:p>
        </p:txBody>
      </p:sp>
      <p:sp>
        <p:nvSpPr>
          <p:cNvPr id="8" name="Rectangle 7">
            <a:extLst>
              <a:ext uri="{FF2B5EF4-FFF2-40B4-BE49-F238E27FC236}">
                <a16:creationId xmlns:a16="http://schemas.microsoft.com/office/drawing/2014/main" id="{FF4E3801-CA9D-4969-AC4A-6107AF1069A2}"/>
              </a:ext>
            </a:extLst>
          </p:cNvPr>
          <p:cNvSpPr/>
          <p:nvPr/>
        </p:nvSpPr>
        <p:spPr bwMode="auto">
          <a:xfrm>
            <a:off x="6857999" y="2595817"/>
            <a:ext cx="1295400" cy="9144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charset="0"/>
                <a:ea typeface="ＭＳ Ｐゴシック" pitchFamily="1" charset="-128"/>
              </a:rPr>
              <a:t>Agile Huddles &amp; Retrospectives (</a:t>
            </a:r>
            <a:r>
              <a:rPr lang="en-US" dirty="0" err="1">
                <a:solidFill>
                  <a:schemeClr val="bg1"/>
                </a:solidFill>
                <a:latin typeface="Arial" charset="0"/>
                <a:ea typeface="ＭＳ Ｐゴシック" pitchFamily="1" charset="-128"/>
              </a:rPr>
              <a:t>Sharepoint</a:t>
            </a:r>
            <a:r>
              <a:rPr lang="en-US" dirty="0">
                <a:solidFill>
                  <a:schemeClr val="bg1"/>
                </a:solidFill>
                <a:latin typeface="Arial" charset="0"/>
                <a:ea typeface="ＭＳ Ｐゴシック" pitchFamily="1" charset="-128"/>
              </a:rPr>
              <a:t>)</a:t>
            </a:r>
            <a:endParaRPr kumimoji="0" lang="en-US" sz="1300" b="0" i="0" u="none" strike="noStrike" cap="none" normalizeH="0" baseline="0" dirty="0">
              <a:ln>
                <a:noFill/>
              </a:ln>
              <a:solidFill>
                <a:schemeClr val="bg1"/>
              </a:solidFill>
              <a:effectLst/>
              <a:latin typeface="Arial" charset="0"/>
              <a:ea typeface="ＭＳ Ｐゴシック" pitchFamily="1" charset="-128"/>
            </a:endParaRPr>
          </a:p>
        </p:txBody>
      </p:sp>
      <p:sp>
        <p:nvSpPr>
          <p:cNvPr id="9" name="Rectangle 8">
            <a:extLst>
              <a:ext uri="{FF2B5EF4-FFF2-40B4-BE49-F238E27FC236}">
                <a16:creationId xmlns:a16="http://schemas.microsoft.com/office/drawing/2014/main" id="{8C86B1CA-2094-2C68-B0DE-19E41B089C57}"/>
              </a:ext>
            </a:extLst>
          </p:cNvPr>
          <p:cNvSpPr/>
          <p:nvPr/>
        </p:nvSpPr>
        <p:spPr bwMode="auto">
          <a:xfrm>
            <a:off x="6629400" y="4114800"/>
            <a:ext cx="1874808" cy="9144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charset="0"/>
                <a:ea typeface="ＭＳ Ｐゴシック" pitchFamily="1" charset="-128"/>
              </a:rPr>
              <a:t>Knowledge of Results, Growth Needs, Engagement </a:t>
            </a:r>
            <a:endParaRPr kumimoji="0" lang="en-US" sz="1300" b="0" i="0" u="none" strike="noStrike" cap="none" normalizeH="0" baseline="0" dirty="0">
              <a:ln>
                <a:noFill/>
              </a:ln>
              <a:solidFill>
                <a:schemeClr val="bg1"/>
              </a:solidFill>
              <a:effectLst/>
              <a:latin typeface="Arial" charset="0"/>
              <a:ea typeface="ＭＳ Ｐゴシック" pitchFamily="1" charset="-128"/>
            </a:endParaRPr>
          </a:p>
        </p:txBody>
      </p:sp>
      <p:sp>
        <p:nvSpPr>
          <p:cNvPr id="10" name="Rectangle 9">
            <a:extLst>
              <a:ext uri="{FF2B5EF4-FFF2-40B4-BE49-F238E27FC236}">
                <a16:creationId xmlns:a16="http://schemas.microsoft.com/office/drawing/2014/main" id="{0A038483-329D-F83F-F421-EE7009B45F4D}"/>
              </a:ext>
            </a:extLst>
          </p:cNvPr>
          <p:cNvSpPr/>
          <p:nvPr/>
        </p:nvSpPr>
        <p:spPr bwMode="auto">
          <a:xfrm>
            <a:off x="5361316" y="5486400"/>
            <a:ext cx="2258684" cy="9144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dirty="0">
                <a:solidFill>
                  <a:schemeClr val="bg1"/>
                </a:solidFill>
                <a:latin typeface="Arial" charset="0"/>
                <a:ea typeface="ＭＳ Ｐゴシック" pitchFamily="1" charset="-128"/>
              </a:rPr>
              <a:t>Job Enrichment (augment, enable people for them to do higher order tasks and innovate)</a:t>
            </a:r>
            <a:endParaRPr kumimoji="0" lang="en-US" sz="1300" b="0" i="0" u="none" strike="noStrike" cap="none" normalizeH="0" baseline="0" dirty="0">
              <a:ln>
                <a:noFill/>
              </a:ln>
              <a:solidFill>
                <a:schemeClr val="bg1"/>
              </a:solidFill>
              <a:effectLst/>
              <a:latin typeface="Arial" charset="0"/>
              <a:ea typeface="ＭＳ Ｐゴシック" pitchFamily="1" charset="-128"/>
            </a:endParaRPr>
          </a:p>
        </p:txBody>
      </p:sp>
      <p:sp>
        <p:nvSpPr>
          <p:cNvPr id="11" name="Rectangle 10">
            <a:extLst>
              <a:ext uri="{FF2B5EF4-FFF2-40B4-BE49-F238E27FC236}">
                <a16:creationId xmlns:a16="http://schemas.microsoft.com/office/drawing/2014/main" id="{AEB60075-E5A2-CEF7-C15D-E5B4324C1722}"/>
              </a:ext>
            </a:extLst>
          </p:cNvPr>
          <p:cNvSpPr/>
          <p:nvPr/>
        </p:nvSpPr>
        <p:spPr bwMode="auto">
          <a:xfrm>
            <a:off x="304800" y="2286000"/>
            <a:ext cx="1752600" cy="9144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b="1" dirty="0">
                <a:solidFill>
                  <a:schemeClr val="bg1"/>
                </a:solidFill>
                <a:latin typeface="Arial" charset="0"/>
                <a:ea typeface="ＭＳ Ｐゴシック" pitchFamily="1" charset="-128"/>
              </a:rPr>
              <a:t>Alignment</a:t>
            </a:r>
            <a:r>
              <a:rPr lang="en-US" dirty="0">
                <a:solidFill>
                  <a:schemeClr val="bg1"/>
                </a:solidFill>
                <a:latin typeface="Arial" charset="0"/>
                <a:ea typeface="ＭＳ Ｐゴシック" pitchFamily="1" charset="-128"/>
              </a:rPr>
              <a:t> top to bottom, front to back (e.g. Hoshin </a:t>
            </a:r>
            <a:r>
              <a:rPr lang="en-US" dirty="0" err="1">
                <a:solidFill>
                  <a:schemeClr val="bg1"/>
                </a:solidFill>
                <a:latin typeface="Arial" charset="0"/>
                <a:ea typeface="ＭＳ Ｐゴシック" pitchFamily="1" charset="-128"/>
              </a:rPr>
              <a:t>Kanri</a:t>
            </a:r>
            <a:r>
              <a:rPr lang="en-US" dirty="0">
                <a:solidFill>
                  <a:schemeClr val="bg1"/>
                </a:solidFill>
                <a:latin typeface="Arial" charset="0"/>
                <a:ea typeface="ＭＳ Ｐゴシック" pitchFamily="1" charset="-128"/>
              </a:rPr>
              <a:t>)</a:t>
            </a:r>
            <a:endParaRPr kumimoji="0" lang="en-US" sz="1300" b="0" i="0" u="none" strike="noStrike" cap="none" normalizeH="0" baseline="0" dirty="0">
              <a:ln>
                <a:noFill/>
              </a:ln>
              <a:solidFill>
                <a:schemeClr val="bg1"/>
              </a:solidFill>
              <a:effectLst/>
              <a:latin typeface="Arial" charset="0"/>
              <a:ea typeface="ＭＳ Ｐゴシック" pitchFamily="1" charset="-128"/>
            </a:endParaRPr>
          </a:p>
        </p:txBody>
      </p:sp>
      <p:sp>
        <p:nvSpPr>
          <p:cNvPr id="12" name="Rectangle 11">
            <a:extLst>
              <a:ext uri="{FF2B5EF4-FFF2-40B4-BE49-F238E27FC236}">
                <a16:creationId xmlns:a16="http://schemas.microsoft.com/office/drawing/2014/main" id="{B0986CA7-B3E5-EC20-A95F-E0171AFBCA63}"/>
              </a:ext>
            </a:extLst>
          </p:cNvPr>
          <p:cNvSpPr/>
          <p:nvPr/>
        </p:nvSpPr>
        <p:spPr bwMode="auto">
          <a:xfrm>
            <a:off x="1447800" y="5479197"/>
            <a:ext cx="1905000" cy="9144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300" b="0" i="0" u="none" strike="noStrike" cap="none" normalizeH="0" baseline="0" dirty="0">
                <a:ln>
                  <a:noFill/>
                </a:ln>
                <a:solidFill>
                  <a:schemeClr val="bg1"/>
                </a:solidFill>
                <a:effectLst/>
                <a:latin typeface="Arial" charset="0"/>
                <a:ea typeface="ＭＳ Ｐゴシック" pitchFamily="1" charset="-128"/>
              </a:rPr>
              <a:t>Augmented Processes with Tech </a:t>
            </a:r>
            <a:r>
              <a:rPr kumimoji="0" lang="en-US" sz="1300" b="0" i="0" u="none" strike="noStrike" cap="none" normalizeH="0" baseline="0" dirty="0" err="1">
                <a:ln>
                  <a:noFill/>
                </a:ln>
                <a:solidFill>
                  <a:schemeClr val="bg1"/>
                </a:solidFill>
                <a:effectLst/>
                <a:latin typeface="Arial" charset="0"/>
                <a:ea typeface="ＭＳ Ｐゴシック" pitchFamily="1" charset="-128"/>
              </a:rPr>
              <a:t>Enab</a:t>
            </a:r>
            <a:r>
              <a:rPr kumimoji="0" lang="en-US" sz="1300" b="0" i="0" u="none" strike="noStrike" cap="none" normalizeH="0" baseline="0" dirty="0">
                <a:ln>
                  <a:noFill/>
                </a:ln>
                <a:solidFill>
                  <a:schemeClr val="bg1"/>
                </a:solidFill>
                <a:effectLst/>
                <a:latin typeface="Arial" charset="0"/>
                <a:ea typeface="ＭＳ Ｐゴシック" pitchFamily="1" charset="-128"/>
              </a:rPr>
              <a:t>. (quality &amp; speed)</a:t>
            </a:r>
          </a:p>
        </p:txBody>
      </p:sp>
    </p:spTree>
    <p:extLst>
      <p:ext uri="{BB962C8B-B14F-4D97-AF65-F5344CB8AC3E}">
        <p14:creationId xmlns:p14="http://schemas.microsoft.com/office/powerpoint/2010/main" val="36172982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lide Number Placeholder 2"/>
          <p:cNvSpPr>
            <a:spLocks noGrp="1"/>
          </p:cNvSpPr>
          <p:nvPr>
            <p:ph type="sldNum" sz="quarter" idx="10"/>
          </p:nvPr>
        </p:nvSpPr>
        <p:spPr/>
        <p:txBody>
          <a:bodyPr/>
          <a:lstStyle/>
          <a:p>
            <a:fld id="{55C26D07-C333-4655-9605-032F6F3C0B15}" type="slidenum">
              <a:rPr lang="en-US" altLang="en-US">
                <a:solidFill>
                  <a:srgbClr val="FFFFFF"/>
                </a:solidFill>
              </a:rPr>
              <a:pPr/>
              <a:t>27</a:t>
            </a:fld>
            <a:endParaRPr lang="en-US" altLang="en-US">
              <a:solidFill>
                <a:srgbClr val="FFFFFF"/>
              </a:solidFill>
            </a:endParaRPr>
          </a:p>
        </p:txBody>
      </p:sp>
      <p:sp>
        <p:nvSpPr>
          <p:cNvPr id="262146" name="Rectangle 2"/>
          <p:cNvSpPr>
            <a:spLocks noChangeArrowheads="1"/>
          </p:cNvSpPr>
          <p:nvPr/>
        </p:nvSpPr>
        <p:spPr bwMode="auto">
          <a:xfrm>
            <a:off x="368300" y="241300"/>
            <a:ext cx="1841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endParaRPr lang="en-US" altLang="en-US">
              <a:solidFill>
                <a:srgbClr val="000000"/>
              </a:solidFill>
              <a:latin typeface="Arial" charset="0"/>
            </a:endParaRPr>
          </a:p>
        </p:txBody>
      </p:sp>
      <p:sp>
        <p:nvSpPr>
          <p:cNvPr id="262147" name="Rectangle 3"/>
          <p:cNvSpPr>
            <a:spLocks noChangeArrowheads="1"/>
          </p:cNvSpPr>
          <p:nvPr/>
        </p:nvSpPr>
        <p:spPr bwMode="auto">
          <a:xfrm>
            <a:off x="201613" y="241300"/>
            <a:ext cx="1841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endParaRPr lang="en-US" altLang="en-US">
              <a:solidFill>
                <a:srgbClr val="000000"/>
              </a:solidFill>
              <a:latin typeface="Arial" charset="0"/>
            </a:endParaRPr>
          </a:p>
        </p:txBody>
      </p:sp>
      <p:sp>
        <p:nvSpPr>
          <p:cNvPr id="262148" name="Rectangle 4"/>
          <p:cNvSpPr>
            <a:spLocks noChangeArrowheads="1"/>
          </p:cNvSpPr>
          <p:nvPr/>
        </p:nvSpPr>
        <p:spPr bwMode="auto">
          <a:xfrm>
            <a:off x="8101013" y="6081713"/>
            <a:ext cx="1841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endParaRPr lang="en-US" altLang="en-US">
              <a:solidFill>
                <a:srgbClr val="000000"/>
              </a:solidFill>
              <a:latin typeface="Arial" charset="0"/>
            </a:endParaRPr>
          </a:p>
        </p:txBody>
      </p:sp>
      <p:sp>
        <p:nvSpPr>
          <p:cNvPr id="262149" name="AutoShape 5"/>
          <p:cNvSpPr>
            <a:spLocks noChangeArrowheads="1"/>
          </p:cNvSpPr>
          <p:nvPr/>
        </p:nvSpPr>
        <p:spPr bwMode="auto">
          <a:xfrm>
            <a:off x="2636838" y="2159000"/>
            <a:ext cx="3725862" cy="3348038"/>
          </a:xfrm>
          <a:prstGeom prst="octagon">
            <a:avLst>
              <a:gd name="adj" fmla="val 29278"/>
            </a:avLst>
          </a:prstGeom>
          <a:solidFill>
            <a:schemeClr val="accent5">
              <a:lumMod val="25000"/>
            </a:schemeClr>
          </a:solidFill>
          <a:ln w="12700">
            <a:solidFill>
              <a:schemeClr val="tx1"/>
            </a:solidFill>
            <a:miter lim="800000"/>
            <a:headEnd/>
            <a:tailEnd/>
          </a:ln>
          <a:effectLst/>
        </p:spPr>
        <p:txBody>
          <a:bodyPr wrap="none" lIns="92075" tIns="46038" rIns="92075" bIns="46038" anchor="ctr"/>
          <a:lstStyle/>
          <a:p>
            <a:pPr algn="ctr">
              <a:spcBef>
                <a:spcPct val="50000"/>
              </a:spcBef>
            </a:pPr>
            <a:endParaRPr lang="en-US" altLang="en-US">
              <a:solidFill>
                <a:srgbClr val="000000"/>
              </a:solidFill>
              <a:latin typeface="Arial" charset="0"/>
            </a:endParaRPr>
          </a:p>
        </p:txBody>
      </p:sp>
      <p:sp>
        <p:nvSpPr>
          <p:cNvPr id="262150" name="Rectangle 6"/>
          <p:cNvSpPr>
            <a:spLocks noChangeArrowheads="1"/>
          </p:cNvSpPr>
          <p:nvPr/>
        </p:nvSpPr>
        <p:spPr bwMode="auto">
          <a:xfrm>
            <a:off x="2932113" y="1225550"/>
            <a:ext cx="3079750" cy="63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pPr algn="ctr"/>
            <a:r>
              <a:rPr lang="en-US" altLang="en-US" sz="1400" b="1">
                <a:solidFill>
                  <a:srgbClr val="000000"/>
                </a:solidFill>
                <a:latin typeface="Arial" charset="0"/>
              </a:rPr>
              <a:t>Measurement &amp; Evaluation to Support Improvement:</a:t>
            </a:r>
          </a:p>
          <a:p>
            <a:pPr algn="ctr"/>
            <a:r>
              <a:rPr lang="en-US" altLang="en-US" sz="1400" b="1">
                <a:solidFill>
                  <a:srgbClr val="000000"/>
                </a:solidFill>
                <a:latin typeface="Arial" charset="0"/>
              </a:rPr>
              <a:t>Fact/Data Based Decision-Making</a:t>
            </a:r>
          </a:p>
        </p:txBody>
      </p:sp>
      <p:sp>
        <p:nvSpPr>
          <p:cNvPr id="262151" name="Rectangle 7"/>
          <p:cNvSpPr>
            <a:spLocks noChangeArrowheads="1"/>
          </p:cNvSpPr>
          <p:nvPr/>
        </p:nvSpPr>
        <p:spPr bwMode="auto">
          <a:xfrm>
            <a:off x="5778500" y="1752600"/>
            <a:ext cx="2636838" cy="942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en-US" altLang="en-US" sz="1400" b="1">
                <a:solidFill>
                  <a:srgbClr val="000000"/>
                </a:solidFill>
                <a:latin typeface="Arial" charset="0"/>
              </a:rPr>
              <a:t>System &amp; Process </a:t>
            </a:r>
          </a:p>
          <a:p>
            <a:pPr algn="ctr"/>
            <a:r>
              <a:rPr lang="en-US" altLang="en-US" sz="1400" b="1">
                <a:solidFill>
                  <a:srgbClr val="000000"/>
                </a:solidFill>
                <a:latin typeface="Arial" charset="0"/>
              </a:rPr>
              <a:t>Improvement</a:t>
            </a:r>
          </a:p>
          <a:p>
            <a:pPr algn="ctr"/>
            <a:r>
              <a:rPr lang="en-US" altLang="en-US" sz="1400" b="1">
                <a:solidFill>
                  <a:srgbClr val="000000"/>
                </a:solidFill>
                <a:latin typeface="Arial" charset="0"/>
              </a:rPr>
              <a:t>(e.g. Business Process </a:t>
            </a:r>
          </a:p>
          <a:p>
            <a:pPr algn="ctr"/>
            <a:r>
              <a:rPr lang="en-US" altLang="en-US" sz="1400" b="1">
                <a:solidFill>
                  <a:srgbClr val="000000"/>
                </a:solidFill>
                <a:latin typeface="Arial" charset="0"/>
              </a:rPr>
              <a:t>Reengineering/Improvement)</a:t>
            </a:r>
          </a:p>
        </p:txBody>
      </p:sp>
      <p:sp>
        <p:nvSpPr>
          <p:cNvPr id="262152" name="Rectangle 8"/>
          <p:cNvSpPr>
            <a:spLocks noChangeArrowheads="1"/>
          </p:cNvSpPr>
          <p:nvPr/>
        </p:nvSpPr>
        <p:spPr bwMode="auto">
          <a:xfrm>
            <a:off x="6700838" y="3284538"/>
            <a:ext cx="2054225" cy="942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en-US" altLang="en-US" sz="1400" b="1">
                <a:solidFill>
                  <a:srgbClr val="FF0000"/>
                </a:solidFill>
                <a:latin typeface="Arial" charset="0"/>
              </a:rPr>
              <a:t>Change Leadership &amp; </a:t>
            </a:r>
          </a:p>
          <a:p>
            <a:pPr algn="ctr"/>
            <a:r>
              <a:rPr lang="en-US" altLang="en-US" sz="1400" b="1">
                <a:solidFill>
                  <a:srgbClr val="FF0000"/>
                </a:solidFill>
                <a:latin typeface="Arial" charset="0"/>
              </a:rPr>
              <a:t>Management:</a:t>
            </a:r>
          </a:p>
          <a:p>
            <a:pPr algn="ctr"/>
            <a:r>
              <a:rPr lang="en-US" altLang="en-US" sz="1400" b="1">
                <a:solidFill>
                  <a:srgbClr val="FF0000"/>
                </a:solidFill>
                <a:latin typeface="Arial" charset="0"/>
              </a:rPr>
              <a:t>Full Potential</a:t>
            </a:r>
          </a:p>
          <a:p>
            <a:pPr algn="ctr"/>
            <a:r>
              <a:rPr lang="en-US" altLang="en-US" sz="1400" b="1">
                <a:solidFill>
                  <a:srgbClr val="FF0000"/>
                </a:solidFill>
                <a:latin typeface="Arial" charset="0"/>
              </a:rPr>
              <a:t>Condition of Mind</a:t>
            </a:r>
          </a:p>
        </p:txBody>
      </p:sp>
      <p:sp>
        <p:nvSpPr>
          <p:cNvPr id="262153" name="Rectangle 9"/>
          <p:cNvSpPr>
            <a:spLocks noChangeArrowheads="1"/>
          </p:cNvSpPr>
          <p:nvPr/>
        </p:nvSpPr>
        <p:spPr bwMode="auto">
          <a:xfrm>
            <a:off x="2835275" y="5589588"/>
            <a:ext cx="3481388" cy="730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en-US" altLang="en-US" sz="1400" b="1">
                <a:solidFill>
                  <a:srgbClr val="000000"/>
                </a:solidFill>
                <a:latin typeface="Arial" charset="0"/>
              </a:rPr>
              <a:t>Information &amp; Technology Enablement </a:t>
            </a:r>
          </a:p>
          <a:p>
            <a:pPr algn="ctr"/>
            <a:r>
              <a:rPr lang="en-US" altLang="en-US" sz="1400" b="1">
                <a:solidFill>
                  <a:srgbClr val="000000"/>
                </a:solidFill>
                <a:latin typeface="Arial" charset="0"/>
              </a:rPr>
              <a:t>to Provoke Timely &amp; Effective </a:t>
            </a:r>
          </a:p>
          <a:p>
            <a:pPr algn="ctr"/>
            <a:r>
              <a:rPr lang="en-US" altLang="en-US" sz="1400" b="1">
                <a:solidFill>
                  <a:srgbClr val="000000"/>
                </a:solidFill>
                <a:latin typeface="Arial" charset="0"/>
              </a:rPr>
              <a:t>Decisions and Actions</a:t>
            </a:r>
          </a:p>
        </p:txBody>
      </p:sp>
      <p:sp>
        <p:nvSpPr>
          <p:cNvPr id="262154" name="Rectangle 10"/>
          <p:cNvSpPr>
            <a:spLocks noChangeArrowheads="1"/>
          </p:cNvSpPr>
          <p:nvPr/>
        </p:nvSpPr>
        <p:spPr bwMode="auto">
          <a:xfrm>
            <a:off x="755650" y="4800600"/>
            <a:ext cx="1984375" cy="942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en-US" altLang="en-US" sz="1400" b="1">
                <a:solidFill>
                  <a:srgbClr val="000000"/>
                </a:solidFill>
                <a:latin typeface="Arial" charset="0"/>
              </a:rPr>
              <a:t>Program &amp; Project</a:t>
            </a:r>
          </a:p>
          <a:p>
            <a:pPr algn="ctr"/>
            <a:r>
              <a:rPr lang="en-US" altLang="en-US" sz="1400" b="1">
                <a:solidFill>
                  <a:srgbClr val="000000"/>
                </a:solidFill>
                <a:latin typeface="Arial" charset="0"/>
              </a:rPr>
              <a:t>Management</a:t>
            </a:r>
          </a:p>
          <a:p>
            <a:pPr algn="ctr"/>
            <a:r>
              <a:rPr lang="en-US" altLang="en-US" sz="1400" b="1">
                <a:solidFill>
                  <a:srgbClr val="000000"/>
                </a:solidFill>
                <a:latin typeface="Arial" charset="0"/>
              </a:rPr>
              <a:t>Discipline</a:t>
            </a:r>
          </a:p>
          <a:p>
            <a:pPr algn="ctr"/>
            <a:r>
              <a:rPr lang="en-US" altLang="en-US" sz="1400" b="1">
                <a:solidFill>
                  <a:srgbClr val="000000"/>
                </a:solidFill>
                <a:latin typeface="Arial" charset="0"/>
              </a:rPr>
              <a:t>(Benefits Realization)</a:t>
            </a:r>
          </a:p>
        </p:txBody>
      </p:sp>
      <p:grpSp>
        <p:nvGrpSpPr>
          <p:cNvPr id="262155" name="Group 11"/>
          <p:cNvGrpSpPr>
            <a:grpSpLocks/>
          </p:cNvGrpSpPr>
          <p:nvPr/>
        </p:nvGrpSpPr>
        <p:grpSpPr bwMode="auto">
          <a:xfrm>
            <a:off x="2627313" y="2163763"/>
            <a:ext cx="3757612" cy="3349625"/>
            <a:chOff x="1655" y="1363"/>
            <a:chExt cx="2367" cy="2110"/>
          </a:xfrm>
        </p:grpSpPr>
        <p:sp>
          <p:nvSpPr>
            <p:cNvPr id="262156" name="Line 12"/>
            <p:cNvSpPr>
              <a:spLocks noChangeShapeType="1"/>
            </p:cNvSpPr>
            <p:nvPr/>
          </p:nvSpPr>
          <p:spPr bwMode="auto">
            <a:xfrm>
              <a:off x="2296" y="1363"/>
              <a:ext cx="1102" cy="211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endParaRPr lang="en-US" sz="1800">
                <a:solidFill>
                  <a:srgbClr val="000000"/>
                </a:solidFill>
                <a:latin typeface="Arial" charset="0"/>
              </a:endParaRPr>
            </a:p>
          </p:txBody>
        </p:sp>
        <p:sp>
          <p:nvSpPr>
            <p:cNvPr id="262157" name="Line 13"/>
            <p:cNvSpPr>
              <a:spLocks noChangeShapeType="1"/>
            </p:cNvSpPr>
            <p:nvPr/>
          </p:nvSpPr>
          <p:spPr bwMode="auto">
            <a:xfrm>
              <a:off x="1656" y="1980"/>
              <a:ext cx="2366" cy="871"/>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endParaRPr lang="en-US" sz="1800">
                <a:solidFill>
                  <a:srgbClr val="000000"/>
                </a:solidFill>
                <a:latin typeface="Arial" charset="0"/>
              </a:endParaRPr>
            </a:p>
          </p:txBody>
        </p:sp>
        <p:sp>
          <p:nvSpPr>
            <p:cNvPr id="262158" name="Line 14"/>
            <p:cNvSpPr>
              <a:spLocks noChangeShapeType="1"/>
            </p:cNvSpPr>
            <p:nvPr/>
          </p:nvSpPr>
          <p:spPr bwMode="auto">
            <a:xfrm flipV="1">
              <a:off x="1655" y="1993"/>
              <a:ext cx="2352" cy="843"/>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endParaRPr lang="en-US" sz="1800">
                <a:solidFill>
                  <a:srgbClr val="000000"/>
                </a:solidFill>
                <a:latin typeface="Arial" charset="0"/>
              </a:endParaRPr>
            </a:p>
          </p:txBody>
        </p:sp>
        <p:sp>
          <p:nvSpPr>
            <p:cNvPr id="262159" name="Line 15"/>
            <p:cNvSpPr>
              <a:spLocks noChangeShapeType="1"/>
            </p:cNvSpPr>
            <p:nvPr/>
          </p:nvSpPr>
          <p:spPr bwMode="auto">
            <a:xfrm flipV="1">
              <a:off x="2279" y="1370"/>
              <a:ext cx="1118" cy="209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endParaRPr lang="en-US" sz="1800">
                <a:solidFill>
                  <a:srgbClr val="000000"/>
                </a:solidFill>
                <a:latin typeface="Arial" charset="0"/>
              </a:endParaRPr>
            </a:p>
          </p:txBody>
        </p:sp>
      </p:grpSp>
      <p:sp>
        <p:nvSpPr>
          <p:cNvPr id="262160" name="Rectangle 16"/>
          <p:cNvSpPr>
            <a:spLocks noGrp="1" noChangeArrowheads="1"/>
          </p:cNvSpPr>
          <p:nvPr>
            <p:ph type="title"/>
          </p:nvPr>
        </p:nvSpPr>
        <p:spPr>
          <a:xfrm>
            <a:off x="2843213" y="-26988"/>
            <a:ext cx="6049962" cy="1143001"/>
          </a:xfrm>
        </p:spPr>
        <p:txBody>
          <a:bodyPr/>
          <a:lstStyle/>
          <a:p>
            <a:r>
              <a:rPr lang="en-US" altLang="en-US"/>
              <a:t>BPI Contributions to MDS Pursuit of Full Potential Performance</a:t>
            </a:r>
          </a:p>
        </p:txBody>
      </p:sp>
      <p:sp>
        <p:nvSpPr>
          <p:cNvPr id="262161" name="Rectangle 17"/>
          <p:cNvSpPr>
            <a:spLocks noChangeArrowheads="1"/>
          </p:cNvSpPr>
          <p:nvPr/>
        </p:nvSpPr>
        <p:spPr bwMode="auto">
          <a:xfrm>
            <a:off x="6163378" y="4927600"/>
            <a:ext cx="2671950"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a:r>
              <a:rPr lang="en-US" altLang="en-US" sz="1400" b="1" dirty="0">
                <a:latin typeface="Arial" charset="0"/>
              </a:rPr>
              <a:t>Stakeholder Value Exchange </a:t>
            </a:r>
          </a:p>
          <a:p>
            <a:pPr algn="ctr"/>
            <a:r>
              <a:rPr lang="en-US" altLang="en-US" sz="1400" b="1" dirty="0">
                <a:latin typeface="Arial" charset="0"/>
              </a:rPr>
              <a:t>Management</a:t>
            </a:r>
          </a:p>
        </p:txBody>
      </p:sp>
      <p:sp>
        <p:nvSpPr>
          <p:cNvPr id="262162" name="Text Box 18"/>
          <p:cNvSpPr txBox="1">
            <a:spLocks noChangeArrowheads="1"/>
          </p:cNvSpPr>
          <p:nvPr/>
        </p:nvSpPr>
        <p:spPr bwMode="auto">
          <a:xfrm>
            <a:off x="3563938" y="3357563"/>
            <a:ext cx="2160587"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07763" dir="18900000" algn="ctr" rotWithShape="0">
                    <a:schemeClr val="bg2">
                      <a:alpha val="50000"/>
                    </a:schemeClr>
                  </a:outerShdw>
                </a:effectLst>
              </a14:hiddenEffects>
            </a:ext>
          </a:extLst>
        </p:spPr>
        <p:txBody>
          <a:bodyPr>
            <a:spAutoFit/>
          </a:bodyPr>
          <a:lstStyle/>
          <a:p>
            <a:pPr algn="ctr" eaLnBrk="1" hangingPunct="1">
              <a:spcBef>
                <a:spcPct val="50000"/>
              </a:spcBef>
            </a:pPr>
            <a:r>
              <a:rPr lang="en-US" altLang="en-US" sz="2400" b="1" dirty="0">
                <a:solidFill>
                  <a:schemeClr val="bg1"/>
                </a:solidFill>
                <a:latin typeface="Arial" charset="0"/>
              </a:rPr>
              <a:t>Full Potential Performance</a:t>
            </a:r>
          </a:p>
        </p:txBody>
      </p:sp>
      <p:sp>
        <p:nvSpPr>
          <p:cNvPr id="262163" name="Rectangle 19"/>
          <p:cNvSpPr>
            <a:spLocks noChangeArrowheads="1"/>
          </p:cNvSpPr>
          <p:nvPr/>
        </p:nvSpPr>
        <p:spPr bwMode="auto">
          <a:xfrm>
            <a:off x="174625" y="1841500"/>
            <a:ext cx="3101975" cy="115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en-US" altLang="en-US" sz="1400" b="1">
                <a:solidFill>
                  <a:srgbClr val="000000"/>
                </a:solidFill>
                <a:latin typeface="Arial" charset="0"/>
              </a:rPr>
              <a:t>Planning System:</a:t>
            </a:r>
          </a:p>
          <a:p>
            <a:pPr algn="ctr"/>
            <a:r>
              <a:rPr lang="en-US" altLang="en-US" sz="1400" b="1">
                <a:solidFill>
                  <a:srgbClr val="000000"/>
                </a:solidFill>
                <a:latin typeface="Arial" charset="0"/>
              </a:rPr>
              <a:t>Strategy and Policy </a:t>
            </a:r>
          </a:p>
          <a:p>
            <a:pPr algn="ctr"/>
            <a:r>
              <a:rPr lang="en-US" altLang="en-US" sz="1400" b="1">
                <a:solidFill>
                  <a:srgbClr val="000000"/>
                </a:solidFill>
                <a:latin typeface="Arial" charset="0"/>
              </a:rPr>
              <a:t>Implementation and Deployment; </a:t>
            </a:r>
          </a:p>
          <a:p>
            <a:pPr algn="ctr"/>
            <a:r>
              <a:rPr lang="en-US" altLang="en-US" sz="1400" b="1">
                <a:solidFill>
                  <a:srgbClr val="000000"/>
                </a:solidFill>
                <a:latin typeface="Arial" charset="0"/>
              </a:rPr>
              <a:t>Organizational Alignment/</a:t>
            </a:r>
          </a:p>
          <a:p>
            <a:pPr algn="ctr"/>
            <a:r>
              <a:rPr lang="en-US" altLang="en-US" sz="1400" b="1">
                <a:solidFill>
                  <a:srgbClr val="000000"/>
                </a:solidFill>
                <a:latin typeface="Arial" charset="0"/>
              </a:rPr>
              <a:t>Effectiveness</a:t>
            </a:r>
          </a:p>
        </p:txBody>
      </p:sp>
      <p:sp>
        <p:nvSpPr>
          <p:cNvPr id="262164" name="Rectangle 20"/>
          <p:cNvSpPr>
            <a:spLocks noChangeArrowheads="1"/>
          </p:cNvSpPr>
          <p:nvPr/>
        </p:nvSpPr>
        <p:spPr bwMode="auto">
          <a:xfrm>
            <a:off x="107950" y="3281363"/>
            <a:ext cx="2395538" cy="1155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en-US" altLang="en-US" sz="1400" b="1">
                <a:solidFill>
                  <a:srgbClr val="000000"/>
                </a:solidFill>
                <a:latin typeface="Arial" charset="0"/>
              </a:rPr>
              <a:t>Focused Improvement:  Consistency of Methods, Standards of Excellence,  Assessments, Benchmarking</a:t>
            </a:r>
          </a:p>
        </p:txBody>
      </p:sp>
      <p:sp>
        <p:nvSpPr>
          <p:cNvPr id="2" name="Oval 1">
            <a:extLst>
              <a:ext uri="{FF2B5EF4-FFF2-40B4-BE49-F238E27FC236}">
                <a16:creationId xmlns:a16="http://schemas.microsoft.com/office/drawing/2014/main" id="{56D16FE4-1F70-238F-39EF-C0E82CBA2A5C}"/>
              </a:ext>
            </a:extLst>
          </p:cNvPr>
          <p:cNvSpPr/>
          <p:nvPr/>
        </p:nvSpPr>
        <p:spPr bwMode="auto">
          <a:xfrm>
            <a:off x="2444751" y="921497"/>
            <a:ext cx="3916362" cy="1439863"/>
          </a:xfrm>
          <a:prstGeom prst="ellipse">
            <a:avLst/>
          </a:prstGeom>
          <a:solidFill>
            <a:srgbClr val="C00000">
              <a:alpha val="32000"/>
            </a:srgb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3" name="Oval 2">
            <a:extLst>
              <a:ext uri="{FF2B5EF4-FFF2-40B4-BE49-F238E27FC236}">
                <a16:creationId xmlns:a16="http://schemas.microsoft.com/office/drawing/2014/main" id="{73F6EA83-900A-8E22-EB4F-A2BA9D76F057}"/>
              </a:ext>
            </a:extLst>
          </p:cNvPr>
          <p:cNvSpPr/>
          <p:nvPr/>
        </p:nvSpPr>
        <p:spPr bwMode="auto">
          <a:xfrm>
            <a:off x="2503488" y="5068092"/>
            <a:ext cx="3916362" cy="1439863"/>
          </a:xfrm>
          <a:prstGeom prst="ellipse">
            <a:avLst/>
          </a:prstGeom>
          <a:solidFill>
            <a:srgbClr val="C00000">
              <a:alpha val="32000"/>
            </a:srgbClr>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521672770"/>
      </p:ext>
    </p:extLst>
  </p:cSld>
  <p:clrMapOvr>
    <a:masterClrMapping/>
  </p:clrMapOvr>
  <p:transition>
    <p:zoom/>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AFA77-F250-701A-80C8-B26BF59E3649}"/>
              </a:ext>
            </a:extLst>
          </p:cNvPr>
          <p:cNvSpPr>
            <a:spLocks noGrp="1"/>
          </p:cNvSpPr>
          <p:nvPr>
            <p:ph type="title"/>
          </p:nvPr>
        </p:nvSpPr>
        <p:spPr>
          <a:xfrm>
            <a:off x="381000" y="76200"/>
            <a:ext cx="6477000" cy="685800"/>
          </a:xfrm>
        </p:spPr>
        <p:txBody>
          <a:bodyPr/>
          <a:lstStyle/>
          <a:p>
            <a:r>
              <a:rPr lang="en-US" dirty="0"/>
              <a:t>Simpler Version of Essential Components (top 5)</a:t>
            </a:r>
          </a:p>
        </p:txBody>
      </p:sp>
      <p:sp>
        <p:nvSpPr>
          <p:cNvPr id="3" name="Content Placeholder 2">
            <a:extLst>
              <a:ext uri="{FF2B5EF4-FFF2-40B4-BE49-F238E27FC236}">
                <a16:creationId xmlns:a16="http://schemas.microsoft.com/office/drawing/2014/main" id="{7B16BC75-C2AB-83B4-C85C-5282FE6F9BC5}"/>
              </a:ext>
            </a:extLst>
          </p:cNvPr>
          <p:cNvSpPr>
            <a:spLocks noGrp="1"/>
          </p:cNvSpPr>
          <p:nvPr>
            <p:ph idx="1"/>
          </p:nvPr>
        </p:nvSpPr>
        <p:spPr>
          <a:xfrm>
            <a:off x="379491" y="1371600"/>
            <a:ext cx="8229600" cy="4525963"/>
          </a:xfrm>
        </p:spPr>
        <p:txBody>
          <a:bodyPr/>
          <a:lstStyle/>
          <a:p>
            <a:pPr marL="342900" indent="-342900">
              <a:buFont typeface="+mj-lt"/>
              <a:buAutoNum type="arabicPeriod"/>
            </a:pPr>
            <a:r>
              <a:rPr lang="en-US" dirty="0"/>
              <a:t> Infrastructure for Architecture &amp; Engineering, Design and Development, Implementation and Deployment, Governance and ongoing Alignment and Engagement</a:t>
            </a:r>
          </a:p>
          <a:p>
            <a:pPr marL="342900" indent="-342900">
              <a:buFont typeface="+mj-lt"/>
              <a:buAutoNum type="arabicPeriod"/>
            </a:pPr>
            <a:endParaRPr lang="en-US" dirty="0"/>
          </a:p>
          <a:p>
            <a:pPr marL="342900" indent="-342900">
              <a:buFont typeface="+mj-lt"/>
              <a:buAutoNum type="arabicPeriod"/>
            </a:pPr>
            <a:r>
              <a:rPr lang="en-US" dirty="0"/>
              <a:t>Strategy and Policy Deployment (some version of Hoshin </a:t>
            </a:r>
            <a:r>
              <a:rPr lang="en-US" dirty="0" err="1"/>
              <a:t>Kanri</a:t>
            </a:r>
            <a:r>
              <a:rPr lang="en-US" dirty="0"/>
              <a:t>)</a:t>
            </a:r>
          </a:p>
          <a:p>
            <a:pPr marL="342900" indent="-342900">
              <a:buFont typeface="+mj-lt"/>
              <a:buAutoNum type="arabicPeriod"/>
            </a:pPr>
            <a:endParaRPr lang="en-US" dirty="0"/>
          </a:p>
          <a:p>
            <a:pPr marL="342900" indent="-342900">
              <a:buFont typeface="+mj-lt"/>
              <a:buAutoNum type="arabicPeriod"/>
            </a:pPr>
            <a:r>
              <a:rPr lang="en-US" dirty="0"/>
              <a:t>‘Management System’ Framework, Model—explicit, tailored, practical</a:t>
            </a:r>
          </a:p>
          <a:p>
            <a:pPr marL="342900" indent="-342900">
              <a:buFont typeface="+mj-lt"/>
              <a:buAutoNum type="arabicPeriod"/>
            </a:pPr>
            <a:endParaRPr lang="en-US" dirty="0"/>
          </a:p>
          <a:p>
            <a:pPr marL="342900" indent="-342900">
              <a:buFont typeface="+mj-lt"/>
              <a:buAutoNum type="arabicPeriod"/>
            </a:pPr>
            <a:r>
              <a:rPr lang="en-US" dirty="0"/>
              <a:t>PDSA System, infusing ‘B’ (Transformation, Reinvention, Reengineering, Continuous Improvement) into the way everyone works</a:t>
            </a:r>
          </a:p>
          <a:p>
            <a:pPr marL="755650" lvl="1" indent="-342900"/>
            <a:r>
              <a:rPr lang="en-US" dirty="0"/>
              <a:t>Tiered Huddle System</a:t>
            </a:r>
          </a:p>
          <a:p>
            <a:pPr marL="342900" indent="-342900">
              <a:buFont typeface="+mj-lt"/>
              <a:buAutoNum type="arabicPeriod"/>
            </a:pPr>
            <a:endParaRPr lang="en-US" dirty="0"/>
          </a:p>
          <a:p>
            <a:pPr marL="342900" indent="-342900">
              <a:buFont typeface="+mj-lt"/>
              <a:buAutoNum type="arabicPeriod"/>
            </a:pPr>
            <a:r>
              <a:rPr lang="en-US" dirty="0"/>
              <a:t>Visible Measurement/Management System (Op Analytics)</a:t>
            </a:r>
          </a:p>
          <a:p>
            <a:pPr marL="342900" indent="-342900">
              <a:buFont typeface="+mj-lt"/>
              <a:buAutoNum type="arabicPeriod"/>
            </a:pPr>
            <a:endParaRPr lang="en-US" dirty="0"/>
          </a:p>
          <a:p>
            <a:pPr marL="0" indent="0">
              <a:buNone/>
            </a:pPr>
            <a:endParaRPr lang="en-US" dirty="0"/>
          </a:p>
          <a:p>
            <a:pPr marL="342900" indent="-342900">
              <a:buFont typeface="+mj-lt"/>
              <a:buAutoNum type="arabicPeriod"/>
            </a:pPr>
            <a:endParaRPr lang="en-US" dirty="0"/>
          </a:p>
        </p:txBody>
      </p:sp>
      <p:sp>
        <p:nvSpPr>
          <p:cNvPr id="4" name="Rectangle: Rounded Corners 3">
            <a:extLst>
              <a:ext uri="{FF2B5EF4-FFF2-40B4-BE49-F238E27FC236}">
                <a16:creationId xmlns:a16="http://schemas.microsoft.com/office/drawing/2014/main" id="{B79D0A2A-E1CA-9345-4E54-9779FF5A2CBD}"/>
              </a:ext>
            </a:extLst>
          </p:cNvPr>
          <p:cNvSpPr/>
          <p:nvPr/>
        </p:nvSpPr>
        <p:spPr bwMode="auto">
          <a:xfrm>
            <a:off x="188991" y="1143000"/>
            <a:ext cx="8610600" cy="1981200"/>
          </a:xfrm>
          <a:prstGeom prst="roundRect">
            <a:avLst/>
          </a:prstGeom>
          <a:solidFill>
            <a:schemeClr val="accent1">
              <a:alpha val="26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38744716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Slide Number Placeholder 5"/>
          <p:cNvSpPr>
            <a:spLocks noGrp="1"/>
          </p:cNvSpPr>
          <p:nvPr>
            <p:ph type="sldNum" sz="quarter" idx="12"/>
          </p:nvPr>
        </p:nvSpPr>
        <p:spPr/>
        <p:txBody>
          <a:bodyPr/>
          <a:lstStyle/>
          <a:p>
            <a:pPr>
              <a:defRPr/>
            </a:pPr>
            <a:fld id="{ADAB46C1-003E-48EA-88E2-41966764E8B4}" type="slidenum">
              <a:rPr lang="en-US">
                <a:solidFill>
                  <a:srgbClr val="000000"/>
                </a:solidFill>
              </a:rPr>
              <a:pPr>
                <a:defRPr/>
              </a:pPr>
              <a:t>29</a:t>
            </a:fld>
            <a:endParaRPr lang="en-US">
              <a:solidFill>
                <a:srgbClr val="000000"/>
              </a:solidFill>
            </a:endParaRPr>
          </a:p>
        </p:txBody>
      </p:sp>
      <p:sp>
        <p:nvSpPr>
          <p:cNvPr id="250883" name="Oval 2"/>
          <p:cNvSpPr>
            <a:spLocks noChangeArrowheads="1"/>
          </p:cNvSpPr>
          <p:nvPr/>
        </p:nvSpPr>
        <p:spPr bwMode="auto">
          <a:xfrm>
            <a:off x="3190875" y="2376488"/>
            <a:ext cx="5953125" cy="1428750"/>
          </a:xfrm>
          <a:prstGeom prst="ellipse">
            <a:avLst/>
          </a:prstGeom>
          <a:solidFill>
            <a:schemeClr val="accent1"/>
          </a:solidFill>
          <a:ln w="9525">
            <a:solidFill>
              <a:schemeClr val="tx1"/>
            </a:solidFill>
            <a:round/>
            <a:headEnd/>
            <a:tailEnd/>
          </a:ln>
        </p:spPr>
        <p:txBody>
          <a:bodyPr wrap="none"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884" name="AutoShape 3"/>
          <p:cNvSpPr>
            <a:spLocks noChangeArrowheads="1"/>
          </p:cNvSpPr>
          <p:nvPr/>
        </p:nvSpPr>
        <p:spPr bwMode="auto">
          <a:xfrm>
            <a:off x="227013" y="2470150"/>
            <a:ext cx="2584450" cy="557213"/>
          </a:xfrm>
          <a:prstGeom prst="roundRect">
            <a:avLst>
              <a:gd name="adj" fmla="val 16667"/>
            </a:avLst>
          </a:prstGeom>
          <a:solidFill>
            <a:srgbClr val="FF0000"/>
          </a:solidFill>
          <a:ln w="9525">
            <a:round/>
            <a:headEnd/>
            <a:tailEnd/>
          </a:ln>
          <a:scene3d>
            <a:camera prst="legacyObliqueTopRight"/>
            <a:lightRig rig="legacyFlat3" dir="b"/>
          </a:scene3d>
          <a:sp3d extrusionH="49200" prstMaterial="legacyMatte">
            <a:bevelT w="13500" h="13500" prst="angle"/>
            <a:bevelB w="13500" h="13500" prst="angle"/>
            <a:extrusionClr>
              <a:srgbClr val="FF0000"/>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buClr>
                <a:srgbClr val="996600"/>
              </a:buClr>
            </a:pPr>
            <a:endParaRPr lang="en-US" altLang="en-US" sz="900">
              <a:solidFill>
                <a:srgbClr val="F6EDD0"/>
              </a:solidFill>
              <a:latin typeface="Tahoma" pitchFamily="34" charset="0"/>
            </a:endParaRPr>
          </a:p>
        </p:txBody>
      </p:sp>
      <p:sp>
        <p:nvSpPr>
          <p:cNvPr id="1521668" name="Rectangle 4"/>
          <p:cNvSpPr>
            <a:spLocks noGrp="1" noChangeArrowheads="1"/>
          </p:cNvSpPr>
          <p:nvPr>
            <p:ph type="title"/>
          </p:nvPr>
        </p:nvSpPr>
        <p:spPr>
          <a:xfrm>
            <a:off x="-76200" y="0"/>
            <a:ext cx="9220200" cy="1066800"/>
          </a:xfrm>
          <a:solidFill>
            <a:schemeClr val="tx1">
              <a:lumMod val="50000"/>
              <a:lumOff val="50000"/>
            </a:schemeClr>
          </a:solidFill>
        </p:spPr>
        <p:txBody>
          <a:bodyPr/>
          <a:lstStyle/>
          <a:p>
            <a:pPr algn="ctr">
              <a:defRPr/>
            </a:pPr>
            <a:r>
              <a:rPr lang="en-US" dirty="0">
                <a:solidFill>
                  <a:schemeClr val="bg1"/>
                </a:solidFill>
              </a:rPr>
              <a:t>Leadership Alignment &amp; Support Infrastructure was a Critical Early Factor</a:t>
            </a:r>
          </a:p>
        </p:txBody>
      </p:sp>
      <p:sp>
        <p:nvSpPr>
          <p:cNvPr id="250886" name="AutoShape 5"/>
          <p:cNvSpPr>
            <a:spLocks noChangeArrowheads="1"/>
          </p:cNvSpPr>
          <p:nvPr/>
        </p:nvSpPr>
        <p:spPr bwMode="auto">
          <a:xfrm>
            <a:off x="8396288" y="2967038"/>
            <a:ext cx="619125" cy="542925"/>
          </a:xfrm>
          <a:prstGeom prst="roundRect">
            <a:avLst>
              <a:gd name="adj" fmla="val 16667"/>
            </a:avLst>
          </a:prstGeom>
          <a:solidFill>
            <a:schemeClr val="hlink"/>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887" name="AutoShape 6"/>
          <p:cNvSpPr>
            <a:spLocks noChangeArrowheads="1"/>
          </p:cNvSpPr>
          <p:nvPr/>
        </p:nvSpPr>
        <p:spPr bwMode="auto">
          <a:xfrm>
            <a:off x="6629400" y="2970213"/>
            <a:ext cx="733425" cy="542925"/>
          </a:xfrm>
          <a:prstGeom prst="roundRect">
            <a:avLst>
              <a:gd name="adj" fmla="val 16667"/>
            </a:avLst>
          </a:prstGeom>
          <a:solidFill>
            <a:schemeClr val="hlink"/>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888" name="AutoShape 7"/>
          <p:cNvSpPr>
            <a:spLocks noChangeArrowheads="1"/>
          </p:cNvSpPr>
          <p:nvPr/>
        </p:nvSpPr>
        <p:spPr bwMode="auto">
          <a:xfrm>
            <a:off x="5673725" y="2976563"/>
            <a:ext cx="727075" cy="542925"/>
          </a:xfrm>
          <a:prstGeom prst="roundRect">
            <a:avLst>
              <a:gd name="adj" fmla="val 16667"/>
            </a:avLst>
          </a:prstGeom>
          <a:solidFill>
            <a:schemeClr val="hlink"/>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889" name="AutoShape 8"/>
          <p:cNvSpPr>
            <a:spLocks noChangeArrowheads="1"/>
          </p:cNvSpPr>
          <p:nvPr/>
        </p:nvSpPr>
        <p:spPr bwMode="auto">
          <a:xfrm>
            <a:off x="7543800" y="2982913"/>
            <a:ext cx="722313" cy="542925"/>
          </a:xfrm>
          <a:prstGeom prst="roundRect">
            <a:avLst>
              <a:gd name="adj" fmla="val 16667"/>
            </a:avLst>
          </a:prstGeom>
          <a:solidFill>
            <a:schemeClr val="hlink"/>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890" name="AutoShape 9"/>
          <p:cNvSpPr>
            <a:spLocks noChangeArrowheads="1"/>
          </p:cNvSpPr>
          <p:nvPr/>
        </p:nvSpPr>
        <p:spPr bwMode="auto">
          <a:xfrm>
            <a:off x="609600" y="3179763"/>
            <a:ext cx="1573213" cy="495300"/>
          </a:xfrm>
          <a:prstGeom prst="roundRect">
            <a:avLst>
              <a:gd name="adj" fmla="val 16667"/>
            </a:avLst>
          </a:prstGeom>
          <a:solidFill>
            <a:srgbClr val="F3E3A8"/>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891" name="Rectangle 10"/>
          <p:cNvSpPr>
            <a:spLocks noChangeArrowheads="1"/>
          </p:cNvSpPr>
          <p:nvPr/>
        </p:nvSpPr>
        <p:spPr bwMode="auto">
          <a:xfrm>
            <a:off x="382588" y="2538413"/>
            <a:ext cx="2498725"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900" b="1" dirty="0">
                <a:solidFill>
                  <a:srgbClr val="FFFFFF"/>
                </a:solidFill>
                <a:latin typeface="Verdana" pitchFamily="34" charset="0"/>
              </a:rPr>
              <a:t>BPI Core Team</a:t>
            </a:r>
          </a:p>
          <a:p>
            <a:pPr algn="ctr" eaLnBrk="1" hangingPunct="1"/>
            <a:r>
              <a:rPr lang="en-US" altLang="en-US" sz="900" b="1" dirty="0" err="1">
                <a:solidFill>
                  <a:srgbClr val="FFFFFF"/>
                </a:solidFill>
                <a:latin typeface="Verdana" pitchFamily="34" charset="0"/>
              </a:rPr>
              <a:t>LeanSigma</a:t>
            </a:r>
            <a:r>
              <a:rPr lang="en-US" altLang="en-US" sz="900" b="1" dirty="0">
                <a:solidFill>
                  <a:srgbClr val="FFFFFF"/>
                </a:solidFill>
                <a:latin typeface="Verdana" pitchFamily="34" charset="0"/>
              </a:rPr>
              <a:t> and Op Analytics Architecture and Engineering</a:t>
            </a:r>
            <a:endParaRPr lang="en-US" altLang="en-US" sz="800" dirty="0">
              <a:solidFill>
                <a:srgbClr val="FFFFFF"/>
              </a:solidFill>
              <a:latin typeface="Verdana" pitchFamily="34" charset="0"/>
            </a:endParaRPr>
          </a:p>
          <a:p>
            <a:pPr algn="ctr" eaLnBrk="1" hangingPunct="1"/>
            <a:endParaRPr lang="en-US" altLang="en-US" sz="800" dirty="0">
              <a:solidFill>
                <a:srgbClr val="FFFFFF"/>
              </a:solidFill>
              <a:latin typeface="Verdana" pitchFamily="34" charset="0"/>
            </a:endParaRPr>
          </a:p>
        </p:txBody>
      </p:sp>
      <p:sp>
        <p:nvSpPr>
          <p:cNvPr id="250892" name="Rectangle 11"/>
          <p:cNvSpPr>
            <a:spLocks noChangeArrowheads="1"/>
          </p:cNvSpPr>
          <p:nvPr/>
        </p:nvSpPr>
        <p:spPr bwMode="auto">
          <a:xfrm>
            <a:off x="693738" y="3240088"/>
            <a:ext cx="14414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900" b="1" dirty="0">
                <a:solidFill>
                  <a:srgbClr val="000000"/>
                </a:solidFill>
                <a:latin typeface="Verdana" pitchFamily="34" charset="0"/>
              </a:rPr>
              <a:t>BPI Administrative Coordinator</a:t>
            </a:r>
            <a:endParaRPr lang="en-US" altLang="en-US" sz="800" dirty="0">
              <a:solidFill>
                <a:srgbClr val="000000"/>
              </a:solidFill>
              <a:latin typeface="Verdana" pitchFamily="34" charset="0"/>
            </a:endParaRPr>
          </a:p>
          <a:p>
            <a:pPr algn="ctr" eaLnBrk="1" hangingPunct="1"/>
            <a:endParaRPr lang="en-US" altLang="en-US" sz="800" dirty="0">
              <a:solidFill>
                <a:srgbClr val="000000"/>
              </a:solidFill>
              <a:latin typeface="Verdana" pitchFamily="34" charset="0"/>
            </a:endParaRPr>
          </a:p>
        </p:txBody>
      </p:sp>
      <p:sp>
        <p:nvSpPr>
          <p:cNvPr id="250893" name="Rectangle 12"/>
          <p:cNvSpPr>
            <a:spLocks noChangeArrowheads="1"/>
          </p:cNvSpPr>
          <p:nvPr/>
        </p:nvSpPr>
        <p:spPr bwMode="auto">
          <a:xfrm>
            <a:off x="6616700" y="3008313"/>
            <a:ext cx="6985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800" b="1">
                <a:solidFill>
                  <a:srgbClr val="FFFFFF"/>
                </a:solidFill>
                <a:latin typeface="Verdana" pitchFamily="34" charset="0"/>
              </a:rPr>
              <a:t>President</a:t>
            </a:r>
            <a:br>
              <a:rPr lang="en-US" altLang="en-US" sz="800">
                <a:solidFill>
                  <a:srgbClr val="FFFFFF"/>
                </a:solidFill>
                <a:latin typeface="Verdana" pitchFamily="34" charset="0"/>
              </a:rPr>
            </a:br>
            <a:r>
              <a:rPr lang="en-US" altLang="en-US" sz="800">
                <a:solidFill>
                  <a:srgbClr val="FFFFFF"/>
                </a:solidFill>
                <a:latin typeface="Verdana" pitchFamily="34" charset="0"/>
              </a:rPr>
              <a:t>LOB 2</a:t>
            </a:r>
            <a:endParaRPr lang="en-US" altLang="en-US" sz="700">
              <a:solidFill>
                <a:srgbClr val="FFFFFF"/>
              </a:solidFill>
              <a:latin typeface="Verdana" pitchFamily="34" charset="0"/>
            </a:endParaRPr>
          </a:p>
          <a:p>
            <a:pPr algn="ctr" eaLnBrk="1" hangingPunct="1"/>
            <a:endParaRPr lang="en-US" altLang="en-US" sz="700">
              <a:solidFill>
                <a:srgbClr val="FFFFFF"/>
              </a:solidFill>
              <a:latin typeface="Verdana" pitchFamily="34" charset="0"/>
            </a:endParaRPr>
          </a:p>
        </p:txBody>
      </p:sp>
      <p:sp>
        <p:nvSpPr>
          <p:cNvPr id="250894" name="Rectangle 13"/>
          <p:cNvSpPr>
            <a:spLocks noChangeArrowheads="1"/>
          </p:cNvSpPr>
          <p:nvPr/>
        </p:nvSpPr>
        <p:spPr bwMode="auto">
          <a:xfrm>
            <a:off x="7543800" y="3043238"/>
            <a:ext cx="669925"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800" b="1">
                <a:solidFill>
                  <a:srgbClr val="FFFFFF"/>
                </a:solidFill>
                <a:latin typeface="Verdana" pitchFamily="34" charset="0"/>
              </a:rPr>
              <a:t>President</a:t>
            </a:r>
            <a:br>
              <a:rPr lang="en-US" altLang="en-US" sz="800">
                <a:solidFill>
                  <a:srgbClr val="FFFFFF"/>
                </a:solidFill>
                <a:latin typeface="Verdana" pitchFamily="34" charset="0"/>
              </a:rPr>
            </a:br>
            <a:r>
              <a:rPr lang="en-US" altLang="en-US" sz="800">
                <a:solidFill>
                  <a:srgbClr val="FFFFFF"/>
                </a:solidFill>
                <a:latin typeface="Verdana" pitchFamily="34" charset="0"/>
              </a:rPr>
              <a:t>LOB 3</a:t>
            </a:r>
            <a:endParaRPr lang="en-US" altLang="en-US" sz="700">
              <a:solidFill>
                <a:srgbClr val="FFFFFF"/>
              </a:solidFill>
              <a:latin typeface="Verdana" pitchFamily="34" charset="0"/>
            </a:endParaRPr>
          </a:p>
          <a:p>
            <a:pPr algn="ctr" eaLnBrk="1" hangingPunct="1"/>
            <a:endParaRPr lang="en-US" altLang="en-US" sz="700">
              <a:solidFill>
                <a:srgbClr val="FFFFFF"/>
              </a:solidFill>
              <a:latin typeface="Verdana" pitchFamily="34" charset="0"/>
            </a:endParaRPr>
          </a:p>
        </p:txBody>
      </p:sp>
      <p:sp>
        <p:nvSpPr>
          <p:cNvPr id="250895" name="Rectangle 14"/>
          <p:cNvSpPr>
            <a:spLocks noChangeArrowheads="1"/>
          </p:cNvSpPr>
          <p:nvPr/>
        </p:nvSpPr>
        <p:spPr bwMode="auto">
          <a:xfrm>
            <a:off x="5664200" y="3001963"/>
            <a:ext cx="765175"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800" b="1">
                <a:solidFill>
                  <a:srgbClr val="FFFFFF"/>
                </a:solidFill>
                <a:latin typeface="Verdana" pitchFamily="34" charset="0"/>
              </a:rPr>
              <a:t>President</a:t>
            </a:r>
            <a:br>
              <a:rPr lang="en-US" altLang="en-US" sz="800">
                <a:solidFill>
                  <a:srgbClr val="FFFFFF"/>
                </a:solidFill>
                <a:latin typeface="Verdana" pitchFamily="34" charset="0"/>
              </a:rPr>
            </a:br>
            <a:r>
              <a:rPr lang="en-US" altLang="en-US" sz="800">
                <a:solidFill>
                  <a:srgbClr val="FFFFFF"/>
                </a:solidFill>
                <a:latin typeface="Verdana" pitchFamily="34" charset="0"/>
              </a:rPr>
              <a:t>LOB 1</a:t>
            </a:r>
            <a:endParaRPr lang="en-US" altLang="en-US" sz="700">
              <a:solidFill>
                <a:srgbClr val="FFFFFF"/>
              </a:solidFill>
              <a:latin typeface="Verdana" pitchFamily="34" charset="0"/>
            </a:endParaRPr>
          </a:p>
          <a:p>
            <a:pPr algn="ctr" eaLnBrk="1" hangingPunct="1"/>
            <a:endParaRPr lang="en-US" altLang="en-US" sz="700">
              <a:solidFill>
                <a:srgbClr val="FFFFFF"/>
              </a:solidFill>
              <a:latin typeface="Verdana" pitchFamily="34" charset="0"/>
            </a:endParaRPr>
          </a:p>
        </p:txBody>
      </p:sp>
      <p:sp>
        <p:nvSpPr>
          <p:cNvPr id="250896" name="Rectangle 15"/>
          <p:cNvSpPr>
            <a:spLocks noChangeArrowheads="1"/>
          </p:cNvSpPr>
          <p:nvPr/>
        </p:nvSpPr>
        <p:spPr bwMode="auto">
          <a:xfrm>
            <a:off x="8396288" y="3030538"/>
            <a:ext cx="60325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800" b="1">
                <a:solidFill>
                  <a:srgbClr val="FFFFFF"/>
                </a:solidFill>
                <a:latin typeface="Verdana" pitchFamily="34" charset="0"/>
              </a:rPr>
              <a:t>President</a:t>
            </a:r>
            <a:br>
              <a:rPr lang="en-US" altLang="en-US" sz="800">
                <a:solidFill>
                  <a:srgbClr val="FFFFFF"/>
                </a:solidFill>
                <a:latin typeface="Verdana" pitchFamily="34" charset="0"/>
              </a:rPr>
            </a:br>
            <a:r>
              <a:rPr lang="en-US" altLang="en-US" sz="800">
                <a:solidFill>
                  <a:srgbClr val="FFFFFF"/>
                </a:solidFill>
                <a:latin typeface="Verdana" pitchFamily="34" charset="0"/>
              </a:rPr>
              <a:t>LOB 4</a:t>
            </a:r>
            <a:endParaRPr lang="en-US" altLang="en-US" sz="700">
              <a:solidFill>
                <a:srgbClr val="FFFFFF"/>
              </a:solidFill>
              <a:latin typeface="Verdana" pitchFamily="34" charset="0"/>
            </a:endParaRPr>
          </a:p>
          <a:p>
            <a:pPr algn="ctr" eaLnBrk="1" hangingPunct="1"/>
            <a:endParaRPr lang="en-US" altLang="en-US" sz="700">
              <a:solidFill>
                <a:srgbClr val="000000"/>
              </a:solidFill>
              <a:latin typeface="Verdana" pitchFamily="34" charset="0"/>
            </a:endParaRPr>
          </a:p>
        </p:txBody>
      </p:sp>
      <p:sp>
        <p:nvSpPr>
          <p:cNvPr id="250897" name="AutoShape 16"/>
          <p:cNvSpPr>
            <a:spLocks noChangeArrowheads="1"/>
          </p:cNvSpPr>
          <p:nvPr/>
        </p:nvSpPr>
        <p:spPr bwMode="auto">
          <a:xfrm>
            <a:off x="1117600" y="4584700"/>
            <a:ext cx="1903413" cy="749300"/>
          </a:xfrm>
          <a:prstGeom prst="roundRect">
            <a:avLst>
              <a:gd name="adj" fmla="val 16667"/>
            </a:avLst>
          </a:prstGeom>
          <a:solidFill>
            <a:srgbClr val="F3E3A8"/>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898" name="AutoShape 17"/>
          <p:cNvSpPr>
            <a:spLocks noChangeArrowheads="1"/>
          </p:cNvSpPr>
          <p:nvPr/>
        </p:nvSpPr>
        <p:spPr bwMode="auto">
          <a:xfrm>
            <a:off x="1125538" y="3760788"/>
            <a:ext cx="1900237" cy="730250"/>
          </a:xfrm>
          <a:prstGeom prst="roundRect">
            <a:avLst>
              <a:gd name="adj" fmla="val 16667"/>
            </a:avLst>
          </a:prstGeom>
          <a:solidFill>
            <a:srgbClr val="F3E3A8"/>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899" name="Rectangle 18"/>
          <p:cNvSpPr>
            <a:spLocks noChangeArrowheads="1"/>
          </p:cNvSpPr>
          <p:nvPr/>
        </p:nvSpPr>
        <p:spPr bwMode="auto">
          <a:xfrm>
            <a:off x="1327150" y="3905250"/>
            <a:ext cx="1525588"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900" b="1" dirty="0">
                <a:solidFill>
                  <a:srgbClr val="000000"/>
                </a:solidFill>
                <a:latin typeface="Verdana" pitchFamily="34" charset="0"/>
              </a:rPr>
              <a:t>Master Black Belt Support—Training, Coaching</a:t>
            </a:r>
            <a:endParaRPr lang="en-US" altLang="en-US" sz="800" dirty="0">
              <a:solidFill>
                <a:srgbClr val="000000"/>
              </a:solidFill>
              <a:latin typeface="Verdana" pitchFamily="34" charset="0"/>
            </a:endParaRPr>
          </a:p>
        </p:txBody>
      </p:sp>
      <p:sp>
        <p:nvSpPr>
          <p:cNvPr id="250900" name="Rectangle 19"/>
          <p:cNvSpPr>
            <a:spLocks noChangeArrowheads="1"/>
          </p:cNvSpPr>
          <p:nvPr/>
        </p:nvSpPr>
        <p:spPr bwMode="auto">
          <a:xfrm>
            <a:off x="1352550" y="4826000"/>
            <a:ext cx="1497013"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900" b="1">
                <a:solidFill>
                  <a:srgbClr val="000000"/>
                </a:solidFill>
                <a:latin typeface="Verdana" pitchFamily="34" charset="0"/>
              </a:rPr>
              <a:t>Program &amp; Project Management Support</a:t>
            </a:r>
            <a:endParaRPr lang="en-US" altLang="en-US" sz="900">
              <a:solidFill>
                <a:srgbClr val="000000"/>
              </a:solidFill>
              <a:latin typeface="Verdana" pitchFamily="34" charset="0"/>
            </a:endParaRPr>
          </a:p>
          <a:p>
            <a:pPr algn="ctr" eaLnBrk="1" hangingPunct="1"/>
            <a:endParaRPr lang="en-US" altLang="en-US" sz="800">
              <a:solidFill>
                <a:srgbClr val="000000"/>
              </a:solidFill>
              <a:latin typeface="Verdana" pitchFamily="34" charset="0"/>
            </a:endParaRPr>
          </a:p>
        </p:txBody>
      </p:sp>
      <p:sp>
        <p:nvSpPr>
          <p:cNvPr id="250901" name="AutoShape 20"/>
          <p:cNvSpPr>
            <a:spLocks noChangeArrowheads="1"/>
          </p:cNvSpPr>
          <p:nvPr/>
        </p:nvSpPr>
        <p:spPr bwMode="auto">
          <a:xfrm>
            <a:off x="4114800" y="2976563"/>
            <a:ext cx="733425" cy="542925"/>
          </a:xfrm>
          <a:prstGeom prst="roundRect">
            <a:avLst>
              <a:gd name="adj" fmla="val 16667"/>
            </a:avLst>
          </a:prstGeom>
          <a:solidFill>
            <a:schemeClr val="hlink"/>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02" name="Rectangle 21"/>
          <p:cNvSpPr>
            <a:spLocks noChangeArrowheads="1"/>
          </p:cNvSpPr>
          <p:nvPr/>
        </p:nvSpPr>
        <p:spPr bwMode="auto">
          <a:xfrm>
            <a:off x="4289425" y="3024188"/>
            <a:ext cx="6985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800" b="1">
                <a:solidFill>
                  <a:srgbClr val="FFFFFF"/>
                </a:solidFill>
                <a:latin typeface="Verdana" pitchFamily="34" charset="0"/>
              </a:rPr>
              <a:t>CFO</a:t>
            </a:r>
          </a:p>
          <a:p>
            <a:pPr algn="ctr" eaLnBrk="1" hangingPunct="1"/>
            <a:endParaRPr lang="en-US" altLang="en-US" sz="800" b="1">
              <a:solidFill>
                <a:srgbClr val="FFFFFF"/>
              </a:solidFill>
              <a:latin typeface="Verdana" pitchFamily="34" charset="0"/>
            </a:endParaRPr>
          </a:p>
          <a:p>
            <a:pPr algn="ctr" eaLnBrk="1" hangingPunct="1"/>
            <a:endParaRPr lang="en-US" altLang="en-US" sz="700">
              <a:solidFill>
                <a:srgbClr val="FFFFFF"/>
              </a:solidFill>
              <a:latin typeface="Verdana" pitchFamily="34" charset="0"/>
            </a:endParaRPr>
          </a:p>
        </p:txBody>
      </p:sp>
      <p:sp>
        <p:nvSpPr>
          <p:cNvPr id="250903" name="AutoShape 22"/>
          <p:cNvSpPr>
            <a:spLocks noChangeArrowheads="1"/>
          </p:cNvSpPr>
          <p:nvPr/>
        </p:nvSpPr>
        <p:spPr bwMode="auto">
          <a:xfrm>
            <a:off x="3482975" y="2973388"/>
            <a:ext cx="733425" cy="542925"/>
          </a:xfrm>
          <a:prstGeom prst="roundRect">
            <a:avLst>
              <a:gd name="adj" fmla="val 16667"/>
            </a:avLst>
          </a:prstGeom>
          <a:solidFill>
            <a:schemeClr val="hlink"/>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04" name="Rectangle 23"/>
          <p:cNvSpPr>
            <a:spLocks noChangeArrowheads="1"/>
          </p:cNvSpPr>
          <p:nvPr/>
        </p:nvSpPr>
        <p:spPr bwMode="auto">
          <a:xfrm>
            <a:off x="3476625" y="3049588"/>
            <a:ext cx="698500"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800" b="1">
                <a:solidFill>
                  <a:srgbClr val="FFFFFF"/>
                </a:solidFill>
                <a:latin typeface="Verdana" pitchFamily="34" charset="0"/>
              </a:rPr>
              <a:t>CIO</a:t>
            </a:r>
          </a:p>
          <a:p>
            <a:pPr algn="ctr" eaLnBrk="1" hangingPunct="1"/>
            <a:endParaRPr lang="en-US" altLang="en-US" sz="800" b="1">
              <a:solidFill>
                <a:srgbClr val="FFFFFF"/>
              </a:solidFill>
              <a:latin typeface="Verdana" pitchFamily="34" charset="0"/>
            </a:endParaRPr>
          </a:p>
          <a:p>
            <a:pPr algn="ctr" eaLnBrk="1" hangingPunct="1"/>
            <a:endParaRPr lang="en-US" altLang="en-US" sz="700">
              <a:solidFill>
                <a:srgbClr val="FFFFFF"/>
              </a:solidFill>
              <a:latin typeface="Verdana" pitchFamily="34" charset="0"/>
            </a:endParaRPr>
          </a:p>
        </p:txBody>
      </p:sp>
      <p:sp>
        <p:nvSpPr>
          <p:cNvPr id="250905" name="AutoShape 24"/>
          <p:cNvSpPr>
            <a:spLocks noChangeArrowheads="1"/>
          </p:cNvSpPr>
          <p:nvPr/>
        </p:nvSpPr>
        <p:spPr bwMode="auto">
          <a:xfrm>
            <a:off x="4829175" y="2973388"/>
            <a:ext cx="733425" cy="542925"/>
          </a:xfrm>
          <a:prstGeom prst="roundRect">
            <a:avLst>
              <a:gd name="adj" fmla="val 16667"/>
            </a:avLst>
          </a:prstGeom>
          <a:solidFill>
            <a:schemeClr val="hlink"/>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06" name="Rectangle 25"/>
          <p:cNvSpPr>
            <a:spLocks noChangeArrowheads="1"/>
          </p:cNvSpPr>
          <p:nvPr/>
        </p:nvSpPr>
        <p:spPr bwMode="auto">
          <a:xfrm>
            <a:off x="4953000" y="2954338"/>
            <a:ext cx="698500"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800" b="1">
                <a:solidFill>
                  <a:srgbClr val="FFFFFF"/>
                </a:solidFill>
                <a:latin typeface="Verdana" pitchFamily="34" charset="0"/>
              </a:rPr>
              <a:t>EVP</a:t>
            </a:r>
          </a:p>
          <a:p>
            <a:pPr algn="ctr" eaLnBrk="1" hangingPunct="1"/>
            <a:endParaRPr lang="en-US" altLang="en-US" sz="800" b="1">
              <a:solidFill>
                <a:srgbClr val="FFFFFF"/>
              </a:solidFill>
              <a:latin typeface="Verdana" pitchFamily="34" charset="0"/>
            </a:endParaRPr>
          </a:p>
          <a:p>
            <a:pPr algn="ctr" eaLnBrk="1" hangingPunct="1"/>
            <a:r>
              <a:rPr lang="en-US" altLang="en-US" sz="800">
                <a:solidFill>
                  <a:srgbClr val="FFFFFF"/>
                </a:solidFill>
                <a:latin typeface="Verdana" pitchFamily="34" charset="0"/>
              </a:rPr>
              <a:t>Org. Dynamics</a:t>
            </a:r>
            <a:endParaRPr lang="en-US" altLang="en-US" sz="700">
              <a:solidFill>
                <a:srgbClr val="FFFFFF"/>
              </a:solidFill>
              <a:latin typeface="Verdana" pitchFamily="34" charset="0"/>
            </a:endParaRPr>
          </a:p>
          <a:p>
            <a:pPr algn="ctr" eaLnBrk="1" hangingPunct="1"/>
            <a:endParaRPr lang="en-US" altLang="en-US" sz="700">
              <a:solidFill>
                <a:srgbClr val="FFFFFF"/>
              </a:solidFill>
              <a:latin typeface="Verdana" pitchFamily="34" charset="0"/>
            </a:endParaRPr>
          </a:p>
        </p:txBody>
      </p:sp>
      <p:sp>
        <p:nvSpPr>
          <p:cNvPr id="250907" name="AutoShape 26"/>
          <p:cNvSpPr>
            <a:spLocks noChangeArrowheads="1"/>
          </p:cNvSpPr>
          <p:nvPr/>
        </p:nvSpPr>
        <p:spPr bwMode="auto">
          <a:xfrm>
            <a:off x="1125538" y="5418138"/>
            <a:ext cx="1882775" cy="722312"/>
          </a:xfrm>
          <a:prstGeom prst="roundRect">
            <a:avLst>
              <a:gd name="adj" fmla="val 16667"/>
            </a:avLst>
          </a:prstGeom>
          <a:solidFill>
            <a:srgbClr val="F3E3A8"/>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08" name="Rectangle 27"/>
          <p:cNvSpPr>
            <a:spLocks noChangeArrowheads="1"/>
          </p:cNvSpPr>
          <p:nvPr/>
        </p:nvSpPr>
        <p:spPr bwMode="auto">
          <a:xfrm>
            <a:off x="1293813" y="5716588"/>
            <a:ext cx="1541462"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900" b="1">
                <a:solidFill>
                  <a:srgbClr val="000000"/>
                </a:solidFill>
                <a:latin typeface="Verdana" pitchFamily="34" charset="0"/>
              </a:rPr>
              <a:t>Subject Matter Expertise Support</a:t>
            </a:r>
            <a:endParaRPr lang="en-US" altLang="en-US" sz="800">
              <a:solidFill>
                <a:srgbClr val="000000"/>
              </a:solidFill>
              <a:latin typeface="Verdana" pitchFamily="34" charset="0"/>
            </a:endParaRPr>
          </a:p>
        </p:txBody>
      </p:sp>
      <p:sp>
        <p:nvSpPr>
          <p:cNvPr id="250909" name="AutoShape 28"/>
          <p:cNvSpPr>
            <a:spLocks noChangeArrowheads="1"/>
          </p:cNvSpPr>
          <p:nvPr/>
        </p:nvSpPr>
        <p:spPr bwMode="auto">
          <a:xfrm>
            <a:off x="5270500" y="2427288"/>
            <a:ext cx="1895475" cy="476250"/>
          </a:xfrm>
          <a:prstGeom prst="roundRect">
            <a:avLst>
              <a:gd name="adj" fmla="val 16667"/>
            </a:avLst>
          </a:prstGeom>
          <a:solidFill>
            <a:schemeClr val="hlink"/>
          </a:soli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10" name="Rectangle 29"/>
          <p:cNvSpPr>
            <a:spLocks noChangeArrowheads="1"/>
          </p:cNvSpPr>
          <p:nvPr/>
        </p:nvSpPr>
        <p:spPr bwMode="auto">
          <a:xfrm>
            <a:off x="5292725" y="2513013"/>
            <a:ext cx="1822450"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800" b="1">
                <a:solidFill>
                  <a:srgbClr val="FFFFFF"/>
                </a:solidFill>
                <a:latin typeface="Verdana" pitchFamily="34" charset="0"/>
              </a:rPr>
              <a:t>CEO &amp; President</a:t>
            </a:r>
          </a:p>
          <a:p>
            <a:pPr algn="ctr" eaLnBrk="1" hangingPunct="1"/>
            <a:r>
              <a:rPr lang="en-US" altLang="en-US" sz="800">
                <a:solidFill>
                  <a:srgbClr val="FFFFFF"/>
                </a:solidFill>
                <a:latin typeface="Verdana" pitchFamily="34" charset="0"/>
              </a:rPr>
              <a:t>MDS</a:t>
            </a:r>
            <a:endParaRPr lang="en-US" altLang="en-US" sz="700">
              <a:solidFill>
                <a:srgbClr val="FFFFFF"/>
              </a:solidFill>
              <a:latin typeface="Verdana" pitchFamily="34" charset="0"/>
            </a:endParaRPr>
          </a:p>
          <a:p>
            <a:pPr algn="ctr" eaLnBrk="1" hangingPunct="1"/>
            <a:endParaRPr lang="en-US" altLang="en-US" sz="700">
              <a:solidFill>
                <a:srgbClr val="FFFFFF"/>
              </a:solidFill>
              <a:latin typeface="Verdana" pitchFamily="34" charset="0"/>
            </a:endParaRPr>
          </a:p>
        </p:txBody>
      </p:sp>
      <p:cxnSp>
        <p:nvCxnSpPr>
          <p:cNvPr id="250911" name="AutoShape 30"/>
          <p:cNvCxnSpPr>
            <a:cxnSpLocks noChangeShapeType="1"/>
            <a:stCxn id="250891" idx="3"/>
            <a:endCxn id="250904" idx="1"/>
          </p:cNvCxnSpPr>
          <p:nvPr/>
        </p:nvCxnSpPr>
        <p:spPr bwMode="auto">
          <a:xfrm>
            <a:off x="2881313" y="2807718"/>
            <a:ext cx="595312" cy="418876"/>
          </a:xfrm>
          <a:prstGeom prst="bentConnector3">
            <a:avLst>
              <a:gd name="adj1" fmla="val 50000"/>
            </a:avLst>
          </a:prstGeom>
          <a:noFill/>
          <a:ln w="19050">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250912" name="AutoShape 31"/>
          <p:cNvSpPr>
            <a:spLocks noChangeArrowheads="1"/>
          </p:cNvSpPr>
          <p:nvPr/>
        </p:nvSpPr>
        <p:spPr bwMode="auto">
          <a:xfrm>
            <a:off x="3622675" y="3522663"/>
            <a:ext cx="5248275" cy="781050"/>
          </a:xfrm>
          <a:prstGeom prst="roundRect">
            <a:avLst>
              <a:gd name="adj" fmla="val 16667"/>
            </a:avLst>
          </a:prstGeom>
          <a:gradFill rotWithShape="1">
            <a:gsLst>
              <a:gs pos="0">
                <a:srgbClr val="009999">
                  <a:alpha val="78000"/>
                </a:srgbClr>
              </a:gs>
              <a:gs pos="100000">
                <a:srgbClr val="004747">
                  <a:alpha val="78000"/>
                </a:srgbClr>
              </a:gs>
            </a:gsLst>
            <a:lin ang="5400000" scaled="1"/>
          </a:gra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1400">
                <a:solidFill>
                  <a:srgbClr val="FFFFFF"/>
                </a:solidFill>
              </a:rPr>
              <a:t>                                    LeanSigma Deployment Leaders </a:t>
            </a:r>
          </a:p>
          <a:p>
            <a:pPr algn="ctr" eaLnBrk="1" hangingPunct="1"/>
            <a:r>
              <a:rPr lang="en-US" altLang="en-US" sz="1400">
                <a:solidFill>
                  <a:srgbClr val="FFFFFF"/>
                </a:solidFill>
              </a:rPr>
              <a:t>                                   and Managers</a:t>
            </a:r>
          </a:p>
        </p:txBody>
      </p:sp>
      <p:cxnSp>
        <p:nvCxnSpPr>
          <p:cNvPr id="250913" name="AutoShape 32"/>
          <p:cNvCxnSpPr>
            <a:cxnSpLocks noChangeShapeType="1"/>
            <a:stCxn id="250891" idx="3"/>
            <a:endCxn id="250912" idx="1"/>
          </p:cNvCxnSpPr>
          <p:nvPr/>
        </p:nvCxnSpPr>
        <p:spPr bwMode="auto">
          <a:xfrm>
            <a:off x="2881313" y="2807718"/>
            <a:ext cx="741362" cy="1105470"/>
          </a:xfrm>
          <a:prstGeom prst="bentConnector3">
            <a:avLst>
              <a:gd name="adj1" fmla="val 50000"/>
            </a:avLst>
          </a:prstGeom>
          <a:noFill/>
          <a:ln w="28575">
            <a:solidFill>
              <a:schemeClr val="tx1"/>
            </a:solidFill>
            <a:prstDash val="dashDot"/>
            <a:miter lim="800000"/>
            <a:headEnd type="triangle" w="med" len="med"/>
            <a:tailEnd type="triangle" w="med" len="med"/>
          </a:ln>
          <a:extLst>
            <a:ext uri="{909E8E84-426E-40DD-AFC4-6F175D3DCCD1}">
              <a14:hiddenFill xmlns:a14="http://schemas.microsoft.com/office/drawing/2010/main">
                <a:noFill/>
              </a14:hiddenFill>
            </a:ext>
          </a:extLst>
        </p:spPr>
      </p:cxnSp>
      <p:sp>
        <p:nvSpPr>
          <p:cNvPr id="250914" name="AutoShape 33"/>
          <p:cNvSpPr>
            <a:spLocks noChangeArrowheads="1"/>
          </p:cNvSpPr>
          <p:nvPr/>
        </p:nvSpPr>
        <p:spPr bwMode="auto">
          <a:xfrm>
            <a:off x="3629025" y="4230688"/>
            <a:ext cx="5248275" cy="638175"/>
          </a:xfrm>
          <a:prstGeom prst="roundRect">
            <a:avLst>
              <a:gd name="adj" fmla="val 16667"/>
            </a:avLst>
          </a:prstGeom>
          <a:gradFill rotWithShape="1">
            <a:gsLst>
              <a:gs pos="0">
                <a:srgbClr val="009999">
                  <a:alpha val="60001"/>
                </a:srgbClr>
              </a:gs>
              <a:gs pos="100000">
                <a:srgbClr val="004747">
                  <a:alpha val="60001"/>
                </a:srgbClr>
              </a:gs>
            </a:gsLst>
            <a:lin ang="5400000" scaled="1"/>
          </a:gra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1400">
                <a:solidFill>
                  <a:srgbClr val="FFFFFF"/>
                </a:solidFill>
              </a:rPr>
              <a:t>                                 Value Stream Owners/Managers &amp; Process Owners (Champions)</a:t>
            </a:r>
          </a:p>
        </p:txBody>
      </p:sp>
      <p:sp>
        <p:nvSpPr>
          <p:cNvPr id="250915" name="AutoShape 34"/>
          <p:cNvSpPr>
            <a:spLocks noChangeArrowheads="1"/>
          </p:cNvSpPr>
          <p:nvPr/>
        </p:nvSpPr>
        <p:spPr bwMode="auto">
          <a:xfrm>
            <a:off x="3616325" y="4824413"/>
            <a:ext cx="5248275" cy="593725"/>
          </a:xfrm>
          <a:prstGeom prst="roundRect">
            <a:avLst>
              <a:gd name="adj" fmla="val 16667"/>
            </a:avLst>
          </a:prstGeom>
          <a:gradFill rotWithShape="1">
            <a:gsLst>
              <a:gs pos="0">
                <a:srgbClr val="009999">
                  <a:alpha val="39998"/>
                </a:srgbClr>
              </a:gs>
              <a:gs pos="100000">
                <a:srgbClr val="004747">
                  <a:alpha val="39998"/>
                </a:srgbClr>
              </a:gs>
            </a:gsLst>
            <a:lin ang="5400000" scaled="1"/>
          </a:gra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1400">
                <a:solidFill>
                  <a:srgbClr val="FFFFFF"/>
                </a:solidFill>
              </a:rPr>
              <a:t>                          ‘Belts’</a:t>
            </a:r>
          </a:p>
        </p:txBody>
      </p:sp>
      <p:cxnSp>
        <p:nvCxnSpPr>
          <p:cNvPr id="250916" name="AutoShape 35"/>
          <p:cNvCxnSpPr>
            <a:cxnSpLocks noChangeShapeType="1"/>
            <a:stCxn id="250898" idx="3"/>
            <a:endCxn id="250914" idx="1"/>
          </p:cNvCxnSpPr>
          <p:nvPr/>
        </p:nvCxnSpPr>
        <p:spPr bwMode="auto">
          <a:xfrm>
            <a:off x="3025775" y="4125913"/>
            <a:ext cx="603250" cy="423862"/>
          </a:xfrm>
          <a:prstGeom prst="bentConnector3">
            <a:avLst>
              <a:gd name="adj1" fmla="val 49736"/>
            </a:avLst>
          </a:prstGeom>
          <a:noFill/>
          <a:ln w="9525">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cxnSp>
        <p:nvCxnSpPr>
          <p:cNvPr id="250917" name="AutoShape 36"/>
          <p:cNvCxnSpPr>
            <a:cxnSpLocks noChangeShapeType="1"/>
            <a:stCxn id="250898" idx="3"/>
            <a:endCxn id="250915" idx="1"/>
          </p:cNvCxnSpPr>
          <p:nvPr/>
        </p:nvCxnSpPr>
        <p:spPr bwMode="auto">
          <a:xfrm>
            <a:off x="3025775" y="4125913"/>
            <a:ext cx="590550" cy="995362"/>
          </a:xfrm>
          <a:prstGeom prst="bentConnector3">
            <a:avLst>
              <a:gd name="adj1" fmla="val 49731"/>
            </a:avLst>
          </a:prstGeom>
          <a:noFill/>
          <a:ln w="28575">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cxnSp>
        <p:nvCxnSpPr>
          <p:cNvPr id="250918" name="AutoShape 37"/>
          <p:cNvCxnSpPr>
            <a:cxnSpLocks noChangeShapeType="1"/>
            <a:stCxn id="250897" idx="3"/>
            <a:endCxn id="250914" idx="1"/>
          </p:cNvCxnSpPr>
          <p:nvPr/>
        </p:nvCxnSpPr>
        <p:spPr bwMode="auto">
          <a:xfrm flipV="1">
            <a:off x="3021013" y="4549775"/>
            <a:ext cx="608012" cy="409575"/>
          </a:xfrm>
          <a:prstGeom prst="bentConnector3">
            <a:avLst>
              <a:gd name="adj1" fmla="val 49870"/>
            </a:avLst>
          </a:prstGeom>
          <a:noFill/>
          <a:ln w="28575">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cxnSp>
        <p:nvCxnSpPr>
          <p:cNvPr id="250919" name="AutoShape 38"/>
          <p:cNvCxnSpPr>
            <a:cxnSpLocks noChangeShapeType="1"/>
            <a:stCxn id="250907" idx="3"/>
            <a:endCxn id="250915" idx="1"/>
          </p:cNvCxnSpPr>
          <p:nvPr/>
        </p:nvCxnSpPr>
        <p:spPr bwMode="auto">
          <a:xfrm flipV="1">
            <a:off x="3008313" y="5121275"/>
            <a:ext cx="608012" cy="658813"/>
          </a:xfrm>
          <a:prstGeom prst="bentConnector3">
            <a:avLst>
              <a:gd name="adj1" fmla="val 49870"/>
            </a:avLst>
          </a:prstGeom>
          <a:noFill/>
          <a:ln w="28575">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250920" name="AutoShape 39"/>
          <p:cNvSpPr>
            <a:spLocks noChangeArrowheads="1"/>
          </p:cNvSpPr>
          <p:nvPr/>
        </p:nvSpPr>
        <p:spPr bwMode="auto">
          <a:xfrm>
            <a:off x="3622675" y="5316538"/>
            <a:ext cx="5248275" cy="593725"/>
          </a:xfrm>
          <a:prstGeom prst="roundRect">
            <a:avLst>
              <a:gd name="adj" fmla="val 16667"/>
            </a:avLst>
          </a:prstGeom>
          <a:gradFill rotWithShape="1">
            <a:gsLst>
              <a:gs pos="0">
                <a:srgbClr val="009999">
                  <a:alpha val="20000"/>
                </a:srgbClr>
              </a:gs>
              <a:gs pos="100000">
                <a:srgbClr val="004747">
                  <a:alpha val="20000"/>
                </a:srgbClr>
              </a:gs>
            </a:gsLst>
            <a:lin ang="5400000" scaled="1"/>
          </a:gra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1400">
                <a:solidFill>
                  <a:srgbClr val="000000"/>
                </a:solidFill>
              </a:rPr>
              <a:t>                          Core Teams</a:t>
            </a:r>
          </a:p>
        </p:txBody>
      </p:sp>
      <p:cxnSp>
        <p:nvCxnSpPr>
          <p:cNvPr id="250921" name="AutoShape 40"/>
          <p:cNvCxnSpPr>
            <a:cxnSpLocks noChangeShapeType="1"/>
            <a:stCxn id="250920" idx="1"/>
            <a:endCxn id="250897" idx="3"/>
          </p:cNvCxnSpPr>
          <p:nvPr/>
        </p:nvCxnSpPr>
        <p:spPr bwMode="auto">
          <a:xfrm rot="10800000">
            <a:off x="3021013" y="4959350"/>
            <a:ext cx="601662" cy="654050"/>
          </a:xfrm>
          <a:prstGeom prst="bentConnector3">
            <a:avLst>
              <a:gd name="adj1" fmla="val 50130"/>
            </a:avLst>
          </a:prstGeom>
          <a:noFill/>
          <a:ln w="28575">
            <a:solidFill>
              <a:schemeClr val="tx1"/>
            </a:solidFill>
            <a:miter lim="800000"/>
            <a:headEnd type="triangle" w="med" len="med"/>
            <a:tailEnd type="triangle" w="med" len="med"/>
          </a:ln>
          <a:extLst>
            <a:ext uri="{909E8E84-426E-40DD-AFC4-6F175D3DCCD1}">
              <a14:hiddenFill xmlns:a14="http://schemas.microsoft.com/office/drawing/2010/main">
                <a:noFill/>
              </a14:hiddenFill>
            </a:ext>
          </a:extLst>
        </p:spPr>
      </p:cxnSp>
      <p:sp>
        <p:nvSpPr>
          <p:cNvPr id="250922" name="Text Box 41"/>
          <p:cNvSpPr txBox="1">
            <a:spLocks noChangeArrowheads="1"/>
          </p:cNvSpPr>
          <p:nvPr/>
        </p:nvSpPr>
        <p:spPr bwMode="auto">
          <a:xfrm>
            <a:off x="4019550" y="2490788"/>
            <a:ext cx="13430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spcBef>
                <a:spcPct val="50000"/>
              </a:spcBef>
            </a:pPr>
            <a:r>
              <a:rPr lang="en-US" altLang="en-US" sz="1200" b="1">
                <a:solidFill>
                  <a:srgbClr val="000000"/>
                </a:solidFill>
              </a:rPr>
              <a:t>Executive Sponsors</a:t>
            </a:r>
          </a:p>
        </p:txBody>
      </p:sp>
      <p:sp>
        <p:nvSpPr>
          <p:cNvPr id="250923" name="AutoShape 42"/>
          <p:cNvSpPr>
            <a:spLocks noChangeArrowheads="1"/>
          </p:cNvSpPr>
          <p:nvPr/>
        </p:nvSpPr>
        <p:spPr bwMode="auto">
          <a:xfrm rot="5400000">
            <a:off x="3176587" y="3943351"/>
            <a:ext cx="2638425" cy="1676400"/>
          </a:xfrm>
          <a:prstGeom prst="roundRect">
            <a:avLst>
              <a:gd name="adj" fmla="val 16667"/>
            </a:avLst>
          </a:prstGeom>
          <a:gradFill rotWithShape="1">
            <a:gsLst>
              <a:gs pos="0">
                <a:srgbClr val="009999">
                  <a:alpha val="60001"/>
                </a:srgbClr>
              </a:gs>
              <a:gs pos="100000">
                <a:srgbClr val="004747">
                  <a:alpha val="60001"/>
                </a:srgbClr>
              </a:gs>
            </a:gsLst>
            <a:lin ang="5400000" scaled="1"/>
          </a:gradFill>
          <a:ln w="9525">
            <a:round/>
            <a:headEnd/>
            <a:tailEnd/>
          </a:ln>
          <a:scene3d>
            <a:camera prst="legacyObliqueTopRight"/>
            <a:lightRig rig="legacyFlat3" dir="b"/>
          </a:scene3d>
          <a:sp3d extrusionH="49200" prstMaterial="legacyMatte">
            <a:bevelT w="13500" h="13500" prst="angle"/>
            <a:bevelB w="13500" h="13500" prst="angle"/>
            <a:extrusionClr>
              <a:srgbClr val="E7CC52"/>
            </a:extrusionClr>
          </a:sp3d>
        </p:spPr>
        <p:txBody>
          <a:bodyPr lIns="0" tIns="0" rIns="0" bIns="0" anchor="ctr">
            <a:flatTx/>
          </a:bodyP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1400">
                <a:solidFill>
                  <a:srgbClr val="FFFFFF"/>
                </a:solidFill>
              </a:rPr>
              <a:t>SME’s (Finance , IT, HR, REF, SCM, Regulatory Rep’s)</a:t>
            </a:r>
          </a:p>
        </p:txBody>
      </p:sp>
      <p:sp>
        <p:nvSpPr>
          <p:cNvPr id="250924" name="Text Box 43"/>
          <p:cNvSpPr txBox="1">
            <a:spLocks noChangeArrowheads="1"/>
          </p:cNvSpPr>
          <p:nvPr/>
        </p:nvSpPr>
        <p:spPr bwMode="auto">
          <a:xfrm>
            <a:off x="250825" y="1341438"/>
            <a:ext cx="1317625" cy="892175"/>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eaLnBrk="1" hangingPunct="1"/>
            <a:r>
              <a:rPr lang="en-US" altLang="en-US" sz="1400" b="1">
                <a:solidFill>
                  <a:srgbClr val="000000"/>
                </a:solidFill>
              </a:rPr>
              <a:t>Program Initialization</a:t>
            </a:r>
          </a:p>
        </p:txBody>
      </p:sp>
      <p:sp>
        <p:nvSpPr>
          <p:cNvPr id="1521708" name="Text Box 44"/>
          <p:cNvSpPr txBox="1">
            <a:spLocks noChangeArrowheads="1"/>
          </p:cNvSpPr>
          <p:nvPr/>
        </p:nvSpPr>
        <p:spPr bwMode="auto">
          <a:xfrm>
            <a:off x="1863725" y="1298575"/>
            <a:ext cx="936625" cy="925513"/>
          </a:xfrm>
          <a:prstGeom prst="rect">
            <a:avLst/>
          </a:prstGeom>
          <a:solidFill>
            <a:schemeClr val="hlink"/>
          </a:solidFill>
          <a:ln w="9525">
            <a:solidFill>
              <a:schemeClr val="hlink"/>
            </a:solidFill>
            <a:miter lim="800000"/>
            <a:headEnd/>
            <a:tailEnd/>
          </a:ln>
        </p:spPr>
        <p:txBody>
          <a:bodyPr anchor="ctr" anchorCtr="1"/>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eaLnBrk="1" hangingPunct="1"/>
            <a:r>
              <a:rPr lang="en-US" altLang="en-US" sz="1400" b="1">
                <a:solidFill>
                  <a:srgbClr val="FFFFFF"/>
                </a:solidFill>
              </a:rPr>
              <a:t>Engage the ‘Right’ People</a:t>
            </a:r>
          </a:p>
        </p:txBody>
      </p:sp>
      <p:sp>
        <p:nvSpPr>
          <p:cNvPr id="250926" name="Text Box 45"/>
          <p:cNvSpPr txBox="1">
            <a:spLocks noChangeArrowheads="1"/>
          </p:cNvSpPr>
          <p:nvPr/>
        </p:nvSpPr>
        <p:spPr bwMode="auto">
          <a:xfrm>
            <a:off x="4356100" y="1341438"/>
            <a:ext cx="1030288" cy="935037"/>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eaLnBrk="1" hangingPunct="1"/>
            <a:r>
              <a:rPr lang="en-US" altLang="en-US" sz="1400" b="1">
                <a:solidFill>
                  <a:srgbClr val="000000"/>
                </a:solidFill>
              </a:rPr>
              <a:t>Best in Class Training</a:t>
            </a:r>
          </a:p>
        </p:txBody>
      </p:sp>
      <p:sp>
        <p:nvSpPr>
          <p:cNvPr id="250927" name="AutoShape 46"/>
          <p:cNvSpPr>
            <a:spLocks noChangeArrowheads="1"/>
          </p:cNvSpPr>
          <p:nvPr/>
        </p:nvSpPr>
        <p:spPr bwMode="auto">
          <a:xfrm>
            <a:off x="1619250" y="1585913"/>
            <a:ext cx="215900" cy="360362"/>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28" name="Text Box 47"/>
          <p:cNvSpPr txBox="1">
            <a:spLocks noChangeArrowheads="1"/>
          </p:cNvSpPr>
          <p:nvPr/>
        </p:nvSpPr>
        <p:spPr bwMode="auto">
          <a:xfrm>
            <a:off x="3132138" y="1341438"/>
            <a:ext cx="1030287" cy="935037"/>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eaLnBrk="1" hangingPunct="1"/>
            <a:r>
              <a:rPr lang="en-US" altLang="en-US" sz="1400" b="1">
                <a:solidFill>
                  <a:srgbClr val="000000"/>
                </a:solidFill>
              </a:rPr>
              <a:t>Pick the Right Projects</a:t>
            </a:r>
          </a:p>
        </p:txBody>
      </p:sp>
      <p:sp>
        <p:nvSpPr>
          <p:cNvPr id="250929" name="AutoShape 48"/>
          <p:cNvSpPr>
            <a:spLocks noChangeArrowheads="1"/>
          </p:cNvSpPr>
          <p:nvPr/>
        </p:nvSpPr>
        <p:spPr bwMode="auto">
          <a:xfrm>
            <a:off x="2843213" y="1585913"/>
            <a:ext cx="215900" cy="360362"/>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30" name="AutoShape 49"/>
          <p:cNvSpPr>
            <a:spLocks noChangeArrowheads="1"/>
          </p:cNvSpPr>
          <p:nvPr/>
        </p:nvSpPr>
        <p:spPr bwMode="auto">
          <a:xfrm>
            <a:off x="4140200" y="1585913"/>
            <a:ext cx="215900" cy="360362"/>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31" name="AutoShape 50"/>
          <p:cNvSpPr>
            <a:spLocks noChangeArrowheads="1"/>
          </p:cNvSpPr>
          <p:nvPr/>
        </p:nvSpPr>
        <p:spPr bwMode="auto">
          <a:xfrm>
            <a:off x="5448300" y="1585913"/>
            <a:ext cx="215900" cy="360362"/>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32" name="Text Box 51"/>
          <p:cNvSpPr txBox="1">
            <a:spLocks noChangeArrowheads="1"/>
          </p:cNvSpPr>
          <p:nvPr/>
        </p:nvSpPr>
        <p:spPr bwMode="auto">
          <a:xfrm>
            <a:off x="5702300" y="1341438"/>
            <a:ext cx="1317625" cy="892175"/>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nchor="ctr" anchorCtr="1"/>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eaLnBrk="1" hangingPunct="1"/>
            <a:r>
              <a:rPr lang="en-US" altLang="en-US" sz="1400" b="1">
                <a:solidFill>
                  <a:srgbClr val="000000"/>
                </a:solidFill>
              </a:rPr>
              <a:t>Discipline around Methodology</a:t>
            </a:r>
          </a:p>
        </p:txBody>
      </p:sp>
      <p:sp>
        <p:nvSpPr>
          <p:cNvPr id="250933" name="Text Box 52"/>
          <p:cNvSpPr txBox="1">
            <a:spLocks noChangeArrowheads="1"/>
          </p:cNvSpPr>
          <p:nvPr/>
        </p:nvSpPr>
        <p:spPr bwMode="auto">
          <a:xfrm>
            <a:off x="7380288" y="1341438"/>
            <a:ext cx="1584325" cy="892175"/>
          </a:xfrm>
          <a:prstGeom prst="rect">
            <a:avLst/>
          </a:prstGeom>
          <a:solidFill>
            <a:schemeClr val="bg1"/>
          </a:solidFill>
          <a:ln w="9525">
            <a:solidFill>
              <a:schemeClr val="accent2"/>
            </a:solidFill>
            <a:miter lim="800000"/>
            <a:headEnd/>
            <a:tailEnd/>
          </a:ln>
        </p:spPr>
        <p:txBody>
          <a:bodyPr anchor="ctr" anchorCtr="1"/>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eaLnBrk="1" hangingPunct="1"/>
            <a:r>
              <a:rPr lang="en-US" altLang="en-US" sz="1400" b="1">
                <a:solidFill>
                  <a:srgbClr val="000000"/>
                </a:solidFill>
              </a:rPr>
              <a:t>Celebrate Successes to get the ‘fly wheel’ spinning</a:t>
            </a:r>
          </a:p>
        </p:txBody>
      </p:sp>
      <p:sp>
        <p:nvSpPr>
          <p:cNvPr id="250934" name="AutoShape 53"/>
          <p:cNvSpPr>
            <a:spLocks noChangeArrowheads="1"/>
          </p:cNvSpPr>
          <p:nvPr/>
        </p:nvSpPr>
        <p:spPr bwMode="auto">
          <a:xfrm>
            <a:off x="7058025" y="1585913"/>
            <a:ext cx="215900" cy="360362"/>
          </a:xfrm>
          <a:prstGeom prst="righ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endParaRPr lang="en-US" altLang="en-US">
              <a:solidFill>
                <a:srgbClr val="000000"/>
              </a:solidFill>
            </a:endParaRPr>
          </a:p>
        </p:txBody>
      </p:sp>
      <p:sp>
        <p:nvSpPr>
          <p:cNvPr id="250935" name="Rectangle 54"/>
          <p:cNvSpPr>
            <a:spLocks noChangeArrowheads="1"/>
          </p:cNvSpPr>
          <p:nvPr/>
        </p:nvSpPr>
        <p:spPr bwMode="auto">
          <a:xfrm>
            <a:off x="525463" y="6194425"/>
            <a:ext cx="8378825" cy="577850"/>
          </a:xfrm>
          <a:prstGeom prst="rect">
            <a:avLst/>
          </a:prstGeom>
          <a:solidFill>
            <a:srgbClr val="800000"/>
          </a:solidFill>
          <a:ln>
            <a:noFill/>
          </a:ln>
          <a:extLst>
            <a:ext uri="{91240B29-F687-4F45-9708-019B960494DF}">
              <a14:hiddenLine xmlns:a14="http://schemas.microsoft.com/office/drawing/2010/main" w="9525">
                <a:solidFill>
                  <a:srgbClr val="000000"/>
                </a:solidFill>
                <a:prstDash val="dash"/>
                <a:miter lim="800000"/>
                <a:headEnd/>
                <a:tailEnd/>
              </a14:hiddenLine>
            </a:ext>
          </a:extLst>
        </p:spPr>
        <p:txBody>
          <a:bodyPr anchor="ctr"/>
          <a:lstStyle>
            <a:lvl1pPr eaLnBrk="0" hangingPunct="0">
              <a:defRPr sz="2400">
                <a:solidFill>
                  <a:schemeClr val="tx1"/>
                </a:solidFill>
                <a:latin typeface="Times"/>
                <a:cs typeface="Arial" pitchFamily="34" charset="0"/>
              </a:defRPr>
            </a:lvl1pPr>
            <a:lvl2pPr marL="742950" indent="-285750" eaLnBrk="0" hangingPunct="0">
              <a:defRPr sz="2400">
                <a:solidFill>
                  <a:schemeClr val="tx1"/>
                </a:solidFill>
                <a:latin typeface="Times"/>
                <a:cs typeface="Arial" pitchFamily="34" charset="0"/>
              </a:defRPr>
            </a:lvl2pPr>
            <a:lvl3pPr marL="1143000" indent="-228600" eaLnBrk="0" hangingPunct="0">
              <a:defRPr sz="2400">
                <a:solidFill>
                  <a:schemeClr val="tx1"/>
                </a:solidFill>
                <a:latin typeface="Times"/>
                <a:cs typeface="Arial" pitchFamily="34" charset="0"/>
              </a:defRPr>
            </a:lvl3pPr>
            <a:lvl4pPr marL="1600200" indent="-228600" eaLnBrk="0" hangingPunct="0">
              <a:defRPr sz="2400">
                <a:solidFill>
                  <a:schemeClr val="tx1"/>
                </a:solidFill>
                <a:latin typeface="Times"/>
                <a:cs typeface="Arial" pitchFamily="34" charset="0"/>
              </a:defRPr>
            </a:lvl4pPr>
            <a:lvl5pPr marL="2057400" indent="-228600" eaLnBrk="0" hangingPunct="0">
              <a:defRPr sz="2400">
                <a:solidFill>
                  <a:schemeClr val="tx1"/>
                </a:solidFill>
                <a:latin typeface="Times"/>
                <a:cs typeface="Arial" pitchFamily="34" charset="0"/>
              </a:defRPr>
            </a:lvl5pPr>
            <a:lvl6pPr marL="2514600" indent="-228600" eaLnBrk="0" fontAlgn="base" hangingPunct="0">
              <a:spcBef>
                <a:spcPct val="0"/>
              </a:spcBef>
              <a:spcAft>
                <a:spcPct val="0"/>
              </a:spcAft>
              <a:defRPr sz="2400">
                <a:solidFill>
                  <a:schemeClr val="tx1"/>
                </a:solidFill>
                <a:latin typeface="Times"/>
                <a:cs typeface="Arial" pitchFamily="34" charset="0"/>
              </a:defRPr>
            </a:lvl6pPr>
            <a:lvl7pPr marL="2971800" indent="-228600" eaLnBrk="0" fontAlgn="base" hangingPunct="0">
              <a:spcBef>
                <a:spcPct val="0"/>
              </a:spcBef>
              <a:spcAft>
                <a:spcPct val="0"/>
              </a:spcAft>
              <a:defRPr sz="2400">
                <a:solidFill>
                  <a:schemeClr val="tx1"/>
                </a:solidFill>
                <a:latin typeface="Times"/>
                <a:cs typeface="Arial" pitchFamily="34" charset="0"/>
              </a:defRPr>
            </a:lvl7pPr>
            <a:lvl8pPr marL="3429000" indent="-228600" eaLnBrk="0" fontAlgn="base" hangingPunct="0">
              <a:spcBef>
                <a:spcPct val="0"/>
              </a:spcBef>
              <a:spcAft>
                <a:spcPct val="0"/>
              </a:spcAft>
              <a:defRPr sz="2400">
                <a:solidFill>
                  <a:schemeClr val="tx1"/>
                </a:solidFill>
                <a:latin typeface="Times"/>
                <a:cs typeface="Arial" pitchFamily="34" charset="0"/>
              </a:defRPr>
            </a:lvl8pPr>
            <a:lvl9pPr marL="3886200" indent="-228600" eaLnBrk="0" fontAlgn="base" hangingPunct="0">
              <a:spcBef>
                <a:spcPct val="0"/>
              </a:spcBef>
              <a:spcAft>
                <a:spcPct val="0"/>
              </a:spcAft>
              <a:defRPr sz="2400">
                <a:solidFill>
                  <a:schemeClr val="tx1"/>
                </a:solidFill>
                <a:latin typeface="Times"/>
                <a:cs typeface="Arial" pitchFamily="34" charset="0"/>
              </a:defRPr>
            </a:lvl9pPr>
          </a:lstStyle>
          <a:p>
            <a:pPr algn="ctr" eaLnBrk="1" hangingPunct="1"/>
            <a:r>
              <a:rPr lang="en-US" altLang="en-US" sz="1800" b="1">
                <a:solidFill>
                  <a:srgbClr val="FFFFFF"/>
                </a:solidFill>
              </a:rPr>
              <a:t>1) Pick the right belts and 2) surround them </a:t>
            </a:r>
          </a:p>
          <a:p>
            <a:pPr algn="ctr" eaLnBrk="1" hangingPunct="1"/>
            <a:r>
              <a:rPr lang="en-US" altLang="en-US" sz="1800" b="1">
                <a:solidFill>
                  <a:srgbClr val="FFFFFF"/>
                </a:solidFill>
              </a:rPr>
              <a:t>with the support requirements they need to be successful</a:t>
            </a:r>
            <a:r>
              <a:rPr lang="en-US" altLang="en-US" sz="1800">
                <a:solidFill>
                  <a:srgbClr val="FFFFFF"/>
                </a:solidFill>
              </a:rPr>
              <a:t>.</a:t>
            </a:r>
          </a:p>
        </p:txBody>
      </p:sp>
    </p:spTree>
    <p:extLst>
      <p:ext uri="{BB962C8B-B14F-4D97-AF65-F5344CB8AC3E}">
        <p14:creationId xmlns:p14="http://schemas.microsoft.com/office/powerpoint/2010/main" val="129315001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6" presetClass="emph" presetSubtype="0" fill="hold" grpId="0" nodeType="afterEffect">
                                  <p:stCondLst>
                                    <p:cond delay="1000"/>
                                  </p:stCondLst>
                                  <p:childTnLst>
                                    <p:animEffect transition="out" filter="fade">
                                      <p:cBhvr>
                                        <p:cTn id="6" dur="1000" tmFilter="0, 0; .2, .5; .8, .5; 1, 0"/>
                                        <p:tgtEl>
                                          <p:spTgt spid="1521708"/>
                                        </p:tgtEl>
                                      </p:cBhvr>
                                    </p:animEffect>
                                    <p:animScale>
                                      <p:cBhvr>
                                        <p:cTn id="7" dur="500" autoRev="1" fill="hold"/>
                                        <p:tgtEl>
                                          <p:spTgt spid="152170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170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BD7C2-FB0D-025E-7DB0-7377376283A4}"/>
              </a:ext>
            </a:extLst>
          </p:cNvPr>
          <p:cNvSpPr>
            <a:spLocks noGrp="1"/>
          </p:cNvSpPr>
          <p:nvPr>
            <p:ph type="title"/>
          </p:nvPr>
        </p:nvSpPr>
        <p:spPr>
          <a:xfrm>
            <a:off x="304800" y="152400"/>
            <a:ext cx="6477000" cy="685800"/>
          </a:xfrm>
        </p:spPr>
        <p:txBody>
          <a:bodyPr/>
          <a:lstStyle/>
          <a:p>
            <a:r>
              <a:rPr lang="en-US" sz="2400" dirty="0"/>
              <a:t>We’ve done several webinars on Strategic Performance Improvement Planning</a:t>
            </a:r>
          </a:p>
        </p:txBody>
      </p:sp>
      <p:pic>
        <p:nvPicPr>
          <p:cNvPr id="5" name="Content Placeholder 4" descr="Diagram of a diagram showing the process of a plan&#10;&#10;Description automatically generated">
            <a:extLst>
              <a:ext uri="{FF2B5EF4-FFF2-40B4-BE49-F238E27FC236}">
                <a16:creationId xmlns:a16="http://schemas.microsoft.com/office/drawing/2014/main" id="{3893D221-F923-2C73-E538-6FA801BE9BE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21052" y="1039655"/>
            <a:ext cx="7241540" cy="4525963"/>
          </a:xfrm>
        </p:spPr>
      </p:pic>
      <p:sp>
        <p:nvSpPr>
          <p:cNvPr id="6" name="Rectangle: Rounded Corners 5">
            <a:extLst>
              <a:ext uri="{FF2B5EF4-FFF2-40B4-BE49-F238E27FC236}">
                <a16:creationId xmlns:a16="http://schemas.microsoft.com/office/drawing/2014/main" id="{58888413-7CA7-1FBE-CC3B-6F8A79B0E008}"/>
              </a:ext>
            </a:extLst>
          </p:cNvPr>
          <p:cNvSpPr/>
          <p:nvPr/>
        </p:nvSpPr>
        <p:spPr bwMode="auto">
          <a:xfrm>
            <a:off x="1036622" y="5818345"/>
            <a:ext cx="7010400" cy="685800"/>
          </a:xfrm>
          <a:prstGeom prst="round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800" dirty="0">
                <a:solidFill>
                  <a:schemeClr val="bg1"/>
                </a:solidFill>
                <a:latin typeface="Arial" charset="0"/>
                <a:ea typeface="ＭＳ Ｐゴシック" pitchFamily="1" charset="-128"/>
              </a:rPr>
              <a:t>The essence of Hoshin Planning is doing planning in a way that ensures Alignment AND Quality in the Strategies and Plans.</a:t>
            </a:r>
            <a:endParaRPr kumimoji="0" lang="en-US" sz="1800" b="0" i="0" u="none" strike="noStrike" cap="none" normalizeH="0" baseline="0" dirty="0">
              <a:ln>
                <a:noFill/>
              </a:ln>
              <a:solidFill>
                <a:schemeClr val="bg1"/>
              </a:solidFill>
              <a:effectLst/>
              <a:latin typeface="Arial" charset="0"/>
              <a:ea typeface="ＭＳ Ｐゴシック" pitchFamily="1" charset="-128"/>
            </a:endParaRPr>
          </a:p>
        </p:txBody>
      </p:sp>
    </p:spTree>
    <p:extLst>
      <p:ext uri="{BB962C8B-B14F-4D97-AF65-F5344CB8AC3E}">
        <p14:creationId xmlns:p14="http://schemas.microsoft.com/office/powerpoint/2010/main" val="19938082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AF565-70FA-4B8B-8AF3-BF8271DDCE08}"/>
              </a:ext>
            </a:extLst>
          </p:cNvPr>
          <p:cNvSpPr>
            <a:spLocks noGrp="1"/>
          </p:cNvSpPr>
          <p:nvPr>
            <p:ph type="title"/>
          </p:nvPr>
        </p:nvSpPr>
        <p:spPr>
          <a:xfrm>
            <a:off x="883053" y="252728"/>
            <a:ext cx="7886700" cy="1325563"/>
          </a:xfrm>
        </p:spPr>
        <p:txBody>
          <a:bodyPr/>
          <a:lstStyle/>
          <a:p>
            <a:r>
              <a:rPr lang="en-CA" dirty="0"/>
              <a:t>Housekeeping</a:t>
            </a:r>
          </a:p>
        </p:txBody>
      </p:sp>
      <p:sp>
        <p:nvSpPr>
          <p:cNvPr id="3" name="Content Placeholder 2">
            <a:extLst>
              <a:ext uri="{FF2B5EF4-FFF2-40B4-BE49-F238E27FC236}">
                <a16:creationId xmlns:a16="http://schemas.microsoft.com/office/drawing/2014/main" id="{398B5C82-231F-4C40-8B91-2977C928C6A2}"/>
              </a:ext>
            </a:extLst>
          </p:cNvPr>
          <p:cNvSpPr>
            <a:spLocks noGrp="1"/>
          </p:cNvSpPr>
          <p:nvPr>
            <p:ph idx="1"/>
          </p:nvPr>
        </p:nvSpPr>
        <p:spPr>
          <a:xfrm>
            <a:off x="1382663" y="1808311"/>
            <a:ext cx="7132689" cy="3263504"/>
          </a:xfrm>
        </p:spPr>
        <p:txBody>
          <a:bodyPr>
            <a:normAutofit fontScale="77500" lnSpcReduction="20000"/>
          </a:bodyPr>
          <a:lstStyle/>
          <a:p>
            <a:pPr marL="0" indent="0">
              <a:lnSpc>
                <a:spcPct val="100000"/>
              </a:lnSpc>
              <a:buNone/>
            </a:pPr>
            <a:r>
              <a:rPr lang="en-US" sz="1500" dirty="0">
                <a:solidFill>
                  <a:schemeClr val="tx2"/>
                </a:solidFill>
              </a:rPr>
              <a:t>Thank you for joining us!</a:t>
            </a:r>
          </a:p>
          <a:p>
            <a:pPr marL="342884" indent="-342884">
              <a:lnSpc>
                <a:spcPct val="100000"/>
              </a:lnSpc>
              <a:buFont typeface="+mj-lt"/>
              <a:buAutoNum type="arabicPeriod"/>
            </a:pPr>
            <a:endParaRPr lang="en-US" sz="1500" dirty="0">
              <a:solidFill>
                <a:schemeClr val="tx2"/>
              </a:solidFill>
            </a:endParaRPr>
          </a:p>
          <a:p>
            <a:pPr marL="0" indent="0">
              <a:lnSpc>
                <a:spcPct val="100000"/>
              </a:lnSpc>
              <a:buNone/>
            </a:pPr>
            <a:r>
              <a:rPr lang="en-US" sz="1500" dirty="0">
                <a:solidFill>
                  <a:schemeClr val="tx2"/>
                </a:solidFill>
              </a:rPr>
              <a:t>We’ll share how to get access to the recording, presentation, YouTube versions and blogs at the end of the webinar.   The presentation is available now, use this link to get.. (we’ll post as a chat)</a:t>
            </a:r>
          </a:p>
          <a:p>
            <a:pPr marL="0" indent="0">
              <a:lnSpc>
                <a:spcPct val="100000"/>
              </a:lnSpc>
              <a:buNone/>
            </a:pPr>
            <a:endParaRPr lang="en-US" sz="1500" dirty="0">
              <a:solidFill>
                <a:schemeClr val="tx2"/>
              </a:solidFill>
            </a:endParaRPr>
          </a:p>
          <a:p>
            <a:pPr marL="0" indent="0">
              <a:lnSpc>
                <a:spcPct val="100000"/>
              </a:lnSpc>
              <a:buNone/>
            </a:pPr>
            <a:r>
              <a:rPr lang="en-US" sz="1500" dirty="0">
                <a:solidFill>
                  <a:schemeClr val="tx2"/>
                </a:solidFill>
              </a:rPr>
              <a:t>We will field questions as appropriate and time permits.  Please </a:t>
            </a:r>
            <a:r>
              <a:rPr lang="en-US" sz="1500" b="1" dirty="0">
                <a:solidFill>
                  <a:srgbClr val="FF0000"/>
                </a:solidFill>
              </a:rPr>
              <a:t>use the ‘chat’ function </a:t>
            </a:r>
            <a:r>
              <a:rPr lang="en-US" sz="1500" dirty="0">
                <a:solidFill>
                  <a:schemeClr val="tx2"/>
                </a:solidFill>
              </a:rPr>
              <a:t>to share your comments and questions.</a:t>
            </a:r>
          </a:p>
          <a:p>
            <a:pPr marL="342884" indent="-342884">
              <a:lnSpc>
                <a:spcPct val="100000"/>
              </a:lnSpc>
              <a:buFont typeface="+mj-lt"/>
              <a:buAutoNum type="arabicPeriod"/>
            </a:pPr>
            <a:endParaRPr lang="en-US" sz="1500" dirty="0">
              <a:solidFill>
                <a:schemeClr val="tx2"/>
              </a:solidFill>
            </a:endParaRPr>
          </a:p>
          <a:p>
            <a:pPr marL="0" indent="0">
              <a:lnSpc>
                <a:spcPct val="100000"/>
              </a:lnSpc>
              <a:buNone/>
            </a:pPr>
            <a:r>
              <a:rPr lang="en-US" sz="1500" dirty="0">
                <a:solidFill>
                  <a:schemeClr val="tx2"/>
                </a:solidFill>
              </a:rPr>
              <a:t>Follow up questions are welcomed and contact information is provided at the end of the presentation.</a:t>
            </a:r>
          </a:p>
          <a:p>
            <a:pPr marL="0" indent="0">
              <a:lnSpc>
                <a:spcPct val="100000"/>
              </a:lnSpc>
              <a:buNone/>
            </a:pPr>
            <a:endParaRPr lang="en-US" sz="1500" dirty="0">
              <a:solidFill>
                <a:schemeClr val="tx2"/>
              </a:solidFill>
            </a:endParaRPr>
          </a:p>
          <a:p>
            <a:pPr marL="0" indent="0">
              <a:lnSpc>
                <a:spcPct val="100000"/>
              </a:lnSpc>
              <a:buNone/>
            </a:pPr>
            <a:r>
              <a:rPr lang="en-US" sz="1500" dirty="0">
                <a:solidFill>
                  <a:schemeClr val="tx2"/>
                </a:solidFill>
              </a:rPr>
              <a:t>For those who value </a:t>
            </a:r>
            <a:r>
              <a:rPr lang="en-US" sz="1500" dirty="0">
                <a:solidFill>
                  <a:srgbClr val="FF0000"/>
                </a:solidFill>
              </a:rPr>
              <a:t>certificates of participation</a:t>
            </a:r>
            <a:r>
              <a:rPr lang="en-US" sz="1500" dirty="0">
                <a:solidFill>
                  <a:schemeClr val="tx2"/>
                </a:solidFill>
              </a:rPr>
              <a:t>, IISE will be mailing those out the week after the webinar.  Be patient and check your clutter and spam folders if you don’t receive one. </a:t>
            </a:r>
            <a:endParaRPr lang="en-CA" sz="1500" dirty="0">
              <a:solidFill>
                <a:schemeClr val="tx2"/>
              </a:solidFill>
            </a:endParaRPr>
          </a:p>
        </p:txBody>
      </p:sp>
      <p:sp>
        <p:nvSpPr>
          <p:cNvPr id="4" name="Slide Number Placeholder 3">
            <a:extLst>
              <a:ext uri="{FF2B5EF4-FFF2-40B4-BE49-F238E27FC236}">
                <a16:creationId xmlns:a16="http://schemas.microsoft.com/office/drawing/2014/main" id="{903EAD2A-B598-4863-9753-68F1D11FEB05}"/>
              </a:ext>
            </a:extLst>
          </p:cNvPr>
          <p:cNvSpPr>
            <a:spLocks noGrp="1"/>
          </p:cNvSpPr>
          <p:nvPr>
            <p:ph type="sldNum" sz="quarter" idx="12"/>
          </p:nvPr>
        </p:nvSpPr>
        <p:spPr/>
        <p:txBody>
          <a:bodyPr/>
          <a:lstStyle/>
          <a:p>
            <a:pPr defTabSz="685800" eaLnBrk="1" fontAlgn="auto" hangingPunct="1">
              <a:spcBef>
                <a:spcPts val="0"/>
              </a:spcBef>
              <a:spcAft>
                <a:spcPts val="0"/>
              </a:spcAft>
            </a:pPr>
            <a:fld id="{602F7A02-EF0D-4D82-9BFD-3DDF074AABBD}" type="slidenum">
              <a:rPr lang="en-CA">
                <a:solidFill>
                  <a:prstClr val="black">
                    <a:tint val="75000"/>
                  </a:prstClr>
                </a:solidFill>
                <a:latin typeface="Open Sans"/>
              </a:rPr>
              <a:pPr defTabSz="685800" eaLnBrk="1" fontAlgn="auto" hangingPunct="1">
                <a:spcBef>
                  <a:spcPts val="0"/>
                </a:spcBef>
                <a:spcAft>
                  <a:spcPts val="0"/>
                </a:spcAft>
              </a:pPr>
              <a:t>4</a:t>
            </a:fld>
            <a:endParaRPr lang="en-CA" dirty="0">
              <a:solidFill>
                <a:prstClr val="black">
                  <a:tint val="75000"/>
                </a:prstClr>
              </a:solidFill>
              <a:latin typeface="Open Sans"/>
            </a:endParaRPr>
          </a:p>
        </p:txBody>
      </p:sp>
      <p:sp>
        <p:nvSpPr>
          <p:cNvPr id="5" name="Oval 4">
            <a:extLst>
              <a:ext uri="{FF2B5EF4-FFF2-40B4-BE49-F238E27FC236}">
                <a16:creationId xmlns:a16="http://schemas.microsoft.com/office/drawing/2014/main" id="{458A568B-933A-4CC6-AF80-14854BEB79E5}"/>
              </a:ext>
            </a:extLst>
          </p:cNvPr>
          <p:cNvSpPr/>
          <p:nvPr/>
        </p:nvSpPr>
        <p:spPr>
          <a:xfrm>
            <a:off x="883059" y="1764276"/>
            <a:ext cx="422176" cy="422176"/>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r>
              <a:rPr lang="en-CA" sz="1800" b="1" dirty="0">
                <a:solidFill>
                  <a:srgbClr val="144058"/>
                </a:solidFill>
                <a:latin typeface="Open Sans"/>
              </a:rPr>
              <a:t>1</a:t>
            </a:r>
          </a:p>
        </p:txBody>
      </p:sp>
      <p:sp>
        <p:nvSpPr>
          <p:cNvPr id="6" name="Oval 5">
            <a:extLst>
              <a:ext uri="{FF2B5EF4-FFF2-40B4-BE49-F238E27FC236}">
                <a16:creationId xmlns:a16="http://schemas.microsoft.com/office/drawing/2014/main" id="{4A368543-FE33-40C7-B20D-7EB2050CCA1B}"/>
              </a:ext>
            </a:extLst>
          </p:cNvPr>
          <p:cNvSpPr/>
          <p:nvPr/>
        </p:nvSpPr>
        <p:spPr>
          <a:xfrm>
            <a:off x="883055" y="2327934"/>
            <a:ext cx="422176" cy="422176"/>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r>
              <a:rPr lang="en-CA" sz="1800" b="1" dirty="0">
                <a:solidFill>
                  <a:srgbClr val="144058"/>
                </a:solidFill>
                <a:latin typeface="Open Sans"/>
              </a:rPr>
              <a:t>2</a:t>
            </a:r>
          </a:p>
        </p:txBody>
      </p:sp>
      <p:sp>
        <p:nvSpPr>
          <p:cNvPr id="7" name="Oval 6">
            <a:extLst>
              <a:ext uri="{FF2B5EF4-FFF2-40B4-BE49-F238E27FC236}">
                <a16:creationId xmlns:a16="http://schemas.microsoft.com/office/drawing/2014/main" id="{C6B34F6D-0FF5-498D-87B4-894BFFB1A5DC}"/>
              </a:ext>
            </a:extLst>
          </p:cNvPr>
          <p:cNvSpPr/>
          <p:nvPr/>
        </p:nvSpPr>
        <p:spPr>
          <a:xfrm>
            <a:off x="883054" y="3026997"/>
            <a:ext cx="422176" cy="422176"/>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r>
              <a:rPr lang="en-CA" sz="1800" b="1" dirty="0">
                <a:solidFill>
                  <a:srgbClr val="144058"/>
                </a:solidFill>
                <a:latin typeface="Open Sans"/>
              </a:rPr>
              <a:t>3</a:t>
            </a:r>
          </a:p>
        </p:txBody>
      </p:sp>
      <p:sp>
        <p:nvSpPr>
          <p:cNvPr id="8" name="Oval 7">
            <a:extLst>
              <a:ext uri="{FF2B5EF4-FFF2-40B4-BE49-F238E27FC236}">
                <a16:creationId xmlns:a16="http://schemas.microsoft.com/office/drawing/2014/main" id="{6DE21AEC-B0B3-4A8F-9E90-FA1BA2C79497}"/>
              </a:ext>
            </a:extLst>
          </p:cNvPr>
          <p:cNvSpPr/>
          <p:nvPr/>
        </p:nvSpPr>
        <p:spPr>
          <a:xfrm>
            <a:off x="883054" y="3726059"/>
            <a:ext cx="422176" cy="422176"/>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r>
              <a:rPr lang="en-CA" sz="1800" b="1" dirty="0">
                <a:solidFill>
                  <a:srgbClr val="144058"/>
                </a:solidFill>
                <a:latin typeface="Open Sans"/>
              </a:rPr>
              <a:t>4</a:t>
            </a:r>
          </a:p>
        </p:txBody>
      </p:sp>
      <p:sp>
        <p:nvSpPr>
          <p:cNvPr id="11" name="Oval 10">
            <a:extLst>
              <a:ext uri="{FF2B5EF4-FFF2-40B4-BE49-F238E27FC236}">
                <a16:creationId xmlns:a16="http://schemas.microsoft.com/office/drawing/2014/main" id="{B93F1043-1855-4013-3E2B-E912F7FDF241}"/>
              </a:ext>
            </a:extLst>
          </p:cNvPr>
          <p:cNvSpPr/>
          <p:nvPr/>
        </p:nvSpPr>
        <p:spPr>
          <a:xfrm>
            <a:off x="883053" y="4389734"/>
            <a:ext cx="422176" cy="422176"/>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0"/>
              </a:spcBef>
              <a:spcAft>
                <a:spcPts val="0"/>
              </a:spcAft>
            </a:pPr>
            <a:r>
              <a:rPr lang="en-CA" sz="1800" b="1" dirty="0">
                <a:solidFill>
                  <a:srgbClr val="144058"/>
                </a:solidFill>
                <a:latin typeface="Open Sans"/>
              </a:rPr>
              <a:t>5</a:t>
            </a:r>
          </a:p>
        </p:txBody>
      </p:sp>
      <p:pic>
        <p:nvPicPr>
          <p:cNvPr id="1026" name="Picture 2" descr="Institute of Industrial and Systems Engineers">
            <a:extLst>
              <a:ext uri="{FF2B5EF4-FFF2-40B4-BE49-F238E27FC236}">
                <a16:creationId xmlns:a16="http://schemas.microsoft.com/office/drawing/2014/main" id="{7DEA4374-75C4-D7B7-79AB-F9E0976698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0" y="316476"/>
            <a:ext cx="3181350" cy="14478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2F9C2C73-447E-66E6-21B2-B226C5B6A6EC}"/>
              </a:ext>
            </a:extLst>
          </p:cNvPr>
          <p:cNvSpPr/>
          <p:nvPr/>
        </p:nvSpPr>
        <p:spPr>
          <a:xfrm>
            <a:off x="3257550" y="5233811"/>
            <a:ext cx="5314950" cy="1463682"/>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FFC000"/>
                </a:solidFill>
              </a:rPr>
              <a:t>Thanks to our Sponsor and Partner for investing time, money, energy programming and directing this overall Program for IISE!</a:t>
            </a:r>
          </a:p>
        </p:txBody>
      </p:sp>
      <p:grpSp>
        <p:nvGrpSpPr>
          <p:cNvPr id="10" name="Group 9">
            <a:extLst>
              <a:ext uri="{FF2B5EF4-FFF2-40B4-BE49-F238E27FC236}">
                <a16:creationId xmlns:a16="http://schemas.microsoft.com/office/drawing/2014/main" id="{BB5E9F60-2F9E-6632-7262-BECBF3D2D439}"/>
              </a:ext>
            </a:extLst>
          </p:cNvPr>
          <p:cNvGrpSpPr/>
          <p:nvPr/>
        </p:nvGrpSpPr>
        <p:grpSpPr>
          <a:xfrm>
            <a:off x="1282595" y="5301835"/>
            <a:ext cx="1519756" cy="793984"/>
            <a:chOff x="6780155" y="1045215"/>
            <a:chExt cx="1519756" cy="793984"/>
          </a:xfrm>
        </p:grpSpPr>
        <p:pic>
          <p:nvPicPr>
            <p:cNvPr id="12" name="Picture 11" descr="A close up of a sign&#10;&#10;Description automatically generated">
              <a:extLst>
                <a:ext uri="{FF2B5EF4-FFF2-40B4-BE49-F238E27FC236}">
                  <a16:creationId xmlns:a16="http://schemas.microsoft.com/office/drawing/2014/main" id="{145163C3-2401-C706-00CD-1CE765E6EB6D}"/>
                </a:ext>
              </a:extLst>
            </p:cNvPr>
            <p:cNvPicPr>
              <a:picLocks noChangeAspect="1"/>
            </p:cNvPicPr>
            <p:nvPr/>
          </p:nvPicPr>
          <p:blipFill rotWithShape="1">
            <a:blip r:embed="rId3">
              <a:extLst>
                <a:ext uri="{28A0092B-C50C-407E-A947-70E740481C1C}">
                  <a14:useLocalDpi xmlns:a14="http://schemas.microsoft.com/office/drawing/2010/main" val="0"/>
                </a:ext>
              </a:extLst>
            </a:blip>
            <a:srcRect b="17871"/>
            <a:stretch/>
          </p:blipFill>
          <p:spPr>
            <a:xfrm>
              <a:off x="6802446" y="1045215"/>
              <a:ext cx="1497465" cy="750851"/>
            </a:xfrm>
            <a:prstGeom prst="rect">
              <a:avLst/>
            </a:prstGeom>
          </p:spPr>
        </p:pic>
        <p:sp>
          <p:nvSpPr>
            <p:cNvPr id="13" name="Rectangle 12">
              <a:extLst>
                <a:ext uri="{FF2B5EF4-FFF2-40B4-BE49-F238E27FC236}">
                  <a16:creationId xmlns:a16="http://schemas.microsoft.com/office/drawing/2014/main" id="{E7A35A68-D795-AC5D-3137-9A91301DEF9F}"/>
                </a:ext>
              </a:extLst>
            </p:cNvPr>
            <p:cNvSpPr/>
            <p:nvPr/>
          </p:nvSpPr>
          <p:spPr bwMode="auto">
            <a:xfrm>
              <a:off x="6780155" y="1478174"/>
              <a:ext cx="562877" cy="361025"/>
            </a:xfrm>
            <a:prstGeom prst="rect">
              <a:avLst/>
            </a:prstGeom>
            <a:solidFill>
              <a:schemeClr val="bg1"/>
            </a:solidFill>
            <a:ln w="9525" cap="flat" cmpd="sng" algn="ctr">
              <a:no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766" fontAlgn="base">
                <a:spcBef>
                  <a:spcPct val="0"/>
                </a:spcBef>
                <a:spcAft>
                  <a:spcPct val="0"/>
                </a:spcAft>
              </a:pPr>
              <a:endParaRPr lang="en-US" sz="1800">
                <a:latin typeface="Tahoma" pitchFamily="34" charset="0"/>
              </a:endParaRPr>
            </a:p>
          </p:txBody>
        </p:sp>
      </p:grpSp>
    </p:spTree>
    <p:extLst>
      <p:ext uri="{BB962C8B-B14F-4D97-AF65-F5344CB8AC3E}">
        <p14:creationId xmlns:p14="http://schemas.microsoft.com/office/powerpoint/2010/main" val="3725887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AFA77-F250-701A-80C8-B26BF59E3649}"/>
              </a:ext>
            </a:extLst>
          </p:cNvPr>
          <p:cNvSpPr>
            <a:spLocks noGrp="1"/>
          </p:cNvSpPr>
          <p:nvPr>
            <p:ph type="title"/>
          </p:nvPr>
        </p:nvSpPr>
        <p:spPr>
          <a:xfrm>
            <a:off x="381000" y="76200"/>
            <a:ext cx="6477000" cy="685800"/>
          </a:xfrm>
        </p:spPr>
        <p:txBody>
          <a:bodyPr/>
          <a:lstStyle/>
          <a:p>
            <a:r>
              <a:rPr lang="en-US" dirty="0"/>
              <a:t>Simpler Version of Essential Components</a:t>
            </a:r>
          </a:p>
        </p:txBody>
      </p:sp>
      <p:sp>
        <p:nvSpPr>
          <p:cNvPr id="3" name="Content Placeholder 2">
            <a:extLst>
              <a:ext uri="{FF2B5EF4-FFF2-40B4-BE49-F238E27FC236}">
                <a16:creationId xmlns:a16="http://schemas.microsoft.com/office/drawing/2014/main" id="{7B16BC75-C2AB-83B4-C85C-5282FE6F9BC5}"/>
              </a:ext>
            </a:extLst>
          </p:cNvPr>
          <p:cNvSpPr>
            <a:spLocks noGrp="1"/>
          </p:cNvSpPr>
          <p:nvPr>
            <p:ph idx="1"/>
          </p:nvPr>
        </p:nvSpPr>
        <p:spPr>
          <a:xfrm>
            <a:off x="379491" y="1371600"/>
            <a:ext cx="8229600" cy="4525963"/>
          </a:xfrm>
        </p:spPr>
        <p:txBody>
          <a:bodyPr/>
          <a:lstStyle/>
          <a:p>
            <a:pPr marL="342900" indent="-342900">
              <a:buFont typeface="+mj-lt"/>
              <a:buAutoNum type="arabicPeriod"/>
            </a:pPr>
            <a:r>
              <a:rPr lang="en-US" dirty="0"/>
              <a:t> Infrastructure for Architecture &amp; Engineering, Design and Development, Implementation and Deployment, Governance and ongoing Alignment and Engagement</a:t>
            </a:r>
          </a:p>
          <a:p>
            <a:pPr marL="342900" indent="-342900">
              <a:buFont typeface="+mj-lt"/>
              <a:buAutoNum type="arabicPeriod"/>
            </a:pPr>
            <a:endParaRPr lang="en-US" dirty="0"/>
          </a:p>
          <a:p>
            <a:pPr marL="342900" indent="-342900">
              <a:buFont typeface="+mj-lt"/>
              <a:buAutoNum type="arabicPeriod"/>
            </a:pPr>
            <a:r>
              <a:rPr lang="en-US" dirty="0"/>
              <a:t>Strategy and Policy Deployment (some version of Hoshin </a:t>
            </a:r>
            <a:r>
              <a:rPr lang="en-US" dirty="0" err="1"/>
              <a:t>Kanri</a:t>
            </a:r>
            <a:r>
              <a:rPr lang="en-US" dirty="0"/>
              <a:t>)</a:t>
            </a:r>
          </a:p>
          <a:p>
            <a:pPr marL="342900" indent="-342900">
              <a:buFont typeface="+mj-lt"/>
              <a:buAutoNum type="arabicPeriod"/>
            </a:pPr>
            <a:endParaRPr lang="en-US" dirty="0"/>
          </a:p>
          <a:p>
            <a:pPr marL="342900" indent="-342900">
              <a:buFont typeface="+mj-lt"/>
              <a:buAutoNum type="arabicPeriod"/>
            </a:pPr>
            <a:r>
              <a:rPr lang="en-US" dirty="0"/>
              <a:t>‘Management System’ Framework, Model—explicit, tailored, practical</a:t>
            </a:r>
          </a:p>
          <a:p>
            <a:pPr marL="342900" indent="-342900">
              <a:buFont typeface="+mj-lt"/>
              <a:buAutoNum type="arabicPeriod"/>
            </a:pPr>
            <a:endParaRPr lang="en-US" dirty="0"/>
          </a:p>
          <a:p>
            <a:pPr marL="342900" indent="-342900">
              <a:buFont typeface="+mj-lt"/>
              <a:buAutoNum type="arabicPeriod"/>
            </a:pPr>
            <a:r>
              <a:rPr lang="en-US" dirty="0"/>
              <a:t>PDSA System, infusing ‘B’ (Transformation, Reinvention, Reengineering, Continuous Improvement) into the way everyone works</a:t>
            </a:r>
          </a:p>
          <a:p>
            <a:pPr marL="755650" lvl="1" indent="-342900"/>
            <a:r>
              <a:rPr lang="en-US" dirty="0"/>
              <a:t>Tiered Huddle System</a:t>
            </a:r>
          </a:p>
          <a:p>
            <a:pPr marL="342900" indent="-342900">
              <a:buFont typeface="+mj-lt"/>
              <a:buAutoNum type="arabicPeriod"/>
            </a:pPr>
            <a:endParaRPr lang="en-US" dirty="0"/>
          </a:p>
          <a:p>
            <a:pPr marL="342900" indent="-342900">
              <a:buFont typeface="+mj-lt"/>
              <a:buAutoNum type="arabicPeriod"/>
            </a:pPr>
            <a:r>
              <a:rPr lang="en-US" dirty="0"/>
              <a:t>Visible Measurement/Management System (Op Analytics)</a:t>
            </a:r>
          </a:p>
          <a:p>
            <a:pPr marL="342900" indent="-342900">
              <a:buFont typeface="+mj-lt"/>
              <a:buAutoNum type="arabicPeriod"/>
            </a:pPr>
            <a:endParaRPr lang="en-US" dirty="0"/>
          </a:p>
          <a:p>
            <a:pPr marL="0" indent="0">
              <a:buNone/>
            </a:pPr>
            <a:endParaRPr lang="en-US" dirty="0"/>
          </a:p>
          <a:p>
            <a:pPr marL="342900" indent="-342900">
              <a:buFont typeface="+mj-lt"/>
              <a:buAutoNum type="arabicPeriod"/>
            </a:pPr>
            <a:endParaRPr lang="en-US" dirty="0"/>
          </a:p>
        </p:txBody>
      </p:sp>
      <p:sp>
        <p:nvSpPr>
          <p:cNvPr id="4" name="Rectangle: Rounded Corners 3">
            <a:extLst>
              <a:ext uri="{FF2B5EF4-FFF2-40B4-BE49-F238E27FC236}">
                <a16:creationId xmlns:a16="http://schemas.microsoft.com/office/drawing/2014/main" id="{B79D0A2A-E1CA-9345-4E54-9779FF5A2CBD}"/>
              </a:ext>
            </a:extLst>
          </p:cNvPr>
          <p:cNvSpPr/>
          <p:nvPr/>
        </p:nvSpPr>
        <p:spPr bwMode="auto">
          <a:xfrm>
            <a:off x="131275" y="3124200"/>
            <a:ext cx="8610600" cy="838200"/>
          </a:xfrm>
          <a:prstGeom prst="roundRect">
            <a:avLst/>
          </a:prstGeom>
          <a:solidFill>
            <a:schemeClr val="accent1">
              <a:alpha val="26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2041665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Slide Number Placeholder 5"/>
          <p:cNvSpPr txBox="1">
            <a:spLocks noGrp="1"/>
          </p:cNvSpPr>
          <p:nvPr>
            <p:ph type="sldNum" sz="quarter" idx="2"/>
          </p:nvPr>
        </p:nvSpPr>
        <p:spPr>
          <a:xfrm>
            <a:off x="8880556" y="5681902"/>
            <a:ext cx="125684"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32</a:t>
            </a:fld>
            <a:endParaRPr/>
          </a:p>
        </p:txBody>
      </p:sp>
      <p:sp>
        <p:nvSpPr>
          <p:cNvPr id="145" name="Title 5"/>
          <p:cNvSpPr txBox="1">
            <a:spLocks noGrp="1"/>
          </p:cNvSpPr>
          <p:nvPr>
            <p:ph type="ctrTitle"/>
          </p:nvPr>
        </p:nvSpPr>
        <p:spPr>
          <a:xfrm>
            <a:off x="402534" y="1838092"/>
            <a:ext cx="8741466" cy="1102520"/>
          </a:xfrm>
          <a:prstGeom prst="rect">
            <a:avLst/>
          </a:prstGeom>
        </p:spPr>
        <p:txBody>
          <a:bodyPr>
            <a:normAutofit fontScale="90000"/>
          </a:bodyPr>
          <a:lstStyle/>
          <a:p>
            <a:pPr>
              <a:defRPr sz="4400"/>
            </a:pPr>
            <a:r>
              <a:t>IISE Best Practice Case Studies in Analytics:</a:t>
            </a:r>
          </a:p>
        </p:txBody>
      </p:sp>
      <p:sp>
        <p:nvSpPr>
          <p:cNvPr id="146" name="Subtitle 6"/>
          <p:cNvSpPr txBox="1">
            <a:spLocks noGrp="1"/>
          </p:cNvSpPr>
          <p:nvPr>
            <p:ph type="subTitle" sz="half" idx="1"/>
          </p:nvPr>
        </p:nvSpPr>
        <p:spPr>
          <a:xfrm>
            <a:off x="402534" y="2940610"/>
            <a:ext cx="8166503" cy="1233719"/>
          </a:xfrm>
          <a:prstGeom prst="rect">
            <a:avLst/>
          </a:prstGeom>
        </p:spPr>
        <p:txBody>
          <a:bodyPr/>
          <a:lstStyle/>
          <a:p>
            <a:r>
              <a:t>University Health Network—Toronto </a:t>
            </a:r>
          </a:p>
        </p:txBody>
      </p:sp>
      <p:sp>
        <p:nvSpPr>
          <p:cNvPr id="147" name="TextBox 1"/>
          <p:cNvSpPr txBox="1"/>
          <p:nvPr/>
        </p:nvSpPr>
        <p:spPr>
          <a:xfrm>
            <a:off x="501014" y="4495800"/>
            <a:ext cx="1250634" cy="3000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34289">
            <a:spAutoFit/>
          </a:bodyPr>
          <a:lstStyle/>
          <a:p>
            <a:r>
              <a:rPr sz="1350"/>
              <a:t>JULY 14, 2023</a:t>
            </a:r>
          </a:p>
        </p:txBody>
      </p:sp>
    </p:spTree>
    <p:extLst>
      <p:ext uri="{BB962C8B-B14F-4D97-AF65-F5344CB8AC3E}">
        <p14:creationId xmlns:p14="http://schemas.microsoft.com/office/powerpoint/2010/main" val="2437843139"/>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 name="Slide Number Placeholder 5"/>
          <p:cNvSpPr txBox="1">
            <a:spLocks noGrp="1"/>
          </p:cNvSpPr>
          <p:nvPr>
            <p:ph type="sldNum" sz="quarter" idx="2"/>
          </p:nvPr>
        </p:nvSpPr>
        <p:spPr>
          <a:xfrm>
            <a:off x="8832979" y="5681902"/>
            <a:ext cx="173261"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33</a:t>
            </a:fld>
            <a:endParaRPr/>
          </a:p>
        </p:txBody>
      </p:sp>
      <p:sp>
        <p:nvSpPr>
          <p:cNvPr id="461" name="Rectangle 3"/>
          <p:cNvSpPr txBox="1"/>
          <p:nvPr/>
        </p:nvSpPr>
        <p:spPr>
          <a:xfrm>
            <a:off x="322007" y="965384"/>
            <a:ext cx="7482680" cy="9996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rIns="34289" anchor="ctr">
            <a:normAutofit/>
          </a:bodyPr>
          <a:lstStyle>
            <a:lvl1pPr defTabSz="672084">
              <a:lnSpc>
                <a:spcPct val="70000"/>
              </a:lnSpc>
              <a:defRPr sz="4704" b="1">
                <a:latin typeface="+mn-lt"/>
                <a:ea typeface="+mn-ea"/>
                <a:cs typeface="+mn-cs"/>
                <a:sym typeface="Helvetica"/>
              </a:defRPr>
            </a:lvl1pPr>
          </a:lstStyle>
          <a:p>
            <a:r>
              <a:rPr sz="3528"/>
              <a:t>The Five Fundamental Pillars For Change At Scale</a:t>
            </a:r>
          </a:p>
        </p:txBody>
      </p:sp>
      <p:sp>
        <p:nvSpPr>
          <p:cNvPr id="462" name="Rectangle 12"/>
          <p:cNvSpPr/>
          <p:nvPr/>
        </p:nvSpPr>
        <p:spPr>
          <a:xfrm>
            <a:off x="359826" y="2002204"/>
            <a:ext cx="838201" cy="57152"/>
          </a:xfrm>
          <a:prstGeom prst="rect">
            <a:avLst/>
          </a:prstGeom>
          <a:solidFill>
            <a:schemeClr val="accent2"/>
          </a:solidFill>
          <a:ln w="12700">
            <a:miter lim="400000"/>
          </a:ln>
        </p:spPr>
        <p:txBody>
          <a:bodyPr lIns="34289" rIns="34289"/>
          <a:lstStyle/>
          <a:p>
            <a:pPr>
              <a:defRPr sz="3600">
                <a:latin typeface="Arial"/>
                <a:ea typeface="Arial"/>
                <a:cs typeface="Arial"/>
                <a:sym typeface="Arial"/>
              </a:defRPr>
            </a:pPr>
            <a:endParaRPr sz="2700"/>
          </a:p>
        </p:txBody>
      </p:sp>
      <p:sp>
        <p:nvSpPr>
          <p:cNvPr id="463" name="Rounded Rectangle"/>
          <p:cNvSpPr/>
          <p:nvPr/>
        </p:nvSpPr>
        <p:spPr>
          <a:xfrm>
            <a:off x="293682" y="2369268"/>
            <a:ext cx="8556638" cy="791527"/>
          </a:xfrm>
          <a:prstGeom prst="roundRect">
            <a:avLst>
              <a:gd name="adj" fmla="val 15000"/>
            </a:avLst>
          </a:prstGeom>
          <a:solidFill>
            <a:srgbClr val="E6B696"/>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464" name="VISION &amp; LEADERSHIP"/>
          <p:cNvSpPr txBox="1"/>
          <p:nvPr/>
        </p:nvSpPr>
        <p:spPr>
          <a:xfrm>
            <a:off x="1250487" y="2481186"/>
            <a:ext cx="1385176" cy="5676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20" tIns="45720" rIns="45720" bIns="45720" anchor="ctr">
            <a:spAutoFit/>
          </a:bodyPr>
          <a:lstStyle>
            <a:lvl1pPr algn="ctr" defTabSz="1087106">
              <a:defRPr sz="2000">
                <a:latin typeface="游ゴシック体 ボールド"/>
                <a:ea typeface="游ゴシック体 ボールド"/>
                <a:cs typeface="游ゴシック体 ボールド"/>
                <a:sym typeface="游ゴシック体 ボールド"/>
              </a:defRPr>
            </a:lvl1pPr>
          </a:lstStyle>
          <a:p>
            <a:r>
              <a:rPr sz="1500"/>
              <a:t>VISION &amp; LEADERSHIP</a:t>
            </a:r>
          </a:p>
        </p:txBody>
      </p:sp>
      <p:sp>
        <p:nvSpPr>
          <p:cNvPr id="465" name="Articulate a vision (North Star) of driving business change using AI and provide executive support to motivate and influence the AI journey"/>
          <p:cNvSpPr txBox="1"/>
          <p:nvPr/>
        </p:nvSpPr>
        <p:spPr>
          <a:xfrm>
            <a:off x="2827827" y="2510603"/>
            <a:ext cx="5999970" cy="5088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defTabSz="815330">
              <a:lnSpc>
                <a:spcPct val="70000"/>
              </a:lnSpc>
              <a:defRPr sz="1900"/>
            </a:pPr>
            <a:r>
              <a:rPr sz="1425"/>
              <a:t>Articulate a vision (</a:t>
            </a:r>
            <a:r>
              <a:rPr sz="1425">
                <a:latin typeface="游ゴシック体 ボールド"/>
                <a:ea typeface="游ゴシック体 ボールド"/>
                <a:cs typeface="游ゴシック体 ボールド"/>
                <a:sym typeface="游ゴシック体 ボールド"/>
              </a:rPr>
              <a:t>North Star</a:t>
            </a:r>
            <a:r>
              <a:rPr sz="1425"/>
              <a:t>) of driving business change using data &amp; analytics and provide </a:t>
            </a:r>
            <a:r>
              <a:rPr sz="1425">
                <a:latin typeface="游ゴシック体 ボールド"/>
                <a:ea typeface="游ゴシック体 ボールド"/>
                <a:cs typeface="游ゴシック体 ボールド"/>
                <a:sym typeface="游ゴシック体 ボールド"/>
              </a:rPr>
              <a:t>executive support </a:t>
            </a:r>
            <a:r>
              <a:rPr sz="1425"/>
              <a:t>to motivate and influence the improvement journey</a:t>
            </a:r>
          </a:p>
        </p:txBody>
      </p:sp>
      <p:sp>
        <p:nvSpPr>
          <p:cNvPr id="466" name="Rounded Rectangle"/>
          <p:cNvSpPr/>
          <p:nvPr/>
        </p:nvSpPr>
        <p:spPr>
          <a:xfrm>
            <a:off x="4730200" y="3339880"/>
            <a:ext cx="4114802" cy="1016443"/>
          </a:xfrm>
          <a:prstGeom prst="roundRect">
            <a:avLst>
              <a:gd name="adj" fmla="val 11681"/>
            </a:avLst>
          </a:prstGeom>
          <a:solidFill>
            <a:srgbClr val="E6C59E"/>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pic>
        <p:nvPicPr>
          <p:cNvPr id="467" name="noun_modeling_1724315.png" descr="noun_modeling_1724315.png"/>
          <p:cNvPicPr>
            <a:picLocks noChangeAspect="1"/>
          </p:cNvPicPr>
          <p:nvPr/>
        </p:nvPicPr>
        <p:blipFill>
          <a:blip r:embed="rId2"/>
          <a:stretch>
            <a:fillRect/>
          </a:stretch>
        </p:blipFill>
        <p:spPr>
          <a:xfrm>
            <a:off x="4683914" y="3258884"/>
            <a:ext cx="1178434" cy="1178434"/>
          </a:xfrm>
          <a:prstGeom prst="rect">
            <a:avLst/>
          </a:prstGeom>
          <a:ln w="12700">
            <a:miter lim="400000"/>
          </a:ln>
        </p:spPr>
      </p:pic>
      <p:sp>
        <p:nvSpPr>
          <p:cNvPr id="468" name="OPERATING MODEL…"/>
          <p:cNvSpPr txBox="1"/>
          <p:nvPr/>
        </p:nvSpPr>
        <p:spPr>
          <a:xfrm>
            <a:off x="5795688" y="3420729"/>
            <a:ext cx="2947735" cy="6910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20" tIns="45720" rIns="45720" bIns="45720">
            <a:spAutoFit/>
          </a:bodyPr>
          <a:lstStyle/>
          <a:p>
            <a:pPr defTabSz="815330">
              <a:spcBef>
                <a:spcPts val="600"/>
              </a:spcBef>
              <a:defRPr>
                <a:latin typeface="游ゴシック体 ボールド"/>
                <a:ea typeface="游ゴシック体 ボールド"/>
                <a:cs typeface="游ゴシック体 ボールド"/>
                <a:sym typeface="游ゴシック体 ボールド"/>
              </a:defRPr>
            </a:pPr>
            <a:r>
              <a:rPr sz="1350"/>
              <a:t>OPERATING MODEL</a:t>
            </a:r>
            <a:endParaRPr sz="2775" b="1">
              <a:latin typeface="+mn-lt"/>
              <a:ea typeface="+mn-ea"/>
              <a:cs typeface="+mn-cs"/>
              <a:sym typeface="Helvetica"/>
            </a:endParaRPr>
          </a:p>
          <a:p>
            <a:pPr defTabSz="815330">
              <a:lnSpc>
                <a:spcPct val="80000"/>
              </a:lnSpc>
              <a:defRPr sz="1400"/>
            </a:pPr>
            <a:r>
              <a:rPr sz="1050"/>
              <a:t>Deploy an </a:t>
            </a:r>
            <a:r>
              <a:rPr sz="1050">
                <a:latin typeface="游ゴシック体 ボールド"/>
                <a:ea typeface="游ゴシック体 ボールド"/>
                <a:cs typeface="游ゴシック体 ボールド"/>
                <a:sym typeface="游ゴシック体 ボールド"/>
              </a:rPr>
              <a:t>operating model </a:t>
            </a:r>
            <a:br>
              <a:rPr sz="1050">
                <a:latin typeface="游ゴシック体 ボールド"/>
                <a:ea typeface="游ゴシック体 ボールド"/>
                <a:cs typeface="游ゴシック体 ボールド"/>
                <a:sym typeface="游ゴシック体 ボールド"/>
              </a:rPr>
            </a:br>
            <a:r>
              <a:rPr sz="1050"/>
              <a:t>to better organize data capabilities and develop, deploy, &amp; operate analytics  solutions</a:t>
            </a:r>
          </a:p>
        </p:txBody>
      </p:sp>
      <p:sp>
        <p:nvSpPr>
          <p:cNvPr id="469" name="Rounded Rectangle"/>
          <p:cNvSpPr/>
          <p:nvPr/>
        </p:nvSpPr>
        <p:spPr>
          <a:xfrm>
            <a:off x="295947" y="3339880"/>
            <a:ext cx="4114802" cy="1016443"/>
          </a:xfrm>
          <a:prstGeom prst="roundRect">
            <a:avLst>
              <a:gd name="adj" fmla="val 11681"/>
            </a:avLst>
          </a:prstGeom>
          <a:solidFill>
            <a:srgbClr val="E6C59E"/>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470" name="BUSINESS VALUE…"/>
          <p:cNvSpPr txBox="1"/>
          <p:nvPr/>
        </p:nvSpPr>
        <p:spPr>
          <a:xfrm>
            <a:off x="1429955" y="3443201"/>
            <a:ext cx="2879154" cy="74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34289">
            <a:spAutoFit/>
          </a:bodyPr>
          <a:lstStyle/>
          <a:p>
            <a:pPr defTabSz="815330">
              <a:spcBef>
                <a:spcPts val="600"/>
              </a:spcBef>
              <a:defRPr>
                <a:latin typeface="游ゴシック体 ボールド"/>
                <a:ea typeface="游ゴシック体 ボールド"/>
                <a:cs typeface="游ゴシック体 ボールド"/>
                <a:sym typeface="游ゴシック体 ボールド"/>
              </a:defRPr>
            </a:pPr>
            <a:r>
              <a:rPr sz="1350"/>
              <a:t>BUSINESS VALUE</a:t>
            </a:r>
            <a:endParaRPr sz="2775" b="1">
              <a:latin typeface="Graphik"/>
              <a:ea typeface="Graphik"/>
              <a:cs typeface="Graphik"/>
              <a:sym typeface="Graphik"/>
            </a:endParaRPr>
          </a:p>
          <a:p>
            <a:pPr defTabSz="815330">
              <a:lnSpc>
                <a:spcPct val="80000"/>
              </a:lnSpc>
              <a:defRPr sz="1600"/>
            </a:pPr>
            <a:r>
              <a:rPr sz="1200"/>
              <a:t>Develop an effective strategy to ensure the implementation of targeted </a:t>
            </a:r>
            <a:r>
              <a:rPr sz="1200">
                <a:latin typeface="游ゴシック体 ボールド"/>
                <a:ea typeface="游ゴシック体 ボールド"/>
                <a:cs typeface="游ゴシック体 ボールド"/>
                <a:sym typeface="游ゴシック体 ボールド"/>
              </a:rPr>
              <a:t>use cases </a:t>
            </a:r>
            <a:r>
              <a:rPr sz="1200"/>
              <a:t>to realize business benefits</a:t>
            </a:r>
          </a:p>
        </p:txBody>
      </p:sp>
      <p:pic>
        <p:nvPicPr>
          <p:cNvPr id="471" name="noun_Value_815898.png" descr="noun_Value_815898.png"/>
          <p:cNvPicPr>
            <a:picLocks noChangeAspect="1"/>
          </p:cNvPicPr>
          <p:nvPr/>
        </p:nvPicPr>
        <p:blipFill>
          <a:blip r:embed="rId3"/>
          <a:stretch>
            <a:fillRect/>
          </a:stretch>
        </p:blipFill>
        <p:spPr>
          <a:xfrm>
            <a:off x="333468" y="3296377"/>
            <a:ext cx="1103451" cy="1103450"/>
          </a:xfrm>
          <a:prstGeom prst="rect">
            <a:avLst/>
          </a:prstGeom>
          <a:ln w="12700">
            <a:miter lim="400000"/>
          </a:ln>
        </p:spPr>
      </p:pic>
      <p:sp>
        <p:nvSpPr>
          <p:cNvPr id="472" name="Rounded Rectangle"/>
          <p:cNvSpPr/>
          <p:nvPr/>
        </p:nvSpPr>
        <p:spPr>
          <a:xfrm>
            <a:off x="295947" y="4557090"/>
            <a:ext cx="4114802" cy="1016443"/>
          </a:xfrm>
          <a:prstGeom prst="roundRect">
            <a:avLst>
              <a:gd name="adj" fmla="val 11681"/>
            </a:avLst>
          </a:prstGeom>
          <a:solidFill>
            <a:srgbClr val="EFD4A3"/>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pic>
        <p:nvPicPr>
          <p:cNvPr id="473" name="noun_Certificate_2428984.png" descr="noun_Certificate_2428984.png"/>
          <p:cNvPicPr>
            <a:picLocks noChangeAspect="1"/>
          </p:cNvPicPr>
          <p:nvPr/>
        </p:nvPicPr>
        <p:blipFill>
          <a:blip r:embed="rId4"/>
          <a:stretch>
            <a:fillRect/>
          </a:stretch>
        </p:blipFill>
        <p:spPr>
          <a:xfrm>
            <a:off x="333468" y="4557090"/>
            <a:ext cx="1103451" cy="1103450"/>
          </a:xfrm>
          <a:prstGeom prst="rect">
            <a:avLst/>
          </a:prstGeom>
          <a:ln w="12700">
            <a:miter lim="400000"/>
          </a:ln>
        </p:spPr>
      </p:pic>
      <p:sp>
        <p:nvSpPr>
          <p:cNvPr id="474" name="GOVERNANCE &amp; POLICIES…"/>
          <p:cNvSpPr txBox="1"/>
          <p:nvPr/>
        </p:nvSpPr>
        <p:spPr>
          <a:xfrm>
            <a:off x="1418346" y="4638728"/>
            <a:ext cx="2901298" cy="74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20" tIns="45720" rIns="45720" bIns="45720">
            <a:spAutoFit/>
          </a:bodyPr>
          <a:lstStyle/>
          <a:p>
            <a:pPr defTabSz="815330">
              <a:spcBef>
                <a:spcPts val="600"/>
              </a:spcBef>
              <a:defRPr>
                <a:latin typeface="游ゴシック体 ボールド"/>
                <a:ea typeface="游ゴシック体 ボールド"/>
                <a:cs typeface="游ゴシック体 ボールド"/>
                <a:sym typeface="游ゴシック体 ボールド"/>
              </a:defRPr>
            </a:pPr>
            <a:r>
              <a:rPr sz="1350"/>
              <a:t>GOVERNANCE &amp; POLICIES</a:t>
            </a:r>
            <a:endParaRPr sz="2775" b="1">
              <a:latin typeface="Graphik"/>
              <a:ea typeface="Graphik"/>
              <a:cs typeface="Graphik"/>
              <a:sym typeface="Graphik"/>
            </a:endParaRPr>
          </a:p>
          <a:p>
            <a:pPr defTabSz="815330">
              <a:lnSpc>
                <a:spcPct val="80000"/>
              </a:lnSpc>
              <a:defRPr sz="1600"/>
            </a:pPr>
            <a:r>
              <a:rPr sz="1200"/>
              <a:t>Establish robust rules and processes to ensure an organizational culture that promotes responsible use of data </a:t>
            </a:r>
          </a:p>
        </p:txBody>
      </p:sp>
      <p:sp>
        <p:nvSpPr>
          <p:cNvPr id="475" name="Rounded Rectangle"/>
          <p:cNvSpPr/>
          <p:nvPr/>
        </p:nvSpPr>
        <p:spPr>
          <a:xfrm>
            <a:off x="4730200" y="4535407"/>
            <a:ext cx="4114802" cy="1016443"/>
          </a:xfrm>
          <a:prstGeom prst="roundRect">
            <a:avLst>
              <a:gd name="adj" fmla="val 11681"/>
            </a:avLst>
          </a:prstGeom>
          <a:solidFill>
            <a:srgbClr val="EFD4A3"/>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476" name="TECHNOLOGY…"/>
          <p:cNvSpPr txBox="1"/>
          <p:nvPr/>
        </p:nvSpPr>
        <p:spPr>
          <a:xfrm>
            <a:off x="5818368" y="4610778"/>
            <a:ext cx="2901298" cy="74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20" tIns="45720" rIns="45720" bIns="45720">
            <a:spAutoFit/>
          </a:bodyPr>
          <a:lstStyle/>
          <a:p>
            <a:pPr defTabSz="815330">
              <a:spcBef>
                <a:spcPts val="600"/>
              </a:spcBef>
              <a:defRPr>
                <a:latin typeface="游ゴシック体 ボールド"/>
                <a:ea typeface="游ゴシック体 ボールド"/>
                <a:cs typeface="游ゴシック体 ボールド"/>
                <a:sym typeface="游ゴシック体 ボールド"/>
              </a:defRPr>
            </a:pPr>
            <a:r>
              <a:rPr sz="1350"/>
              <a:t>TECHNOLOGY</a:t>
            </a:r>
            <a:endParaRPr sz="2775" b="1">
              <a:latin typeface="Graphik"/>
              <a:ea typeface="Graphik"/>
              <a:cs typeface="Graphik"/>
              <a:sym typeface="Graphik"/>
            </a:endParaRPr>
          </a:p>
          <a:p>
            <a:pPr defTabSz="815330">
              <a:lnSpc>
                <a:spcPct val="80000"/>
              </a:lnSpc>
              <a:defRPr sz="1600"/>
            </a:pPr>
            <a:r>
              <a:rPr sz="1200"/>
              <a:t>Build </a:t>
            </a:r>
            <a:r>
              <a:rPr sz="1200">
                <a:latin typeface="游ゴシック体 ボールド"/>
                <a:ea typeface="游ゴシック体 ボールド"/>
                <a:cs typeface="游ゴシック体 ボールド"/>
                <a:sym typeface="游ゴシック体 ボールド"/>
              </a:rPr>
              <a:t>data architecture </a:t>
            </a:r>
            <a:r>
              <a:rPr sz="1200"/>
              <a:t>and deploy an </a:t>
            </a:r>
            <a:r>
              <a:rPr sz="1200">
                <a:latin typeface="游ゴシック体 ボールド"/>
                <a:ea typeface="游ゴシック体 ボールド"/>
                <a:cs typeface="游ゴシック体 ボールド"/>
                <a:sym typeface="游ゴシック体 ボールド"/>
              </a:rPr>
              <a:t>analytics platform </a:t>
            </a:r>
            <a:r>
              <a:rPr sz="1200"/>
              <a:t>to scale analytics solutions across the organization</a:t>
            </a:r>
          </a:p>
        </p:txBody>
      </p:sp>
      <p:pic>
        <p:nvPicPr>
          <p:cNvPr id="477" name="noun_Technology_2357684.png" descr="noun_Technology_2357684.png"/>
          <p:cNvPicPr>
            <a:picLocks noChangeAspect="1"/>
          </p:cNvPicPr>
          <p:nvPr/>
        </p:nvPicPr>
        <p:blipFill>
          <a:blip r:embed="rId5"/>
          <a:stretch>
            <a:fillRect/>
          </a:stretch>
        </p:blipFill>
        <p:spPr>
          <a:xfrm>
            <a:off x="4687680" y="4458178"/>
            <a:ext cx="1170902" cy="1170902"/>
          </a:xfrm>
          <a:prstGeom prst="rect">
            <a:avLst/>
          </a:prstGeom>
          <a:ln w="12700">
            <a:miter lim="400000"/>
          </a:ln>
        </p:spPr>
      </p:pic>
      <p:pic>
        <p:nvPicPr>
          <p:cNvPr id="478" name="noun_Compass_592352.png" descr="noun_Compass_592352.png"/>
          <p:cNvPicPr>
            <a:picLocks noChangeAspect="1"/>
          </p:cNvPicPr>
          <p:nvPr/>
        </p:nvPicPr>
        <p:blipFill>
          <a:blip r:embed="rId6"/>
          <a:stretch>
            <a:fillRect/>
          </a:stretch>
        </p:blipFill>
        <p:spPr>
          <a:xfrm>
            <a:off x="316203" y="2302308"/>
            <a:ext cx="925446" cy="925446"/>
          </a:xfrm>
          <a:prstGeom prst="rect">
            <a:avLst/>
          </a:prstGeom>
          <a:ln w="12700">
            <a:miter lim="400000"/>
          </a:ln>
        </p:spPr>
      </p:pic>
    </p:spTree>
    <p:extLst>
      <p:ext uri="{BB962C8B-B14F-4D97-AF65-F5344CB8AC3E}">
        <p14:creationId xmlns:p14="http://schemas.microsoft.com/office/powerpoint/2010/main" val="622139300"/>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 name="Slide Number Placeholder 5"/>
          <p:cNvSpPr txBox="1">
            <a:spLocks noGrp="1"/>
          </p:cNvSpPr>
          <p:nvPr>
            <p:ph type="sldNum" sz="quarter" idx="2"/>
          </p:nvPr>
        </p:nvSpPr>
        <p:spPr>
          <a:xfrm>
            <a:off x="8832979" y="5681902"/>
            <a:ext cx="173261"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34</a:t>
            </a:fld>
            <a:endParaRPr/>
          </a:p>
        </p:txBody>
      </p:sp>
      <p:pic>
        <p:nvPicPr>
          <p:cNvPr id="481" name="Satya_Narayan_strategic_alignment_figure_1.jpg" descr="Satya_Narayan_strategic_alignment_figure_1.jpg"/>
          <p:cNvPicPr>
            <a:picLocks noChangeAspect="1"/>
          </p:cNvPicPr>
          <p:nvPr/>
        </p:nvPicPr>
        <p:blipFill>
          <a:blip r:embed="rId2"/>
          <a:stretch>
            <a:fillRect/>
          </a:stretch>
        </p:blipFill>
        <p:spPr>
          <a:xfrm>
            <a:off x="4264279" y="2727271"/>
            <a:ext cx="4481747" cy="2895053"/>
          </a:xfrm>
          <a:prstGeom prst="rect">
            <a:avLst/>
          </a:prstGeom>
          <a:ln w="12700">
            <a:miter lim="400000"/>
          </a:ln>
        </p:spPr>
      </p:pic>
      <p:sp>
        <p:nvSpPr>
          <p:cNvPr id="482" name="Title 5"/>
          <p:cNvSpPr txBox="1"/>
          <p:nvPr/>
        </p:nvSpPr>
        <p:spPr>
          <a:xfrm>
            <a:off x="512533" y="1235675"/>
            <a:ext cx="8455809" cy="13419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rIns="34289">
            <a:normAutofit/>
          </a:bodyPr>
          <a:lstStyle>
            <a:lvl1pPr defTabSz="685800">
              <a:lnSpc>
                <a:spcPct val="70000"/>
              </a:lnSpc>
              <a:defRPr sz="4800" b="1">
                <a:latin typeface="+mn-lt"/>
                <a:ea typeface="+mn-ea"/>
                <a:cs typeface="+mn-cs"/>
                <a:sym typeface="Helvetica"/>
              </a:defRPr>
            </a:lvl1pPr>
          </a:lstStyle>
          <a:p>
            <a:r>
              <a:rPr sz="3600"/>
              <a:t>Organizations need a vehicle to execute the strategy</a:t>
            </a:r>
          </a:p>
        </p:txBody>
      </p:sp>
      <p:sp>
        <p:nvSpPr>
          <p:cNvPr id="483" name="Rectangle 12"/>
          <p:cNvSpPr/>
          <p:nvPr/>
        </p:nvSpPr>
        <p:spPr>
          <a:xfrm>
            <a:off x="531440" y="2204135"/>
            <a:ext cx="838201" cy="57152"/>
          </a:xfrm>
          <a:prstGeom prst="rect">
            <a:avLst/>
          </a:prstGeom>
          <a:solidFill>
            <a:schemeClr val="accent2"/>
          </a:solidFill>
          <a:ln w="12700">
            <a:miter lim="400000"/>
          </a:ln>
        </p:spPr>
        <p:txBody>
          <a:bodyPr lIns="34289" rIns="34289"/>
          <a:lstStyle/>
          <a:p>
            <a:pPr>
              <a:defRPr sz="3600">
                <a:latin typeface="Arial"/>
                <a:ea typeface="Arial"/>
                <a:cs typeface="Arial"/>
                <a:sym typeface="Arial"/>
              </a:defRPr>
            </a:pPr>
            <a:endParaRPr sz="2700"/>
          </a:p>
        </p:txBody>
      </p:sp>
      <p:sp>
        <p:nvSpPr>
          <p:cNvPr id="484" name="Bi-directional link from strategy to operations…"/>
          <p:cNvSpPr txBox="1"/>
          <p:nvPr/>
        </p:nvSpPr>
        <p:spPr>
          <a:xfrm>
            <a:off x="531440" y="2833835"/>
            <a:ext cx="3263285" cy="25918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spAutoFit/>
          </a:bodyPr>
          <a:lstStyle/>
          <a:p>
            <a:pPr marL="257175" indent="-257175" defTabSz="308075">
              <a:lnSpc>
                <a:spcPct val="110000"/>
              </a:lnSpc>
              <a:spcBef>
                <a:spcPts val="300"/>
              </a:spcBef>
              <a:buSzPct val="100000"/>
              <a:buChar char="•"/>
              <a:defRPr sz="2000">
                <a:latin typeface="游ゴシック体 ボールド"/>
                <a:ea typeface="游ゴシック体 ボールド"/>
                <a:cs typeface="游ゴシック体 ボールド"/>
                <a:sym typeface="游ゴシック体 ボールド"/>
              </a:defRPr>
            </a:pPr>
            <a:r>
              <a:rPr sz="1800" dirty="0"/>
              <a:t>Bi-directional link from strategy to operations</a:t>
            </a:r>
            <a:endParaRPr sz="4000" b="1" i="1" dirty="0">
              <a:latin typeface="+mn-lt"/>
              <a:ea typeface="+mn-ea"/>
              <a:cs typeface="+mn-cs"/>
              <a:sym typeface="Helvetica"/>
            </a:endParaRPr>
          </a:p>
          <a:p>
            <a:pPr marL="257175" indent="-257175" defTabSz="308075">
              <a:lnSpc>
                <a:spcPct val="110000"/>
              </a:lnSpc>
              <a:spcBef>
                <a:spcPts val="300"/>
              </a:spcBef>
              <a:buSzPct val="100000"/>
              <a:buChar char="•"/>
              <a:defRPr sz="2000">
                <a:latin typeface="游ゴシック体 ボールド"/>
                <a:ea typeface="游ゴシック体 ボールド"/>
                <a:cs typeface="游ゴシック体 ボールド"/>
                <a:sym typeface="游ゴシック体 ボールド"/>
              </a:defRPr>
            </a:pPr>
            <a:r>
              <a:rPr sz="1800" dirty="0"/>
              <a:t>“Run the business - change the business”</a:t>
            </a:r>
            <a:endParaRPr sz="4000" b="1" i="1" dirty="0">
              <a:latin typeface="+mn-lt"/>
              <a:ea typeface="+mn-ea"/>
              <a:cs typeface="+mn-cs"/>
              <a:sym typeface="Helvetica"/>
            </a:endParaRPr>
          </a:p>
          <a:p>
            <a:pPr marL="257175" indent="-257175" defTabSz="308075">
              <a:lnSpc>
                <a:spcPct val="110000"/>
              </a:lnSpc>
              <a:spcBef>
                <a:spcPts val="300"/>
              </a:spcBef>
              <a:buSzPct val="100000"/>
              <a:buChar char="•"/>
              <a:defRPr sz="2000">
                <a:latin typeface="游ゴシック体 ボールド"/>
                <a:ea typeface="游ゴシック体 ボールド"/>
                <a:cs typeface="游ゴシック体 ボールド"/>
                <a:sym typeface="游ゴシック体 ボールド"/>
              </a:defRPr>
            </a:pPr>
            <a:r>
              <a:rPr sz="1800" dirty="0"/>
              <a:t>Structure to manage the complexity</a:t>
            </a:r>
            <a:endParaRPr sz="4000" b="1" i="1" dirty="0">
              <a:latin typeface="+mn-lt"/>
              <a:ea typeface="+mn-ea"/>
              <a:cs typeface="+mn-cs"/>
              <a:sym typeface="Helvetica"/>
            </a:endParaRPr>
          </a:p>
          <a:p>
            <a:pPr marL="257175" indent="-257175" defTabSz="308075">
              <a:lnSpc>
                <a:spcPct val="110000"/>
              </a:lnSpc>
              <a:spcBef>
                <a:spcPts val="300"/>
              </a:spcBef>
              <a:buSzPct val="100000"/>
              <a:buChar char="•"/>
              <a:defRPr sz="2000">
                <a:latin typeface="游ゴシック体 ボールド"/>
                <a:ea typeface="游ゴシック体 ボールド"/>
                <a:cs typeface="游ゴシック体 ボールド"/>
                <a:sym typeface="游ゴシック体 ボールド"/>
              </a:defRPr>
            </a:pPr>
            <a:r>
              <a:rPr sz="1800" dirty="0"/>
              <a:t>Structure to promote collaboration (no silos)</a:t>
            </a:r>
          </a:p>
        </p:txBody>
      </p:sp>
    </p:spTree>
    <p:extLst>
      <p:ext uri="{BB962C8B-B14F-4D97-AF65-F5344CB8AC3E}">
        <p14:creationId xmlns:p14="http://schemas.microsoft.com/office/powerpoint/2010/main" val="2369896792"/>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AFA77-F250-701A-80C8-B26BF59E3649}"/>
              </a:ext>
            </a:extLst>
          </p:cNvPr>
          <p:cNvSpPr>
            <a:spLocks noGrp="1"/>
          </p:cNvSpPr>
          <p:nvPr>
            <p:ph type="title"/>
          </p:nvPr>
        </p:nvSpPr>
        <p:spPr>
          <a:xfrm>
            <a:off x="381000" y="76200"/>
            <a:ext cx="6477000" cy="685800"/>
          </a:xfrm>
        </p:spPr>
        <p:txBody>
          <a:bodyPr/>
          <a:lstStyle/>
          <a:p>
            <a:r>
              <a:rPr lang="en-US" dirty="0"/>
              <a:t>Simpler Version of Essential Components</a:t>
            </a:r>
          </a:p>
        </p:txBody>
      </p:sp>
      <p:sp>
        <p:nvSpPr>
          <p:cNvPr id="3" name="Content Placeholder 2">
            <a:extLst>
              <a:ext uri="{FF2B5EF4-FFF2-40B4-BE49-F238E27FC236}">
                <a16:creationId xmlns:a16="http://schemas.microsoft.com/office/drawing/2014/main" id="{7B16BC75-C2AB-83B4-C85C-5282FE6F9BC5}"/>
              </a:ext>
            </a:extLst>
          </p:cNvPr>
          <p:cNvSpPr>
            <a:spLocks noGrp="1"/>
          </p:cNvSpPr>
          <p:nvPr>
            <p:ph idx="1"/>
          </p:nvPr>
        </p:nvSpPr>
        <p:spPr>
          <a:xfrm>
            <a:off x="379491" y="1371600"/>
            <a:ext cx="8229600" cy="4525963"/>
          </a:xfrm>
        </p:spPr>
        <p:txBody>
          <a:bodyPr/>
          <a:lstStyle/>
          <a:p>
            <a:pPr marL="342900" indent="-342900">
              <a:buFont typeface="+mj-lt"/>
              <a:buAutoNum type="arabicPeriod"/>
            </a:pPr>
            <a:r>
              <a:rPr lang="en-US" dirty="0"/>
              <a:t> Infrastructure for Architecture &amp; Engineering, Design and Development, Implementation and Deployment, Governance and ongoing Alignment and Engagement</a:t>
            </a:r>
          </a:p>
          <a:p>
            <a:pPr marL="342900" indent="-342900">
              <a:buFont typeface="+mj-lt"/>
              <a:buAutoNum type="arabicPeriod"/>
            </a:pPr>
            <a:endParaRPr lang="en-US" dirty="0"/>
          </a:p>
          <a:p>
            <a:pPr marL="342900" indent="-342900">
              <a:buFont typeface="+mj-lt"/>
              <a:buAutoNum type="arabicPeriod"/>
            </a:pPr>
            <a:r>
              <a:rPr lang="en-US" dirty="0"/>
              <a:t>Strategy and Policy Deployment (some version of Hoshin </a:t>
            </a:r>
            <a:r>
              <a:rPr lang="en-US" dirty="0" err="1"/>
              <a:t>Kanri</a:t>
            </a:r>
            <a:r>
              <a:rPr lang="en-US" dirty="0"/>
              <a:t>)</a:t>
            </a:r>
          </a:p>
          <a:p>
            <a:pPr marL="342900" indent="-342900">
              <a:buFont typeface="+mj-lt"/>
              <a:buAutoNum type="arabicPeriod"/>
            </a:pPr>
            <a:endParaRPr lang="en-US" dirty="0"/>
          </a:p>
          <a:p>
            <a:pPr marL="342900" indent="-342900">
              <a:buFont typeface="+mj-lt"/>
              <a:buAutoNum type="arabicPeriod"/>
            </a:pPr>
            <a:r>
              <a:rPr lang="en-US" dirty="0"/>
              <a:t>‘Management System’ Framework, Model—explicit, tailored, practical</a:t>
            </a:r>
          </a:p>
          <a:p>
            <a:pPr marL="342900" indent="-342900">
              <a:buFont typeface="+mj-lt"/>
              <a:buAutoNum type="arabicPeriod"/>
            </a:pPr>
            <a:endParaRPr lang="en-US" dirty="0"/>
          </a:p>
          <a:p>
            <a:pPr marL="342900" indent="-342900">
              <a:buFont typeface="+mj-lt"/>
              <a:buAutoNum type="arabicPeriod"/>
            </a:pPr>
            <a:r>
              <a:rPr lang="en-US" dirty="0"/>
              <a:t>PDSA System, infusing ‘B’ (Transformation, Reinvention, Reengineering, Continuous Improvement) into the way everyone works</a:t>
            </a:r>
          </a:p>
          <a:p>
            <a:pPr marL="755650" lvl="1" indent="-342900"/>
            <a:r>
              <a:rPr lang="en-US" dirty="0"/>
              <a:t>Tiered Huddle System</a:t>
            </a:r>
          </a:p>
          <a:p>
            <a:pPr marL="342900" indent="-342900">
              <a:buFont typeface="+mj-lt"/>
              <a:buAutoNum type="arabicPeriod"/>
            </a:pPr>
            <a:endParaRPr lang="en-US" dirty="0"/>
          </a:p>
          <a:p>
            <a:pPr marL="342900" indent="-342900">
              <a:buFont typeface="+mj-lt"/>
              <a:buAutoNum type="arabicPeriod"/>
            </a:pPr>
            <a:r>
              <a:rPr lang="en-US" dirty="0"/>
              <a:t>Visible Measurement/Management System (Op Analytics-to support and drive Study-Adjust)</a:t>
            </a:r>
          </a:p>
          <a:p>
            <a:pPr marL="342900" indent="-342900">
              <a:buFont typeface="+mj-lt"/>
              <a:buAutoNum type="arabicPeriod"/>
            </a:pPr>
            <a:endParaRPr lang="en-US" dirty="0"/>
          </a:p>
          <a:p>
            <a:pPr marL="0" indent="0">
              <a:buNone/>
            </a:pPr>
            <a:endParaRPr lang="en-US" dirty="0"/>
          </a:p>
          <a:p>
            <a:pPr marL="342900" indent="-342900">
              <a:buFont typeface="+mj-lt"/>
              <a:buAutoNum type="arabicPeriod"/>
            </a:pPr>
            <a:endParaRPr lang="en-US" dirty="0"/>
          </a:p>
        </p:txBody>
      </p:sp>
      <p:sp>
        <p:nvSpPr>
          <p:cNvPr id="4" name="Rectangle: Rounded Corners 3">
            <a:extLst>
              <a:ext uri="{FF2B5EF4-FFF2-40B4-BE49-F238E27FC236}">
                <a16:creationId xmlns:a16="http://schemas.microsoft.com/office/drawing/2014/main" id="{B79D0A2A-E1CA-9345-4E54-9779FF5A2CBD}"/>
              </a:ext>
            </a:extLst>
          </p:cNvPr>
          <p:cNvSpPr/>
          <p:nvPr/>
        </p:nvSpPr>
        <p:spPr bwMode="auto">
          <a:xfrm>
            <a:off x="153909" y="3886200"/>
            <a:ext cx="8610600" cy="1219200"/>
          </a:xfrm>
          <a:prstGeom prst="roundRect">
            <a:avLst/>
          </a:prstGeom>
          <a:solidFill>
            <a:schemeClr val="accent1">
              <a:alpha val="26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10694065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8209F-1E9E-7756-66AB-5B9BE1B4E87B}"/>
              </a:ext>
            </a:extLst>
          </p:cNvPr>
          <p:cNvSpPr>
            <a:spLocks noGrp="1"/>
          </p:cNvSpPr>
          <p:nvPr>
            <p:ph type="title"/>
          </p:nvPr>
        </p:nvSpPr>
        <p:spPr/>
        <p:txBody>
          <a:bodyPr/>
          <a:lstStyle/>
          <a:p>
            <a:r>
              <a:rPr lang="en-US" dirty="0"/>
              <a:t>NEED….</a:t>
            </a:r>
          </a:p>
        </p:txBody>
      </p:sp>
      <p:sp>
        <p:nvSpPr>
          <p:cNvPr id="3" name="Content Placeholder 2">
            <a:extLst>
              <a:ext uri="{FF2B5EF4-FFF2-40B4-BE49-F238E27FC236}">
                <a16:creationId xmlns:a16="http://schemas.microsoft.com/office/drawing/2014/main" id="{838939BF-B5E3-62FA-85F5-F1C1B82F88B9}"/>
              </a:ext>
            </a:extLst>
          </p:cNvPr>
          <p:cNvSpPr>
            <a:spLocks noGrp="1"/>
          </p:cNvSpPr>
          <p:nvPr>
            <p:ph idx="1"/>
          </p:nvPr>
        </p:nvSpPr>
        <p:spPr/>
        <p:txBody>
          <a:bodyPr/>
          <a:lstStyle/>
          <a:p>
            <a:r>
              <a:rPr lang="en-US" dirty="0"/>
              <a:t>We’ll need some ‘mechanism’ for engaging teams and individuals in focused ‘B’ work.</a:t>
            </a:r>
          </a:p>
          <a:p>
            <a:endParaRPr lang="en-US" dirty="0"/>
          </a:p>
          <a:p>
            <a:r>
              <a:rPr lang="en-US" dirty="0"/>
              <a:t>Organizational Strategic Performance Improvement Planning is required with features/functionalities that ensure engagement, alignment, visibility, discipline, and accountability.</a:t>
            </a:r>
          </a:p>
          <a:p>
            <a:endParaRPr lang="en-US" dirty="0"/>
          </a:p>
          <a:p>
            <a:r>
              <a:rPr lang="en-US" dirty="0"/>
              <a:t>Tiered Huddle Systems are becoming more popular and can be a key component in any BPI initiative.  (we’ve done several webinars on these solutions)</a:t>
            </a:r>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10630006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1151363" y="1602317"/>
            <a:ext cx="6858000" cy="3235023"/>
          </a:xfrm>
        </p:spPr>
        <p:txBody>
          <a:bodyPr anchor="t" anchorCtr="0"/>
          <a:lstStyle/>
          <a:p>
            <a:pPr lvl="0" defTabSz="914400">
              <a:spcBef>
                <a:spcPts val="1000"/>
              </a:spcBef>
            </a:pPr>
            <a:br>
              <a:rPr lang="en-US" sz="1800" dirty="0"/>
            </a:br>
            <a:r>
              <a:rPr lang="en-US" b="1" dirty="0"/>
              <a:t>Lean Operational Stability</a:t>
            </a:r>
            <a:br>
              <a:rPr lang="en-US" dirty="0"/>
            </a:br>
            <a:r>
              <a:rPr lang="en-US" sz="2800" i="1" dirty="0"/>
              <a:t>A tiered huddle approach to engage staff, solve problems and always be prepared for patient care, even through disruption</a:t>
            </a:r>
            <a:br>
              <a:rPr lang="en-US" sz="4400" b="1" dirty="0">
                <a:latin typeface="Arial" panose="020B0604020202020204" pitchFamily="34" charset="0"/>
                <a:cs typeface="Arial" panose="020B0604020202020204" pitchFamily="34" charset="0"/>
              </a:rPr>
            </a:br>
            <a:br>
              <a:rPr lang="en-US" sz="2000" b="1" dirty="0">
                <a:latin typeface="Arial" panose="020B0604020202020204" pitchFamily="34" charset="0"/>
                <a:cs typeface="Arial" panose="020B0604020202020204" pitchFamily="34" charset="0"/>
              </a:rPr>
            </a:br>
            <a:r>
              <a:rPr lang="en-US" sz="2000" dirty="0">
                <a:solidFill>
                  <a:srgbClr val="363636"/>
                </a:solidFill>
                <a:latin typeface="Century Gothic" panose="020F0302020204030204"/>
                <a:ea typeface="+mn-ea"/>
                <a:cs typeface="+mn-cs"/>
              </a:rPr>
              <a:t>Victoria Jordan, PhD, MS, MBA</a:t>
            </a:r>
            <a:br>
              <a:rPr lang="en-US" sz="2000" dirty="0">
                <a:solidFill>
                  <a:srgbClr val="363636"/>
                </a:solidFill>
                <a:latin typeface="Century Gothic" panose="020F0302020204030204"/>
                <a:ea typeface="+mn-ea"/>
                <a:cs typeface="+mn-cs"/>
              </a:rPr>
            </a:br>
            <a:r>
              <a:rPr lang="en-US" sz="2000" dirty="0">
                <a:solidFill>
                  <a:srgbClr val="363636"/>
                </a:solidFill>
                <a:latin typeface="Century Gothic" panose="020F0302020204030204"/>
                <a:ea typeface="+mn-ea"/>
                <a:cs typeface="+mn-cs"/>
              </a:rPr>
              <a:t>Vice President – Quality and Patient Safety</a:t>
            </a:r>
            <a:br>
              <a:rPr lang="en-US" sz="2000" dirty="0">
                <a:solidFill>
                  <a:srgbClr val="363636"/>
                </a:solidFill>
                <a:latin typeface="Century Gothic" panose="020F0302020204030204"/>
                <a:ea typeface="+mn-ea"/>
                <a:cs typeface="+mn-cs"/>
              </a:rPr>
            </a:br>
            <a:endParaRPr lang="en-US" sz="2000" b="1"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5"/>
          <a:stretch>
            <a:fillRect/>
          </a:stretch>
        </p:blipFill>
        <p:spPr>
          <a:xfrm>
            <a:off x="0" y="5730142"/>
            <a:ext cx="2237426" cy="1127858"/>
          </a:xfrm>
          <a:prstGeom prst="rect">
            <a:avLst/>
          </a:prstGeom>
        </p:spPr>
      </p:pic>
    </p:spTree>
    <p:custDataLst>
      <p:tags r:id="rId1"/>
    </p:custDataLst>
    <p:extLst>
      <p:ext uri="{BB962C8B-B14F-4D97-AF65-F5344CB8AC3E}">
        <p14:creationId xmlns:p14="http://schemas.microsoft.com/office/powerpoint/2010/main" val="18468411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EC4DC14-E890-D144-8211-CA4B719F8C80}"/>
              </a:ext>
            </a:extLst>
          </p:cNvPr>
          <p:cNvSpPr>
            <a:spLocks noGrp="1"/>
          </p:cNvSpPr>
          <p:nvPr>
            <p:ph type="title"/>
          </p:nvPr>
        </p:nvSpPr>
        <p:spPr>
          <a:xfrm>
            <a:off x="561538" y="175418"/>
            <a:ext cx="7886700" cy="1325563"/>
          </a:xfrm>
        </p:spPr>
        <p:txBody>
          <a:bodyPr/>
          <a:lstStyle/>
          <a:p>
            <a:r>
              <a:rPr lang="en-US" b="1" dirty="0"/>
              <a:t>Why does EHC need a lean operating system?</a:t>
            </a:r>
          </a:p>
        </p:txBody>
      </p:sp>
      <p:sp>
        <p:nvSpPr>
          <p:cNvPr id="3" name="Content Placeholder 2"/>
          <p:cNvSpPr>
            <a:spLocks noGrp="1"/>
          </p:cNvSpPr>
          <p:nvPr>
            <p:ph idx="1"/>
          </p:nvPr>
        </p:nvSpPr>
        <p:spPr>
          <a:xfrm>
            <a:off x="211532" y="1435549"/>
            <a:ext cx="4872196" cy="4853353"/>
          </a:xfrm>
        </p:spPr>
        <p:txBody>
          <a:bodyPr>
            <a:normAutofit lnSpcReduction="10000"/>
          </a:bodyPr>
          <a:lstStyle/>
          <a:p>
            <a:pPr>
              <a:lnSpc>
                <a:spcPct val="120000"/>
              </a:lnSpc>
              <a:spcBef>
                <a:spcPts val="338"/>
              </a:spcBef>
            </a:pPr>
            <a:r>
              <a:rPr lang="en-US" sz="1600" dirty="0"/>
              <a:t>Patients and families receive care that is </a:t>
            </a:r>
            <a:r>
              <a:rPr lang="en-US" sz="1600" b="1" dirty="0"/>
              <a:t>subject to variation </a:t>
            </a:r>
            <a:r>
              <a:rPr lang="en-US" sz="1600" dirty="0"/>
              <a:t>in processes that can produce </a:t>
            </a:r>
            <a:r>
              <a:rPr lang="en-US" sz="1600" b="1" dirty="0"/>
              <a:t>negative </a:t>
            </a:r>
            <a:r>
              <a:rPr lang="en-US" sz="1600" dirty="0"/>
              <a:t>health and financial </a:t>
            </a:r>
            <a:r>
              <a:rPr lang="en-US" sz="1600" b="1" dirty="0"/>
              <a:t>outcomes</a:t>
            </a:r>
            <a:r>
              <a:rPr lang="en-US" sz="1600" dirty="0"/>
              <a:t> as well as </a:t>
            </a:r>
            <a:r>
              <a:rPr lang="en-US" sz="1600" b="1" dirty="0"/>
              <a:t>unpredictable</a:t>
            </a:r>
            <a:r>
              <a:rPr lang="en-US" sz="1600" dirty="0"/>
              <a:t> experiences</a:t>
            </a:r>
          </a:p>
          <a:p>
            <a:pPr>
              <a:lnSpc>
                <a:spcPct val="120000"/>
              </a:lnSpc>
              <a:spcBef>
                <a:spcPts val="338"/>
              </a:spcBef>
            </a:pPr>
            <a:r>
              <a:rPr lang="en-US" sz="1600" dirty="0"/>
              <a:t>Providers of care and those supporting them are</a:t>
            </a:r>
            <a:r>
              <a:rPr lang="en-US" sz="1600" b="1" dirty="0"/>
              <a:t> overburdened </a:t>
            </a:r>
            <a:r>
              <a:rPr lang="en-US" sz="1600" dirty="0"/>
              <a:t>in doing their work</a:t>
            </a:r>
          </a:p>
          <a:p>
            <a:pPr>
              <a:lnSpc>
                <a:spcPct val="120000"/>
              </a:lnSpc>
              <a:spcBef>
                <a:spcPts val="338"/>
              </a:spcBef>
            </a:pPr>
            <a:r>
              <a:rPr lang="en-US" sz="1600" dirty="0"/>
              <a:t>Considerable </a:t>
            </a:r>
            <a:r>
              <a:rPr lang="en-US" sz="1600" b="1" dirty="0"/>
              <a:t>waste</a:t>
            </a:r>
            <a:r>
              <a:rPr lang="en-US" sz="1600" dirty="0"/>
              <a:t> is generated by the minute, hour, and day that challenges the operating system of EHC</a:t>
            </a:r>
          </a:p>
          <a:p>
            <a:pPr>
              <a:lnSpc>
                <a:spcPct val="120000"/>
              </a:lnSpc>
              <a:spcBef>
                <a:spcPts val="338"/>
              </a:spcBef>
            </a:pPr>
            <a:r>
              <a:rPr lang="en-US" sz="1600" dirty="0"/>
              <a:t>This results in great people using </a:t>
            </a:r>
            <a:r>
              <a:rPr lang="en-US" sz="1600" b="1" dirty="0"/>
              <a:t>suboptimal processes </a:t>
            </a:r>
            <a:r>
              <a:rPr lang="en-US" sz="1600" dirty="0"/>
              <a:t>to achieve </a:t>
            </a:r>
            <a:r>
              <a:rPr lang="en-US" sz="1600" b="1" dirty="0"/>
              <a:t>variable outcomes</a:t>
            </a:r>
            <a:r>
              <a:rPr lang="en-US" sz="1600" dirty="0"/>
              <a:t> at </a:t>
            </a:r>
            <a:r>
              <a:rPr lang="en-US" sz="1600" b="1" dirty="0"/>
              <a:t>high cost</a:t>
            </a:r>
          </a:p>
          <a:p>
            <a:pPr>
              <a:lnSpc>
                <a:spcPct val="120000"/>
              </a:lnSpc>
              <a:spcBef>
                <a:spcPts val="338"/>
              </a:spcBef>
            </a:pPr>
            <a:r>
              <a:rPr lang="en-US" sz="1600" dirty="0"/>
              <a:t>We stand by our mission, vision, and values, and believe that Lean Operating System is a </a:t>
            </a:r>
            <a:r>
              <a:rPr lang="en-US" sz="1600" b="1" dirty="0"/>
              <a:t>vehicle</a:t>
            </a:r>
            <a:r>
              <a:rPr lang="en-US" sz="1600" dirty="0"/>
              <a:t> that will enable us to better execute on those</a:t>
            </a:r>
          </a:p>
        </p:txBody>
      </p:sp>
      <p:graphicFrame>
        <p:nvGraphicFramePr>
          <p:cNvPr id="4" name="Diagram 3">
            <a:extLst>
              <a:ext uri="{FF2B5EF4-FFF2-40B4-BE49-F238E27FC236}">
                <a16:creationId xmlns:a16="http://schemas.microsoft.com/office/drawing/2014/main" id="{50BEE16E-3B4D-438D-9A65-FAD95479012B}"/>
              </a:ext>
            </a:extLst>
          </p:cNvPr>
          <p:cNvGraphicFramePr/>
          <p:nvPr/>
        </p:nvGraphicFramePr>
        <p:xfrm>
          <a:off x="3766915" y="1435549"/>
          <a:ext cx="6428935" cy="42121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611897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7707" y="0"/>
            <a:ext cx="7886700" cy="1325563"/>
          </a:xfrm>
        </p:spPr>
        <p:txBody>
          <a:bodyPr>
            <a:normAutofit/>
          </a:bodyPr>
          <a:lstStyle/>
          <a:p>
            <a:r>
              <a:rPr lang="en-US" b="1" dirty="0"/>
              <a:t>Mindset: Lean Operating System Value Proposition</a:t>
            </a:r>
          </a:p>
        </p:txBody>
      </p:sp>
      <p:pic>
        <p:nvPicPr>
          <p:cNvPr id="3" name="Picture 2"/>
          <p:cNvPicPr>
            <a:picLocks noChangeAspect="1"/>
          </p:cNvPicPr>
          <p:nvPr/>
        </p:nvPicPr>
        <p:blipFill>
          <a:blip r:embed="rId3"/>
          <a:stretch>
            <a:fillRect/>
          </a:stretch>
        </p:blipFill>
        <p:spPr>
          <a:xfrm>
            <a:off x="334751" y="1459685"/>
            <a:ext cx="8646329" cy="5166142"/>
          </a:xfrm>
          <a:prstGeom prst="rect">
            <a:avLst/>
          </a:prstGeom>
        </p:spPr>
      </p:pic>
    </p:spTree>
    <p:extLst>
      <p:ext uri="{BB962C8B-B14F-4D97-AF65-F5344CB8AC3E}">
        <p14:creationId xmlns:p14="http://schemas.microsoft.com/office/powerpoint/2010/main" val="34397304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b="1" dirty="0"/>
              <a:t>Lean Operating System</a:t>
            </a:r>
          </a:p>
        </p:txBody>
      </p:sp>
      <p:pic>
        <p:nvPicPr>
          <p:cNvPr id="5" name="Content Placeholder 4" descr="Coppel_JWA_slide6_implementation.png"/>
          <p:cNvPicPr>
            <a:picLocks noGrp="1" noChangeAspect="1"/>
          </p:cNvPicPr>
          <p:nvPr>
            <p:ph sz="quarter" idx="10"/>
          </p:nvPr>
        </p:nvPicPr>
        <p:blipFill>
          <a:blip r:embed="rId3" cstate="print">
            <a:extLst>
              <a:ext uri="{28A0092B-C50C-407E-A947-70E740481C1C}">
                <a14:useLocalDpi xmlns:a14="http://schemas.microsoft.com/office/drawing/2010/main" val="0"/>
              </a:ext>
            </a:extLst>
          </a:blip>
          <a:stretch>
            <a:fillRect/>
          </a:stretch>
        </p:blipFill>
        <p:spPr>
          <a:xfrm>
            <a:off x="158730" y="1005841"/>
            <a:ext cx="8826540" cy="4787648"/>
          </a:xfrm>
        </p:spPr>
      </p:pic>
    </p:spTree>
    <p:extLst>
      <p:ext uri="{BB962C8B-B14F-4D97-AF65-F5344CB8AC3E}">
        <p14:creationId xmlns:p14="http://schemas.microsoft.com/office/powerpoint/2010/main" val="886335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9835D01-657E-426A-8888-6867A4945255}"/>
              </a:ext>
            </a:extLst>
          </p:cNvPr>
          <p:cNvSpPr>
            <a:spLocks noGrp="1"/>
          </p:cNvSpPr>
          <p:nvPr>
            <p:ph type="sldNum" sz="quarter" idx="12"/>
          </p:nvPr>
        </p:nvSpPr>
        <p:spPr/>
        <p:txBody>
          <a:bodyPr/>
          <a:lstStyle/>
          <a:p>
            <a:fld id="{602F7A02-EF0D-4D82-9BFD-3DDF074AABBD}" type="slidenum">
              <a:rPr lang="en-CA" smtClean="0"/>
              <a:t>5</a:t>
            </a:fld>
            <a:endParaRPr lang="en-CA" dirty="0"/>
          </a:p>
        </p:txBody>
      </p:sp>
      <p:grpSp>
        <p:nvGrpSpPr>
          <p:cNvPr id="2" name="Group 1">
            <a:extLst>
              <a:ext uri="{FF2B5EF4-FFF2-40B4-BE49-F238E27FC236}">
                <a16:creationId xmlns:a16="http://schemas.microsoft.com/office/drawing/2014/main" id="{245939A8-3CD4-3E55-D106-FFDDF8A2351A}"/>
              </a:ext>
            </a:extLst>
          </p:cNvPr>
          <p:cNvGrpSpPr/>
          <p:nvPr/>
        </p:nvGrpSpPr>
        <p:grpSpPr>
          <a:xfrm>
            <a:off x="5698072" y="537145"/>
            <a:ext cx="1519756" cy="793984"/>
            <a:chOff x="6780155" y="1045215"/>
            <a:chExt cx="1519756" cy="793984"/>
          </a:xfrm>
        </p:grpSpPr>
        <p:pic>
          <p:nvPicPr>
            <p:cNvPr id="18" name="Picture 17" descr="A close up of a sign&#10;&#10;Description automatically generated">
              <a:extLst>
                <a:ext uri="{FF2B5EF4-FFF2-40B4-BE49-F238E27FC236}">
                  <a16:creationId xmlns:a16="http://schemas.microsoft.com/office/drawing/2014/main" id="{F827BC28-8ED8-4FB9-AAD7-1A95B6495EB9}"/>
                </a:ext>
              </a:extLst>
            </p:cNvPr>
            <p:cNvPicPr>
              <a:picLocks noChangeAspect="1"/>
            </p:cNvPicPr>
            <p:nvPr/>
          </p:nvPicPr>
          <p:blipFill rotWithShape="1">
            <a:blip r:embed="rId2">
              <a:extLst>
                <a:ext uri="{28A0092B-C50C-407E-A947-70E740481C1C}">
                  <a14:useLocalDpi xmlns:a14="http://schemas.microsoft.com/office/drawing/2010/main" val="0"/>
                </a:ext>
              </a:extLst>
            </a:blip>
            <a:srcRect b="17871"/>
            <a:stretch/>
          </p:blipFill>
          <p:spPr>
            <a:xfrm>
              <a:off x="6802446" y="1045215"/>
              <a:ext cx="1497465" cy="750851"/>
            </a:xfrm>
            <a:prstGeom prst="rect">
              <a:avLst/>
            </a:prstGeom>
          </p:spPr>
        </p:pic>
        <p:sp>
          <p:nvSpPr>
            <p:cNvPr id="21" name="Rectangle 20">
              <a:extLst>
                <a:ext uri="{FF2B5EF4-FFF2-40B4-BE49-F238E27FC236}">
                  <a16:creationId xmlns:a16="http://schemas.microsoft.com/office/drawing/2014/main" id="{7EE98782-A85A-4DE9-B04C-256F71E9184B}"/>
                </a:ext>
              </a:extLst>
            </p:cNvPr>
            <p:cNvSpPr/>
            <p:nvPr/>
          </p:nvSpPr>
          <p:spPr bwMode="auto">
            <a:xfrm>
              <a:off x="6780155" y="1478174"/>
              <a:ext cx="562877" cy="361025"/>
            </a:xfrm>
            <a:prstGeom prst="rect">
              <a:avLst/>
            </a:prstGeom>
            <a:solidFill>
              <a:schemeClr val="bg1"/>
            </a:solidFill>
            <a:ln w="9525" cap="flat" cmpd="sng" algn="ctr">
              <a:no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766" fontAlgn="base">
                <a:spcBef>
                  <a:spcPct val="0"/>
                </a:spcBef>
                <a:spcAft>
                  <a:spcPct val="0"/>
                </a:spcAft>
              </a:pPr>
              <a:endParaRPr lang="en-US" sz="1800">
                <a:latin typeface="Tahoma" pitchFamily="34" charset="0"/>
              </a:endParaRPr>
            </a:p>
          </p:txBody>
        </p:sp>
      </p:grpSp>
      <p:sp>
        <p:nvSpPr>
          <p:cNvPr id="3" name="Rectangle 2">
            <a:extLst>
              <a:ext uri="{FF2B5EF4-FFF2-40B4-BE49-F238E27FC236}">
                <a16:creationId xmlns:a16="http://schemas.microsoft.com/office/drawing/2014/main" id="{0D0DC7CF-43FA-5B00-999C-9BEBFF622E06}"/>
              </a:ext>
            </a:extLst>
          </p:cNvPr>
          <p:cNvSpPr/>
          <p:nvPr/>
        </p:nvSpPr>
        <p:spPr bwMode="auto">
          <a:xfrm>
            <a:off x="7365323" y="1784496"/>
            <a:ext cx="934588" cy="347914"/>
          </a:xfrm>
          <a:prstGeom prst="rect">
            <a:avLst/>
          </a:prstGeom>
          <a:solidFill>
            <a:schemeClr val="bg1"/>
          </a:solidFill>
          <a:ln w="9525" cap="flat" cmpd="sng" algn="ctr">
            <a:no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bodyPr>
          <a:lstStyle/>
          <a:p>
            <a:pPr defTabSz="685766" fontAlgn="base">
              <a:spcBef>
                <a:spcPct val="0"/>
              </a:spcBef>
              <a:spcAft>
                <a:spcPct val="0"/>
              </a:spcAft>
            </a:pPr>
            <a:endParaRPr lang="en-US" sz="1800">
              <a:latin typeface="Tahoma" pitchFamily="34" charset="0"/>
            </a:endParaRPr>
          </a:p>
        </p:txBody>
      </p:sp>
      <p:pic>
        <p:nvPicPr>
          <p:cNvPr id="8" name="Picture 7" descr="Logo&#10;&#10;Description automatically generated with medium confidence">
            <a:extLst>
              <a:ext uri="{FF2B5EF4-FFF2-40B4-BE49-F238E27FC236}">
                <a16:creationId xmlns:a16="http://schemas.microsoft.com/office/drawing/2014/main" id="{67820FD5-883A-0C67-64B8-9C749B62172E}"/>
              </a:ext>
            </a:extLst>
          </p:cNvPr>
          <p:cNvPicPr>
            <a:picLocks noChangeAspect="1"/>
          </p:cNvPicPr>
          <p:nvPr/>
        </p:nvPicPr>
        <p:blipFill rotWithShape="1">
          <a:blip r:embed="rId3">
            <a:extLst>
              <a:ext uri="{28A0092B-C50C-407E-A947-70E740481C1C}">
                <a14:useLocalDpi xmlns:a14="http://schemas.microsoft.com/office/drawing/2010/main" val="0"/>
              </a:ext>
            </a:extLst>
          </a:blip>
          <a:srcRect t="26779" b="20374"/>
          <a:stretch/>
        </p:blipFill>
        <p:spPr>
          <a:xfrm>
            <a:off x="6656579" y="5256563"/>
            <a:ext cx="1600200" cy="845672"/>
          </a:xfrm>
          <a:prstGeom prst="rect">
            <a:avLst/>
          </a:prstGeom>
        </p:spPr>
      </p:pic>
      <p:sp>
        <p:nvSpPr>
          <p:cNvPr id="10" name="Rectangle: Rounded Corners 9">
            <a:extLst>
              <a:ext uri="{FF2B5EF4-FFF2-40B4-BE49-F238E27FC236}">
                <a16:creationId xmlns:a16="http://schemas.microsoft.com/office/drawing/2014/main" id="{E029969E-F047-63B4-ECF6-ABF8E47F8F0D}"/>
              </a:ext>
            </a:extLst>
          </p:cNvPr>
          <p:cNvSpPr/>
          <p:nvPr/>
        </p:nvSpPr>
        <p:spPr>
          <a:xfrm>
            <a:off x="600959" y="1771385"/>
            <a:ext cx="7914391" cy="3231063"/>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dirty="0"/>
              <a:t>Our 2023 Mini-Series’ :</a:t>
            </a:r>
          </a:p>
          <a:p>
            <a:pPr algn="ctr"/>
            <a:endParaRPr lang="en-US" sz="2400" dirty="0"/>
          </a:p>
          <a:p>
            <a:pPr algn="ctr"/>
            <a:r>
              <a:rPr lang="en-US" sz="1800" b="1" i="1" dirty="0">
                <a:solidFill>
                  <a:srgbClr val="FFC000"/>
                </a:solidFill>
              </a:rPr>
              <a:t>Strategies for Riding the Waves of Disruption</a:t>
            </a:r>
            <a:endParaRPr lang="en-US" sz="1800" b="1" i="1" dirty="0">
              <a:solidFill>
                <a:schemeClr val="accent2">
                  <a:lumMod val="20000"/>
                  <a:lumOff val="80000"/>
                </a:schemeClr>
              </a:solidFill>
            </a:endParaRPr>
          </a:p>
          <a:p>
            <a:pPr algn="ctr"/>
            <a:endParaRPr lang="en-US" sz="1800" b="1" i="1" dirty="0">
              <a:solidFill>
                <a:schemeClr val="accent2">
                  <a:lumMod val="20000"/>
                  <a:lumOff val="80000"/>
                </a:schemeClr>
              </a:solidFill>
            </a:endParaRPr>
          </a:p>
          <a:p>
            <a:pPr algn="ctr"/>
            <a:r>
              <a:rPr lang="en-US" sz="1800" b="1" i="1" dirty="0">
                <a:solidFill>
                  <a:schemeClr val="accent2">
                    <a:lumMod val="60000"/>
                    <a:lumOff val="40000"/>
                  </a:schemeClr>
                </a:solidFill>
              </a:rPr>
              <a:t>Supply Chain Management 4.0/5.0 </a:t>
            </a:r>
            <a:endParaRPr lang="en-US" sz="1800" b="1" i="1" dirty="0">
              <a:solidFill>
                <a:schemeClr val="accent2"/>
              </a:solidFill>
            </a:endParaRPr>
          </a:p>
          <a:p>
            <a:pPr algn="ctr"/>
            <a:endParaRPr lang="en-US" sz="1800" b="1" i="1" dirty="0">
              <a:solidFill>
                <a:schemeClr val="accent2"/>
              </a:solidFill>
            </a:endParaRPr>
          </a:p>
          <a:p>
            <a:pPr algn="ctr"/>
            <a:r>
              <a:rPr lang="en-US" sz="1800" b="1" i="1" dirty="0">
                <a:solidFill>
                  <a:schemeClr val="accent4">
                    <a:lumMod val="40000"/>
                    <a:lumOff val="60000"/>
                  </a:schemeClr>
                </a:solidFill>
              </a:rPr>
              <a:t>Operational Analytics</a:t>
            </a:r>
          </a:p>
          <a:p>
            <a:pPr algn="ctr"/>
            <a:endParaRPr lang="en-US" sz="1800" b="1" i="1" dirty="0">
              <a:solidFill>
                <a:schemeClr val="accent2">
                  <a:lumMod val="20000"/>
                  <a:lumOff val="80000"/>
                </a:schemeClr>
              </a:solidFill>
            </a:endParaRPr>
          </a:p>
          <a:p>
            <a:pPr algn="ctr"/>
            <a:r>
              <a:rPr lang="en-US" sz="2800" b="1" i="1" dirty="0">
                <a:solidFill>
                  <a:schemeClr val="accent2">
                    <a:lumMod val="75000"/>
                  </a:schemeClr>
                </a:solidFill>
              </a:rPr>
              <a:t>AI </a:t>
            </a:r>
          </a:p>
          <a:p>
            <a:pPr algn="ctr"/>
            <a:endParaRPr lang="en-US" sz="1200" b="1" i="1" dirty="0">
              <a:solidFill>
                <a:srgbClr val="FFC000"/>
              </a:solidFill>
            </a:endParaRPr>
          </a:p>
        </p:txBody>
      </p:sp>
      <p:pic>
        <p:nvPicPr>
          <p:cNvPr id="12" name="Picture 11" descr="A picture containing text, outdoor, sign&#10;&#10;Description automatically generated">
            <a:extLst>
              <a:ext uri="{FF2B5EF4-FFF2-40B4-BE49-F238E27FC236}">
                <a16:creationId xmlns:a16="http://schemas.microsoft.com/office/drawing/2014/main" id="{71315DE1-4652-86E4-9971-C43D8BA393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2699" y="334283"/>
            <a:ext cx="3199222" cy="1199708"/>
          </a:xfrm>
          <a:prstGeom prst="rect">
            <a:avLst/>
          </a:prstGeom>
        </p:spPr>
      </p:pic>
    </p:spTree>
    <p:extLst>
      <p:ext uri="{BB962C8B-B14F-4D97-AF65-F5344CB8AC3E}">
        <p14:creationId xmlns:p14="http://schemas.microsoft.com/office/powerpoint/2010/main" val="24835776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DD2F0BF-5CC3-4EFA-B6DE-C9526767BE20}"/>
              </a:ext>
            </a:extLst>
          </p:cNvPr>
          <p:cNvSpPr/>
          <p:nvPr/>
        </p:nvSpPr>
        <p:spPr>
          <a:xfrm>
            <a:off x="171789" y="1337105"/>
            <a:ext cx="8812819" cy="470296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solidFill>
                <a:effectLst/>
                <a:uLnTx/>
                <a:uFillTx/>
                <a:latin typeface="Calibri"/>
                <a:ea typeface="+mn-ea"/>
                <a:cs typeface="+mn-cs"/>
              </a:rPr>
              <a:t>Improving Communication through the Organization:</a:t>
            </a:r>
          </a:p>
          <a:p>
            <a:pPr marL="342900" marR="0" lvl="0" indent="-34290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The first major goal of EmPower was to stand up a daily tiered Readiness &amp; Problem Escalation huddle system </a:t>
            </a:r>
          </a:p>
          <a:p>
            <a:pPr marL="342900" marR="0" lvl="0" indent="-34290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The “Tier 5” System huddle launched in May 2019</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p:txBody>
      </p:sp>
      <p:sp>
        <p:nvSpPr>
          <p:cNvPr id="4" name="Title 3">
            <a:extLst>
              <a:ext uri="{FF2B5EF4-FFF2-40B4-BE49-F238E27FC236}">
                <a16:creationId xmlns:a16="http://schemas.microsoft.com/office/drawing/2014/main" id="{F8D65CE8-E026-4C07-947F-C35163E19F4D}"/>
              </a:ext>
            </a:extLst>
          </p:cNvPr>
          <p:cNvSpPr>
            <a:spLocks noGrp="1"/>
          </p:cNvSpPr>
          <p:nvPr>
            <p:ph type="title"/>
          </p:nvPr>
        </p:nvSpPr>
        <p:spPr>
          <a:xfrm>
            <a:off x="171790" y="11542"/>
            <a:ext cx="8905461" cy="1325563"/>
          </a:xfrm>
        </p:spPr>
        <p:txBody>
          <a:bodyPr/>
          <a:lstStyle/>
          <a:p>
            <a:r>
              <a:rPr lang="en-US" dirty="0"/>
              <a:t>EmPower: Defining the Journey</a:t>
            </a:r>
            <a:br>
              <a:rPr lang="en-US" dirty="0"/>
            </a:br>
            <a:r>
              <a:rPr lang="en-US" b="1" dirty="0"/>
              <a:t>Level 1 - Foundation</a:t>
            </a:r>
          </a:p>
        </p:txBody>
      </p:sp>
      <p:pic>
        <p:nvPicPr>
          <p:cNvPr id="9" name="Picture 8">
            <a:extLst>
              <a:ext uri="{FF2B5EF4-FFF2-40B4-BE49-F238E27FC236}">
                <a16:creationId xmlns:a16="http://schemas.microsoft.com/office/drawing/2014/main" id="{2B9B38DF-A482-4DC2-A23B-E3DC584DB6C9}"/>
              </a:ext>
            </a:extLst>
          </p:cNvPr>
          <p:cNvPicPr>
            <a:picLocks noChangeAspect="1"/>
          </p:cNvPicPr>
          <p:nvPr/>
        </p:nvPicPr>
        <p:blipFill rotWithShape="1">
          <a:blip r:embed="rId2"/>
          <a:srcRect t="7628" b="3324"/>
          <a:stretch/>
        </p:blipFill>
        <p:spPr>
          <a:xfrm>
            <a:off x="385894" y="2901956"/>
            <a:ext cx="8345184" cy="3020672"/>
          </a:xfrm>
          <a:prstGeom prst="rect">
            <a:avLst/>
          </a:prstGeom>
        </p:spPr>
      </p:pic>
    </p:spTree>
    <p:extLst>
      <p:ext uri="{BB962C8B-B14F-4D97-AF65-F5344CB8AC3E}">
        <p14:creationId xmlns:p14="http://schemas.microsoft.com/office/powerpoint/2010/main" val="36132412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D76FBF0-CE18-9892-645F-2F3DB795434A}"/>
              </a:ext>
            </a:extLst>
          </p:cNvPr>
          <p:cNvSpPr txBox="1"/>
          <p:nvPr/>
        </p:nvSpPr>
        <p:spPr>
          <a:xfrm>
            <a:off x="6284976" y="838200"/>
            <a:ext cx="2743200" cy="738664"/>
          </a:xfrm>
          <a:prstGeom prst="rect">
            <a:avLst/>
          </a:prstGeom>
          <a:noFill/>
        </p:spPr>
        <p:txBody>
          <a:bodyPr wrap="square" rtlCol="0">
            <a:spAutoFit/>
          </a:bodyPr>
          <a:lstStyle/>
          <a:p>
            <a:r>
              <a:rPr lang="en-US" sz="2100" dirty="0"/>
              <a:t>Performance Huddles</a:t>
            </a:r>
          </a:p>
          <a:p>
            <a:r>
              <a:rPr lang="en-US" sz="2100" i="1" dirty="0"/>
              <a:t>Tiered Huddles </a:t>
            </a:r>
            <a:endParaRPr lang="en-CA" sz="1800" i="1" dirty="0"/>
          </a:p>
        </p:txBody>
      </p:sp>
      <p:pic>
        <p:nvPicPr>
          <p:cNvPr id="2" name="Picture 1" descr="Graphical user interface&#10;&#10;Description automatically generated">
            <a:extLst>
              <a:ext uri="{FF2B5EF4-FFF2-40B4-BE49-F238E27FC236}">
                <a16:creationId xmlns:a16="http://schemas.microsoft.com/office/drawing/2014/main" id="{88A7BA40-4A09-5010-3BBD-C8DA37BA99B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2400" y="533400"/>
            <a:ext cx="6684264" cy="6251976"/>
          </a:xfrm>
          <a:prstGeom prst="rect">
            <a:avLst/>
          </a:prstGeom>
          <a:noFill/>
          <a:ln>
            <a:noFill/>
          </a:ln>
        </p:spPr>
      </p:pic>
      <p:sp>
        <p:nvSpPr>
          <p:cNvPr id="5" name="TextBox 4">
            <a:extLst>
              <a:ext uri="{FF2B5EF4-FFF2-40B4-BE49-F238E27FC236}">
                <a16:creationId xmlns:a16="http://schemas.microsoft.com/office/drawing/2014/main" id="{7113FF32-5ED8-4C78-C159-371A4A59C382}"/>
              </a:ext>
            </a:extLst>
          </p:cNvPr>
          <p:cNvSpPr txBox="1"/>
          <p:nvPr/>
        </p:nvSpPr>
        <p:spPr>
          <a:xfrm>
            <a:off x="6648450" y="3886200"/>
            <a:ext cx="2343150" cy="749436"/>
          </a:xfrm>
          <a:prstGeom prst="rect">
            <a:avLst/>
          </a:prstGeom>
          <a:noFill/>
        </p:spPr>
        <p:txBody>
          <a:bodyPr wrap="square">
            <a:spAutoFit/>
          </a:bodyPr>
          <a:lstStyle/>
          <a:p>
            <a:pPr lvl="0">
              <a:lnSpc>
                <a:spcPct val="107000"/>
              </a:lnSpc>
              <a:spcAft>
                <a:spcPts val="600"/>
              </a:spcAft>
            </a:pPr>
            <a:r>
              <a:rPr lang="en-US" sz="1350" dirty="0">
                <a:effectLst/>
                <a:latin typeface="Calibri" panose="020F0502020204030204" pitchFamily="34" charset="0"/>
                <a:ea typeface="Calibri" panose="020F0502020204030204" pitchFamily="34" charset="0"/>
                <a:cs typeface="Times New Roman" panose="02020603050405020304" pitchFamily="18" charset="0"/>
              </a:rPr>
              <a:t>In general, this image depicts the structure of “</a:t>
            </a:r>
            <a:r>
              <a:rPr lang="en-US" sz="1350" b="1" dirty="0">
                <a:effectLst/>
                <a:latin typeface="Calibri" panose="020F0502020204030204" pitchFamily="34" charset="0"/>
                <a:ea typeface="Calibri" panose="020F0502020204030204" pitchFamily="34" charset="0"/>
                <a:cs typeface="Times New Roman" panose="02020603050405020304" pitchFamily="18" charset="0"/>
              </a:rPr>
              <a:t>Tiered Huddles</a:t>
            </a:r>
            <a:r>
              <a:rPr lang="en-US" sz="1350" dirty="0">
                <a:effectLst/>
                <a:latin typeface="Calibri" panose="020F0502020204030204" pitchFamily="34" charset="0"/>
                <a:ea typeface="Calibri" panose="020F0502020204030204" pitchFamily="34" charset="0"/>
                <a:cs typeface="Times New Roman" panose="02020603050405020304" pitchFamily="18" charset="0"/>
              </a:rPr>
              <a:t>”  </a:t>
            </a:r>
            <a:endParaRPr lang="en-CA" sz="135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598706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AFA77-F250-701A-80C8-B26BF59E3649}"/>
              </a:ext>
            </a:extLst>
          </p:cNvPr>
          <p:cNvSpPr>
            <a:spLocks noGrp="1"/>
          </p:cNvSpPr>
          <p:nvPr>
            <p:ph type="title"/>
          </p:nvPr>
        </p:nvSpPr>
        <p:spPr>
          <a:xfrm>
            <a:off x="381000" y="76200"/>
            <a:ext cx="6477000" cy="685800"/>
          </a:xfrm>
        </p:spPr>
        <p:txBody>
          <a:bodyPr/>
          <a:lstStyle/>
          <a:p>
            <a:r>
              <a:rPr lang="en-US" dirty="0"/>
              <a:t>Simpler Version of Essential Components</a:t>
            </a:r>
          </a:p>
        </p:txBody>
      </p:sp>
      <p:sp>
        <p:nvSpPr>
          <p:cNvPr id="3" name="Content Placeholder 2">
            <a:extLst>
              <a:ext uri="{FF2B5EF4-FFF2-40B4-BE49-F238E27FC236}">
                <a16:creationId xmlns:a16="http://schemas.microsoft.com/office/drawing/2014/main" id="{7B16BC75-C2AB-83B4-C85C-5282FE6F9BC5}"/>
              </a:ext>
            </a:extLst>
          </p:cNvPr>
          <p:cNvSpPr>
            <a:spLocks noGrp="1"/>
          </p:cNvSpPr>
          <p:nvPr>
            <p:ph idx="1"/>
          </p:nvPr>
        </p:nvSpPr>
        <p:spPr>
          <a:xfrm>
            <a:off x="379491" y="1371600"/>
            <a:ext cx="8229600" cy="4525963"/>
          </a:xfrm>
        </p:spPr>
        <p:txBody>
          <a:bodyPr/>
          <a:lstStyle/>
          <a:p>
            <a:pPr marL="342900" indent="-342900">
              <a:buFont typeface="+mj-lt"/>
              <a:buAutoNum type="arabicPeriod"/>
            </a:pPr>
            <a:r>
              <a:rPr lang="en-US" dirty="0"/>
              <a:t> Infrastructure for Architecture &amp; Engineering, Design and Development, Implementation and Deployment, Governance and ongoing Alignment and Engagement</a:t>
            </a:r>
          </a:p>
          <a:p>
            <a:pPr marL="342900" indent="-342900">
              <a:buFont typeface="+mj-lt"/>
              <a:buAutoNum type="arabicPeriod"/>
            </a:pPr>
            <a:endParaRPr lang="en-US" dirty="0"/>
          </a:p>
          <a:p>
            <a:pPr marL="342900" indent="-342900">
              <a:buFont typeface="+mj-lt"/>
              <a:buAutoNum type="arabicPeriod"/>
            </a:pPr>
            <a:r>
              <a:rPr lang="en-US" dirty="0"/>
              <a:t>Strategy and Policy Deployment (some version of Hoshin </a:t>
            </a:r>
            <a:r>
              <a:rPr lang="en-US" dirty="0" err="1"/>
              <a:t>Kanri</a:t>
            </a:r>
            <a:r>
              <a:rPr lang="en-US" dirty="0"/>
              <a:t>)</a:t>
            </a:r>
          </a:p>
          <a:p>
            <a:pPr marL="342900" indent="-342900">
              <a:buFont typeface="+mj-lt"/>
              <a:buAutoNum type="arabicPeriod"/>
            </a:pPr>
            <a:endParaRPr lang="en-US" dirty="0"/>
          </a:p>
          <a:p>
            <a:pPr marL="342900" indent="-342900">
              <a:buFont typeface="+mj-lt"/>
              <a:buAutoNum type="arabicPeriod"/>
            </a:pPr>
            <a:r>
              <a:rPr lang="en-US" dirty="0"/>
              <a:t>‘Management System’ Framework, Model—explicit, tailored, practical</a:t>
            </a:r>
          </a:p>
          <a:p>
            <a:pPr marL="342900" indent="-342900">
              <a:buFont typeface="+mj-lt"/>
              <a:buAutoNum type="arabicPeriod"/>
            </a:pPr>
            <a:endParaRPr lang="en-US" dirty="0"/>
          </a:p>
          <a:p>
            <a:pPr marL="342900" indent="-342900">
              <a:buFont typeface="+mj-lt"/>
              <a:buAutoNum type="arabicPeriod"/>
            </a:pPr>
            <a:r>
              <a:rPr lang="en-US" dirty="0"/>
              <a:t>PDSA System, infusing ‘B’ (Transformation, Reinvention, Reengineering, Continuous Improvement) into the way everyone works</a:t>
            </a:r>
          </a:p>
          <a:p>
            <a:pPr marL="755650" lvl="1" indent="-342900"/>
            <a:r>
              <a:rPr lang="en-US" dirty="0"/>
              <a:t>Tiered Huddle System</a:t>
            </a:r>
          </a:p>
          <a:p>
            <a:pPr marL="342900" indent="-342900">
              <a:buFont typeface="+mj-lt"/>
              <a:buAutoNum type="arabicPeriod"/>
            </a:pPr>
            <a:endParaRPr lang="en-US" dirty="0"/>
          </a:p>
          <a:p>
            <a:pPr marL="342900" indent="-342900">
              <a:buFont typeface="+mj-lt"/>
              <a:buAutoNum type="arabicPeriod"/>
            </a:pPr>
            <a:r>
              <a:rPr lang="en-US" dirty="0"/>
              <a:t>Visible Measurement/Management System (Op Analytics-to support and drive Study-Adjust)</a:t>
            </a:r>
          </a:p>
          <a:p>
            <a:pPr marL="342900" indent="-342900">
              <a:buFont typeface="+mj-lt"/>
              <a:buAutoNum type="arabicPeriod"/>
            </a:pPr>
            <a:endParaRPr lang="en-US" dirty="0"/>
          </a:p>
          <a:p>
            <a:pPr marL="0" indent="0">
              <a:buNone/>
            </a:pPr>
            <a:endParaRPr lang="en-US" dirty="0"/>
          </a:p>
          <a:p>
            <a:pPr marL="342900" indent="-342900">
              <a:buFont typeface="+mj-lt"/>
              <a:buAutoNum type="arabicPeriod"/>
            </a:pPr>
            <a:endParaRPr lang="en-US" dirty="0"/>
          </a:p>
        </p:txBody>
      </p:sp>
      <p:sp>
        <p:nvSpPr>
          <p:cNvPr id="4" name="Rectangle: Rounded Corners 3">
            <a:extLst>
              <a:ext uri="{FF2B5EF4-FFF2-40B4-BE49-F238E27FC236}">
                <a16:creationId xmlns:a16="http://schemas.microsoft.com/office/drawing/2014/main" id="{B79D0A2A-E1CA-9345-4E54-9779FF5A2CBD}"/>
              </a:ext>
            </a:extLst>
          </p:cNvPr>
          <p:cNvSpPr/>
          <p:nvPr/>
        </p:nvSpPr>
        <p:spPr bwMode="auto">
          <a:xfrm>
            <a:off x="119959" y="5181600"/>
            <a:ext cx="8610600" cy="1219200"/>
          </a:xfrm>
          <a:prstGeom prst="roundRect">
            <a:avLst/>
          </a:prstGeom>
          <a:solidFill>
            <a:schemeClr val="accent1">
              <a:alpha val="26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24100046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D2B63CF-A872-4D68-BBC7-6D8062993717}"/>
              </a:ext>
            </a:extLst>
          </p:cNvPr>
          <p:cNvSpPr>
            <a:spLocks noGrp="1"/>
          </p:cNvSpPr>
          <p:nvPr>
            <p:ph type="sldNum" sz="quarter" idx="12"/>
          </p:nvPr>
        </p:nvSpPr>
        <p:spPr/>
        <p:txBody>
          <a:bodyPr/>
          <a:lstStyle/>
          <a:p>
            <a:fld id="{602F7A02-EF0D-4D82-9BFD-3DDF074AABBD}" type="slidenum">
              <a:rPr lang="en-CA" smtClean="0"/>
              <a:t>44</a:t>
            </a:fld>
            <a:endParaRPr lang="en-CA" dirty="0"/>
          </a:p>
        </p:txBody>
      </p:sp>
      <p:pic>
        <p:nvPicPr>
          <p:cNvPr id="6" name="Picture 5" descr="A picture containing text, map&#10;&#10;Description automatically generated">
            <a:extLst>
              <a:ext uri="{FF2B5EF4-FFF2-40B4-BE49-F238E27FC236}">
                <a16:creationId xmlns:a16="http://schemas.microsoft.com/office/drawing/2014/main" id="{757CE554-2657-4B16-BA8F-5D9E65E712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0260" y="1812708"/>
            <a:ext cx="3811809" cy="3811809"/>
          </a:xfrm>
          <a:prstGeom prst="rect">
            <a:avLst/>
          </a:prstGeom>
        </p:spPr>
      </p:pic>
      <p:pic>
        <p:nvPicPr>
          <p:cNvPr id="5" name="Picture 4" descr="A close up of a logo&#10;&#10;Description automatically generated">
            <a:extLst>
              <a:ext uri="{FF2B5EF4-FFF2-40B4-BE49-F238E27FC236}">
                <a16:creationId xmlns:a16="http://schemas.microsoft.com/office/drawing/2014/main" id="{049F791E-9A0D-4F3D-ADD3-53EF87BF1C9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8898" y="1509287"/>
            <a:ext cx="5234156" cy="2363813"/>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37708129-4383-47E5-ADD3-E2BA2410DF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71071" y="3889077"/>
            <a:ext cx="1773757" cy="2712164"/>
          </a:xfrm>
          <a:prstGeom prst="rect">
            <a:avLst/>
          </a:prstGeom>
          <a:ln>
            <a:solidFill>
              <a:schemeClr val="tx1"/>
            </a:solidFill>
          </a:ln>
        </p:spPr>
      </p:pic>
      <p:sp>
        <p:nvSpPr>
          <p:cNvPr id="9" name="Title 1">
            <a:extLst>
              <a:ext uri="{FF2B5EF4-FFF2-40B4-BE49-F238E27FC236}">
                <a16:creationId xmlns:a16="http://schemas.microsoft.com/office/drawing/2014/main" id="{34020909-B335-4740-B2D4-7A86DAD00B92}"/>
              </a:ext>
            </a:extLst>
          </p:cNvPr>
          <p:cNvSpPr>
            <a:spLocks noGrp="1"/>
          </p:cNvSpPr>
          <p:nvPr>
            <p:ph type="title"/>
          </p:nvPr>
        </p:nvSpPr>
        <p:spPr>
          <a:xfrm>
            <a:off x="574001" y="24442"/>
            <a:ext cx="7886700" cy="1290274"/>
          </a:xfrm>
        </p:spPr>
        <p:txBody>
          <a:bodyPr/>
          <a:lstStyle/>
          <a:p>
            <a:r>
              <a:rPr lang="en-US" dirty="0"/>
              <a:t>How can you do this really fast?  </a:t>
            </a:r>
            <a:endParaRPr lang="en-CA" dirty="0"/>
          </a:p>
        </p:txBody>
      </p:sp>
      <p:pic>
        <p:nvPicPr>
          <p:cNvPr id="19" name="Graphic 18" descr="Back RTL">
            <a:extLst>
              <a:ext uri="{FF2B5EF4-FFF2-40B4-BE49-F238E27FC236}">
                <a16:creationId xmlns:a16="http://schemas.microsoft.com/office/drawing/2014/main" id="{D29AF268-4881-4A68-AEA4-C09BBF714F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81986">
            <a:off x="2547460" y="1129923"/>
            <a:ext cx="1190240" cy="1190240"/>
          </a:xfrm>
          <a:prstGeom prst="rect">
            <a:avLst/>
          </a:prstGeom>
        </p:spPr>
      </p:pic>
      <p:pic>
        <p:nvPicPr>
          <p:cNvPr id="20" name="Graphic 19" descr="Back RTL">
            <a:extLst>
              <a:ext uri="{FF2B5EF4-FFF2-40B4-BE49-F238E27FC236}">
                <a16:creationId xmlns:a16="http://schemas.microsoft.com/office/drawing/2014/main" id="{D42861EA-A4F0-4655-AE9D-2D1C1C4AC36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210876">
            <a:off x="3922231" y="3567611"/>
            <a:ext cx="1190240" cy="1190240"/>
          </a:xfrm>
          <a:prstGeom prst="rect">
            <a:avLst/>
          </a:prstGeom>
        </p:spPr>
      </p:pic>
    </p:spTree>
    <p:extLst>
      <p:ext uri="{BB962C8B-B14F-4D97-AF65-F5344CB8AC3E}">
        <p14:creationId xmlns:p14="http://schemas.microsoft.com/office/powerpoint/2010/main" val="34945685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534400" cy="1143000"/>
          </a:xfrm>
          <a:solidFill>
            <a:schemeClr val="accent5">
              <a:lumMod val="50000"/>
            </a:schemeClr>
          </a:solidFill>
          <a:ln>
            <a:solidFill>
              <a:schemeClr val="accent5">
                <a:lumMod val="50000"/>
              </a:schemeClr>
            </a:solidFill>
          </a:ln>
        </p:spPr>
        <p:txBody>
          <a:bodyPr>
            <a:noAutofit/>
          </a:bodyPr>
          <a:lstStyle/>
          <a:p>
            <a:pPr algn="l"/>
            <a:r>
              <a:rPr lang="en-US" sz="3200" dirty="0">
                <a:solidFill>
                  <a:schemeClr val="bg1"/>
                </a:solidFill>
              </a:rPr>
              <a:t>Context – The Purpose of Operational Analytics</a:t>
            </a:r>
          </a:p>
        </p:txBody>
      </p:sp>
      <p:sp>
        <p:nvSpPr>
          <p:cNvPr id="6" name="Content Placeholder 5"/>
          <p:cNvSpPr>
            <a:spLocks noGrp="1"/>
          </p:cNvSpPr>
          <p:nvPr>
            <p:ph idx="1"/>
          </p:nvPr>
        </p:nvSpPr>
        <p:spPr>
          <a:xfrm>
            <a:off x="457200" y="1417638"/>
            <a:ext cx="8229600" cy="4724399"/>
          </a:xfrm>
          <a:ln>
            <a:solidFill>
              <a:schemeClr val="bg1">
                <a:lumMod val="95000"/>
              </a:schemeClr>
            </a:solidFill>
          </a:ln>
        </p:spPr>
        <p:txBody>
          <a:bodyPr>
            <a:noAutofit/>
          </a:bodyPr>
          <a:lstStyle/>
          <a:p>
            <a:pPr algn="ctr">
              <a:buNone/>
            </a:pPr>
            <a:endParaRPr lang="en-US" sz="1600" dirty="0"/>
          </a:p>
          <a:p>
            <a:pPr algn="ctr">
              <a:buNone/>
            </a:pPr>
            <a:r>
              <a:rPr lang="en-US" dirty="0"/>
              <a:t>Facilitate &amp; Enable the creation of ‘solutions’ that catalyze and enable better decisions faster </a:t>
            </a:r>
          </a:p>
          <a:p>
            <a:pPr algn="ctr">
              <a:buNone/>
            </a:pPr>
            <a:r>
              <a:rPr lang="en-US" dirty="0"/>
              <a:t>and then drive actions, improvement implementation, faster </a:t>
            </a:r>
          </a:p>
          <a:p>
            <a:pPr algn="ctr">
              <a:buNone/>
            </a:pPr>
            <a:r>
              <a:rPr lang="en-US" dirty="0"/>
              <a:t>and then drive benefits realization faster (desired and positive outcomes) </a:t>
            </a:r>
          </a:p>
          <a:p>
            <a:pPr algn="ctr">
              <a:buNone/>
            </a:pPr>
            <a:r>
              <a:rPr lang="en-US" dirty="0"/>
              <a:t>and then grow Enterprise Value (system, process, business value creation).</a:t>
            </a:r>
          </a:p>
        </p:txBody>
      </p:sp>
      <p:sp>
        <p:nvSpPr>
          <p:cNvPr id="1026" name="AutoShape 2" descr="data:image/jpeg;base64,/9j/4AAQSkZJRgABAQAAAQABAAD/2wCEAAkGBwgHBgkIBwgKCgkLDRYPDQwMDRsUFRAWIB0iIiAdHx8kKDQsJCYxJx8fLT0tMTU3Ojo6Iys/RD84QzQ5OjcBCgoKDQwNGg8PGjclHyU3Nzc3Nzc3Nzc3Nzc3Nzc3Nzc3Nzc3Nzc3Nzc3Nzc3Nzc3Nzc3Nzc3Nzc3Nzc3Nzc3N//AABEIAKAAoAMBIgACEQEDEQH/xAAbAAACAwEBAQAAAAAAAAAAAAAABAIDBQYBB//EAEoQAAIBAwMBBAUIBgcFCQEAAAECAwAEEQUSITETIkFRBmFxcrEUFTIzNIGRoUJWYoKU0RYjUlWSweElNnTi8CZFRlNjssLx8hf/xAAaAQEAAwEBAQAAAAAAAAAAAAAAAQIDBAYF/8QAKxEAAgECBAUCBwEAAAAAAAAAAAECAxESITFRBBNBkaEUUgUyM2Fx0fAj/9oADAMBAAIRAxEAPwD7jRRRQBRRRQBRXmaCcDNAe0VmHVG7OKUwBYpfoEvyRxgnjjrXsGqLNeRwLGwEsQkQngkZPP5D8aA0TRkVmW2rxzNErQyIznHUHbknGf8ACazl1OSe3ske7EXayuk8qlcrgnA56Zx19VZzmo6lowctDpM15kVzEd7LJOsVzfyRWoMoS5Uhe12kAZbGOBnp1xmqYdQvJLiIXM0q2xWNpZFGCOXwT5BsLn/Ws/UR2NORLc67IorjdebUvn6OOxuJ0JniZVBOz6qXun9klVz7RSFrcXMklpdtHdTSvcSR/I5Vk3RAzN3wRxwCM7uMAc+faqV1e5xOuk2rH0DNR3r/AGh+NfPLCC+7FIntNT+cAlp8nmKSBVwih9zHu44bIPJz501pWnzPaTrJaSxzreo5zYsjFVuN2d5+n3fwFHTt1CrN9DvK9qK9KlWRuFFFFAFFFFAB6Unqd9DptlJd3JYRRDLFRkj7qcrn/Tr/AHV1Dj9AfEVEnZZGlKCnUjF6Nin9P9A/86fj/wBBq9/p5oRRnElztUgMfk7YGenwNfN40h7ExWZDHGZrtxtCAg5UAj2+3HFe7oRb52FLFCdgJw1w48/V7Oma5edM9A/hXDdLnbN6W6FvZo7hUBO7HzcT6/Op2Gv6dd3ccFhcAzOcqE03BHXnOeOp59dfPls7q91JbaC22zynKxDgKDzn1DHNfQ9K0lfRyxBt4TdXD5M0g69Oi+qkHObz0MuM4PheHglFtyeiy/RriG5DApdhSM4K2qePXxqo2NwQ227ADfSxax8+3mqLq5kZ42+R3WGBJEbsCMEjnHHr/wDqvO0DL3ba7LdqI9pmbgkA56+z861dKD1v3Pj/AOi0t4GGsrzaE+dJgo6DsEwPzqD2N8wOdXuenhEo/wDlUI7owSNts7x25Tl2YcZ6Z+78ate/njaTdYSMA5VShzuA8T5f6VXkUv5ssnV6W7IqOl3vjrV9+H/PUG0e6YYbWb4+3/8AdW/Ok2xWOn3Gcd4Y6cH1er86ctp2nj3mGSPkjDY8Kj01J/zJdStHP9GUdCmPXVrv/D/zVja5a3Wl3MMMd9NOZV3KFJDDy4yf+hXSa+066TM1qXEwaMrs5P01pf0W06d7uW/1S2mNy30JJCuAPUOoNcXEUIuapU0098zejWlGDqzaa2yOk09Zo7KBLlt0yoA5z1OOaaqIFSr6sVZWPnt3dwoooqSAooooArn/AE6/3Vv89Ng6e8K6CsD06H/ZXUM/2B8RVZ/KzbhvrQ/KPlwEDRpI0DCyRyqoD35m69RgnkDp0q+1S4mvURLbtNRfCwQFO7AvBDH8vzrNsYry9u7e3tBI84OIwP0Oc59Qr6hoOiRaRCSW7W8l5lnbqx8vZXHSjjPTfEK8eGWbvJ9CGh6ImjWkjLia9lBaaUj6bdceoZq5tQvQjEaXISuMjfjdz4ceVTgudQLgTWSgE5LLJwBn44qUM9924Sa0QrvH9YGA7ufLPXFdiSSsjzk5SnJynZthNdXabSti78kEA88YwfzP4VFr28KSFNPbKpkAyDvHyHHqP4ivBc6lshb5EuSP6wdp0Pn7KDdajk404dDx2g/68fyoVw/Zdzw6heDuvpkhbbk7XGCfLpVou7pnXNiy5Tdkv0OTwcDyAP31A3WobT/s/pnAMoAP31FrvUWVXisBnLh0diDx0xnqD50Jw/Zdw+W33ZRt82OHzh1DDjp/rQl9eyK+7TnRhnBZs5qbXF+GlxaKwUjYA473n/lXi3V+SAdPA56iQdOf8qEWWy7jNrNJMhaWAwnOApbJPrrXgA7KM/sisuCR5IFeSPs3IOV8q1YPqo/dHwqxjLUsooooQFFFFAFFFFAFYvpfbS3no9eW9uu6WQKqjOOdwrape++zn3l+Io1fItCThJSXQ4nSoLX0ZU2/yG9ubpgDLcQ25ZWz+iD5DyrQ/pFH/dmq4/4U/wA6f1S6axsJ7tYWmEEbSNGpAJABPHr9VKy65bJ6OnXEEkkHyftkRR3m4+j7c8eQqqjZWRvOvGpLFUV3+SoekMf92ap/Cn+dWW2tpczpELDUY9xxvktyAPac8U5Y3XyuwivWXso5YxKAWzhSMjJ9hqrStVttS0xdQiJjhy+/teCm0kHPl0qbS3KOdO2UfJDWZ5LWGGVJzGHuYYiDjGGkUHr6iaSuL64gN8i3IcQTQJ2hZAVDbM8Y9ZpqDU57zTfnGxsGlhdN8KyP2ckq+YUjjPgDjrzivRqpbWINOFs2Z4DcLJuAAQFQcjrnLDj86sYhpl2093cRSTqwSaVEUOpyA2BwOeB41K/1ZbKcQtZXsx2ht8EG5efXXg1I/PbaX8mIdYBOZd427CSBxjOcg1Xp+svfHUgloYzp85gkDSjvOFVztIHTaw5OKh36FoOKeauQPpFGf+7NVx/wp/nR/SKP+7NV/hT/ADq3Q9ai1zTjdWkbrMh2S20vdeJ/7LdccYPkQQaqudeNuultJYv/ALSnWCICQd1mUsN3qwp6Z8Ki0tzXHS9vknb64k8yRDT9Rj3nG6S2IVfac8V08H1Ufuj4VjW80skk0c0BiKBWUhwwcHPj6sdK2YPqY/dHwojObi/lViyiiipKBRRRQBRRRQBS9/8AZz7y/EUxS9/9n/eX4igMLXJ4oLMLNu/rJolGxSxx2i5PHgBnNYVlbPYnVtPmjYabbGS5tpOSHEyk7APHDGTj1rius3AE98D78UBwDkOPxoTZnKaPcK3oj6PaYxkinmtLe3mDRHMIWMbwwI4J2lefFhVE1k7XXpHoC3DEapD28MxQhEmdSjpkDA+irY9Z867LeP7Y/GgOOgcfcakWZk6dq0CaTC16klrcRQqstq6HtFYDkBR9L1Yzms+V1u/TGwkkSeMHTZFbBddjsyEIWXHOM8Z8K3G1BEaUNFOOyTew2jgd7B6/sn8qlHfxSStEpfIgWYk9Apzj4GhBiQdnF6bzbTNsOnLHvkLsu8SMSu455xg4zSuiTrHH6WSMHQS38kkO5GHaKYY1BXjkFgRxXQpqkUkFtLEszJdbRGduMkqWwQehG05HgeKdVi6q3eGRnngigOYvtPmQW3pBoC7r6O3RLi36C8iUfQPk452k+PHjSeslZbX0QBjnXF9DNIFRt0Sdk4yxX6PJAz667PnNAz66E2Zm6ZNbiW4trVppVVjK8jhiAW6Dc30jwemcCujg+pj90fCs5snJrRg+pj90fCoILKKKKAKKKKAKKKKAKXv/ALP+8vxFMUvffUfvr/7hQHO6po+k3MjXeoRqGwAztKyDA488UkmiejUgkMfYsI8byLo9zPTPPFDMbn07+T3XeittOFxao3QyNIVdvaAEA8txrWvoYezuZdids9syM3iygE8+eM/n66jDE1VeqlZSZmf0f9H+yMvZx9kDjf8AKTtz7c4q+w0HR0ljurOFWZGyjrMzDP44NYVk11//ACy3X5PEY/mJOTKenYjnG2ttZmg9HdPhgDma4hihiWLarHKAsRkgZChj933UwrYOvVas5Mckt4ZRc3Ju2WK4hEZYMu1V57wOPWeuaoGm2rqZ0uiImhjifZ2ex0QknPGOckH1ZpT0Ob5Pa3ekOjI2mXBiSNsZWFu/EOCRwrBev6NZVmZPRW3ttRjVn0O7RXvYxz8jkYAmZf2CfpDwPPnVjI6G3sbUoGhvCYYbprkBGjKITuyvA4XvH8etVXVlpOrXYdroyTFQoWG6IyB5AGsu7aOaX0etCymwvL+6Z1XGyYqZGQHzGeceOK2NUvbe3vLBLiymklefbaPGEx2m1sjJYEd3d1wKhq5aE5Qd4ih0XQgWBvGBXqDfMCPb3qG0LRF27rmRdw3Lm+YZHmO9zSsHyiL0h9KmsbaKWTFvt3HGT2A8Mc1fq0MEev8AowkUaBI5LhFAH0QIxwPZUYY7GvqKvuGrPQtMSRLi1klkaNuCLpnGfXziuqg+qj90fCuL1ki09K9Be0G2e8kmhuVXjtIljLbmHjtbbg+uu0g+pj90fCpsloZTnKbvJllFFFCoUUUUAUUUUAUvf/Z/3l+Ipil777P+8vxFAZN3Y2928UkyntYWLRSoxVkJ64I8D5dDVLaVbvI8srXEkskJgZzO4OwnJAAIC5wOVAPFV39hqFxcGS21iS2jwAIlhRgMeOTS/wA1at+sNx/DR1W72NlTg1nNeRpdFsE0caQkcosRH2IjE8mezxjbu3ZxjjrUoNJtIHtGj+UA2qGOENdSkKpwOQWIPQdc0n806v8ArDcfw0dHzTq/6w3H8NHTE9ieVD3ryWXFjpVvqUl9NJLFd3EaxO4uJRuXcdq4DYHLHHtq6zk022sPk8E2baILERI7ybQwAAJbJ5BHHr9dSnsLmWwt4Xue1limilaZ1279jhug8TjFQuNNllN4VdB20sUiDLcBNmQR69n51cxepXFYaRNpq6RHEj2kBxHECwMZVs908EFSeCDkUydMt3ubeedp55LZy8BllJEZIIyAMAnBPLZPPWi2s5oZJm3qe1klfgk43HI4PGRSPzTq4/8AEU/t+TR/yqG7F4QjLWVhqPRbKK8u7yMXK3F3t7Zlu5Rv2jA43YHHHGKg2g6cXs5OzuN1kD8nIupRtLDvE97vE+JOTVHzTq/6w3H8NHR806v+sU/8NHVcT2L8qHvXk0INPtYLmS6jjY3DLsMsjs7beu0FiSBnnA4rcg+pj90fCuXg0zUo50km12aaNTlozAgDjyyK6iD6mP3R8KlMznFReTuWUUUVJQKKKKAKKKKAKXv/ALOfeX4imKXv/s595fiKAS8aT1mxOpaZcWiXE1tJJGwjnhkZHjfHDAgjoaco69PCpBwU19KNP0nVDPJEWDaZf25uJNkUxOztMZ6q4PJ8GrU1qX5m07UdUtjPKNJsmSNZbmRhLLjcWcE97A28nPLNWgfRuxefVnk3MmpriSP9FCVCsw9bbV5/ZFN2umQR6Oum3ObqMxdlM0v0ps/SLY8TyaAoj0ZBp3ZSXM73pTm+3nte0x1B8s/o/RxxjFc2+qS39h6JajcyXEb3N20V0ttJIqyhYpf0VPILIGHFdKunXiWAsE1IiAJ2YmMOZwuMfSztzjx2/dnmqbnQQzaQtjcJa2+lSdpDD2G/cdjJydw4wx+/xoCr0aMt7Z39w9xJNpt1OZLDdKxkSLaM5JO4d8MQDyPHHQT9By8noppssssss00IeSSaVnZjkjqxJq6x0d9OuL9tPu0jt7uQzG3kg3rFIR3iuHGATzjzJqrTtEurDSrTTItTU29vtG5bbEjqGzgnfgZ6cDoaAV9HrZLi812Oae8ZYb8xxD5ZL3F7NDhe9xyTTfo3ezzyapY3UjTSaddmATN9KRSiuu7H6QDYPnjPjUtP0q6sZb6SPUIWa9n7d82h7jYA7v8AWeS+Oac0vTYdMt2hgLuzu0ksspy8rk8sx/LgAAACgHD0NaMH1Mfuj4VnHpWjB9TH7o+FQCyiiigCiiigCiiigCl7/wCzn3l+Ipil7/7OfeX4igEqWu5WjeFYzlixLIvJKgHw9uKZoPn5eOKFouzM3ttQAQGMl1kYSYHBU/RIPqyP8JqMUt+YcyM4fs05eIY3be9kAefl+FRjvrj5KjhVkkaFW4XAV+pX8AePD76ujupZJsKAbd3G1wudg2gkN+fPqIqpvnsiXaXbTwHDIhRTICoPOeRkDr+HnVZ+cBfNGHZoCTh9qYHj5Z8x9y+ZqmPULprYuzIJOwRguz9Irk8e2m7mdw8BilTs5GYElc8AMc/iBUlc10RRJLqPZIYlbtBGpcMg+mGBKjjoRkZ8OOamJ7zAJiY7ZyXBTrHnAAwOcZz+7U2uZReyR5VIAcGQrnb3c/mT+WPGq47q5YxF1AVygfC8wnx3DwBHQ+HShK00IvNfi2gIWRrjjto9g29Gzg488Y58uetaMLh1/TyMA71wemf86zLPUJ2gtZLnaA8YM2FxsOMnjy6+scZrW8aIpUyQHoa0YPqY/dHwrOPQ1owfUx+6PhUmRZRRRQBRRRQBRRRQBS9/9nPvL8RTFL3/ANnPvL8RQCVeOwRGZugGTXtFSDPTWIJE3RiQkjjOME5HHX9oV4+osuxgqNmBJdoJySxxgflWjgeQo8PZUWZpijsIfOLtvEUW9kkHdDcuhGdy+vrx44qs6lLtDDsm3bMHB53bvM+rx86dmMwYdjHEw8d7kY/I1DN3x/V249W9v5e2osyccdigXYjtbuSPsQ0e5wFON3dBJP41BNUkdHbYg7MA4Ocv3iu0eR49fUe2noe2LHtliVcDGxicnx8BVtLMjHHYzJNSkCKRGjb1Z9uclACAQcnk8k446HrWkrBlDD9IA/dXtFSRJp6AehrRg+pj90fCs49DWjB9TH7o+FChZRRRQBRRRQH/2Q=="/>
          <p:cNvSpPr>
            <a:spLocks noChangeAspect="1" noChangeArrowheads="1"/>
          </p:cNvSpPr>
          <p:nvPr/>
        </p:nvSpPr>
        <p:spPr bwMode="auto">
          <a:xfrm>
            <a:off x="63500" y="-731838"/>
            <a:ext cx="1524000" cy="15240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 name="Arrow: Curved Right 2">
            <a:extLst>
              <a:ext uri="{FF2B5EF4-FFF2-40B4-BE49-F238E27FC236}">
                <a16:creationId xmlns:a16="http://schemas.microsoft.com/office/drawing/2014/main" id="{42700A28-6F82-22A9-E9ED-31FDC296AE43}"/>
              </a:ext>
            </a:extLst>
          </p:cNvPr>
          <p:cNvSpPr/>
          <p:nvPr/>
        </p:nvSpPr>
        <p:spPr>
          <a:xfrm>
            <a:off x="331254" y="2363384"/>
            <a:ext cx="731520" cy="1216152"/>
          </a:xfrm>
          <a:prstGeom prst="curv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Arrow: Curved Right 3">
            <a:extLst>
              <a:ext uri="{FF2B5EF4-FFF2-40B4-BE49-F238E27FC236}">
                <a16:creationId xmlns:a16="http://schemas.microsoft.com/office/drawing/2014/main" id="{9562DA58-E6CA-4A86-BD9E-53EC2AE09F79}"/>
              </a:ext>
            </a:extLst>
          </p:cNvPr>
          <p:cNvSpPr/>
          <p:nvPr/>
        </p:nvSpPr>
        <p:spPr>
          <a:xfrm>
            <a:off x="331254" y="3651363"/>
            <a:ext cx="731520" cy="1216152"/>
          </a:xfrm>
          <a:prstGeom prst="curv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Arrow: Curved Right 4">
            <a:extLst>
              <a:ext uri="{FF2B5EF4-FFF2-40B4-BE49-F238E27FC236}">
                <a16:creationId xmlns:a16="http://schemas.microsoft.com/office/drawing/2014/main" id="{C618778B-2A0B-5783-EBDD-C8764946F0D4}"/>
              </a:ext>
            </a:extLst>
          </p:cNvPr>
          <p:cNvSpPr/>
          <p:nvPr/>
        </p:nvSpPr>
        <p:spPr>
          <a:xfrm>
            <a:off x="331254" y="4830939"/>
            <a:ext cx="731520" cy="1216152"/>
          </a:xfrm>
          <a:prstGeom prst="curved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2008247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8474E-7DFF-4785-981E-C5D4BE8D93DA}"/>
              </a:ext>
            </a:extLst>
          </p:cNvPr>
          <p:cNvSpPr>
            <a:spLocks noGrp="1"/>
          </p:cNvSpPr>
          <p:nvPr>
            <p:ph type="title"/>
          </p:nvPr>
        </p:nvSpPr>
        <p:spPr>
          <a:xfrm>
            <a:off x="316266" y="857251"/>
            <a:ext cx="4362557" cy="635378"/>
          </a:xfrm>
        </p:spPr>
        <p:txBody>
          <a:bodyPr>
            <a:noAutofit/>
          </a:bodyPr>
          <a:lstStyle/>
          <a:p>
            <a:r>
              <a:rPr lang="en-US" sz="2100" dirty="0">
                <a:latin typeface="Century Gothic" panose="020B0502020202020204" pitchFamily="34" charset="0"/>
              </a:rPr>
              <a:t>Steps in the “Build” of better PDSA systems</a:t>
            </a:r>
          </a:p>
        </p:txBody>
      </p:sp>
      <p:sp>
        <p:nvSpPr>
          <p:cNvPr id="4" name="Oval 3">
            <a:extLst>
              <a:ext uri="{FF2B5EF4-FFF2-40B4-BE49-F238E27FC236}">
                <a16:creationId xmlns:a16="http://schemas.microsoft.com/office/drawing/2014/main" id="{14D220CE-C5E1-4929-B0D1-A3139DBBA62B}"/>
              </a:ext>
            </a:extLst>
          </p:cNvPr>
          <p:cNvSpPr/>
          <p:nvPr/>
        </p:nvSpPr>
        <p:spPr>
          <a:xfrm>
            <a:off x="862330" y="2373870"/>
            <a:ext cx="1642672" cy="799618"/>
          </a:xfrm>
          <a:prstGeom prst="ellipse">
            <a:avLst/>
          </a:prstGeom>
          <a:solidFill>
            <a:srgbClr val="BB0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50" b="1" dirty="0">
                <a:latin typeface="Century Gothic" panose="020B0502020202020204" pitchFamily="34" charset="0"/>
              </a:rPr>
              <a:t>Leadership &amp; Management</a:t>
            </a:r>
          </a:p>
        </p:txBody>
      </p:sp>
      <p:sp>
        <p:nvSpPr>
          <p:cNvPr id="5" name="Oval 4">
            <a:extLst>
              <a:ext uri="{FF2B5EF4-FFF2-40B4-BE49-F238E27FC236}">
                <a16:creationId xmlns:a16="http://schemas.microsoft.com/office/drawing/2014/main" id="{52DDD188-647F-4F67-A99E-D1781F9114F1}"/>
              </a:ext>
            </a:extLst>
          </p:cNvPr>
          <p:cNvSpPr/>
          <p:nvPr/>
        </p:nvSpPr>
        <p:spPr>
          <a:xfrm>
            <a:off x="3225958" y="4097533"/>
            <a:ext cx="2322823" cy="1574484"/>
          </a:xfrm>
          <a:prstGeom prst="ellipse">
            <a:avLst/>
          </a:prstGeom>
          <a:solidFill>
            <a:srgbClr val="BB0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350" b="1" dirty="0">
                <a:latin typeface="Century Gothic" panose="020B0502020202020204" pitchFamily="34" charset="0"/>
              </a:rPr>
              <a:t>Positioning</a:t>
            </a:r>
          </a:p>
          <a:p>
            <a:pPr algn="ctr"/>
            <a:r>
              <a:rPr lang="en-US" sz="1350" b="1" dirty="0">
                <a:latin typeface="Century Gothic" panose="020B0502020202020204" pitchFamily="34" charset="0"/>
              </a:rPr>
              <a:t>Value Exchange Management</a:t>
            </a:r>
          </a:p>
          <a:p>
            <a:pPr algn="ctr"/>
            <a:r>
              <a:rPr lang="en-US" sz="1350" b="1" dirty="0">
                <a:latin typeface="Century Gothic" panose="020B0502020202020204" pitchFamily="34" charset="0"/>
              </a:rPr>
              <a:t>Operational Excellence</a:t>
            </a:r>
          </a:p>
        </p:txBody>
      </p:sp>
      <p:sp>
        <p:nvSpPr>
          <p:cNvPr id="6" name="Oval 5">
            <a:extLst>
              <a:ext uri="{FF2B5EF4-FFF2-40B4-BE49-F238E27FC236}">
                <a16:creationId xmlns:a16="http://schemas.microsoft.com/office/drawing/2014/main" id="{F3CBCF28-DB61-4913-9AA2-B21331DFEA93}"/>
              </a:ext>
            </a:extLst>
          </p:cNvPr>
          <p:cNvSpPr/>
          <p:nvPr/>
        </p:nvSpPr>
        <p:spPr>
          <a:xfrm>
            <a:off x="6269737" y="2239864"/>
            <a:ext cx="1779701" cy="1075043"/>
          </a:xfrm>
          <a:prstGeom prst="ellipse">
            <a:avLst/>
          </a:prstGeom>
          <a:solidFill>
            <a:srgbClr val="BB0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50" b="1" dirty="0">
                <a:latin typeface="Century Gothic" panose="020B0502020202020204" pitchFamily="34" charset="0"/>
              </a:rPr>
              <a:t>Data Management</a:t>
            </a:r>
          </a:p>
          <a:p>
            <a:pPr algn="ctr"/>
            <a:endParaRPr lang="en-US" sz="1350" b="1" dirty="0">
              <a:latin typeface="Century Gothic" panose="020B0502020202020204" pitchFamily="34" charset="0"/>
            </a:endParaRPr>
          </a:p>
          <a:p>
            <a:pPr algn="ctr"/>
            <a:endParaRPr lang="en-US" sz="1350" b="1" dirty="0">
              <a:latin typeface="Century Gothic" panose="020B0502020202020204" pitchFamily="34" charset="0"/>
            </a:endParaRPr>
          </a:p>
          <a:p>
            <a:pPr algn="ctr"/>
            <a:endParaRPr lang="en-US" sz="1350" b="1" dirty="0">
              <a:latin typeface="Century Gothic" panose="020B0502020202020204" pitchFamily="34" charset="0"/>
            </a:endParaRPr>
          </a:p>
        </p:txBody>
      </p:sp>
      <p:cxnSp>
        <p:nvCxnSpPr>
          <p:cNvPr id="10" name="Straight Arrow Connector 9">
            <a:extLst>
              <a:ext uri="{FF2B5EF4-FFF2-40B4-BE49-F238E27FC236}">
                <a16:creationId xmlns:a16="http://schemas.microsoft.com/office/drawing/2014/main" id="{7AE502C7-2A96-4384-A262-062C6E30F2AF}"/>
              </a:ext>
            </a:extLst>
          </p:cNvPr>
          <p:cNvCxnSpPr>
            <a:cxnSpLocks/>
            <a:stCxn id="4" idx="5"/>
            <a:endCxn id="5" idx="1"/>
          </p:cNvCxnSpPr>
          <p:nvPr/>
        </p:nvCxnSpPr>
        <p:spPr>
          <a:xfrm>
            <a:off x="2264437" y="3056387"/>
            <a:ext cx="1301690" cy="1271724"/>
          </a:xfrm>
          <a:prstGeom prst="straightConnector1">
            <a:avLst/>
          </a:prstGeom>
          <a:ln w="76200">
            <a:solidFill>
              <a:schemeClr val="bg1">
                <a:lumMod val="75000"/>
              </a:schemeClr>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490C49FB-9DE3-457E-BE49-49DF719C8DCE}"/>
              </a:ext>
            </a:extLst>
          </p:cNvPr>
          <p:cNvCxnSpPr>
            <a:cxnSpLocks/>
            <a:stCxn id="5" idx="7"/>
          </p:cNvCxnSpPr>
          <p:nvPr/>
        </p:nvCxnSpPr>
        <p:spPr>
          <a:xfrm flipV="1">
            <a:off x="5208612" y="3162746"/>
            <a:ext cx="1259953" cy="1165365"/>
          </a:xfrm>
          <a:prstGeom prst="straightConnector1">
            <a:avLst/>
          </a:prstGeom>
          <a:ln w="76200">
            <a:solidFill>
              <a:schemeClr val="bg1">
                <a:lumMod val="75000"/>
              </a:schemeClr>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D801E7D-B647-4E92-8E82-D61D840E9514}"/>
              </a:ext>
            </a:extLst>
          </p:cNvPr>
          <p:cNvCxnSpPr>
            <a:cxnSpLocks/>
            <a:stCxn id="6" idx="2"/>
            <a:endCxn id="4" idx="6"/>
          </p:cNvCxnSpPr>
          <p:nvPr/>
        </p:nvCxnSpPr>
        <p:spPr>
          <a:xfrm flipH="1" flipV="1">
            <a:off x="2505002" y="2773679"/>
            <a:ext cx="3764736" cy="3707"/>
          </a:xfrm>
          <a:prstGeom prst="straightConnector1">
            <a:avLst/>
          </a:prstGeom>
          <a:ln w="76200">
            <a:solidFill>
              <a:schemeClr val="bg1">
                <a:lumMod val="75000"/>
              </a:schemeClr>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6" name="Explosion: 8 Points 15">
            <a:extLst>
              <a:ext uri="{FF2B5EF4-FFF2-40B4-BE49-F238E27FC236}">
                <a16:creationId xmlns:a16="http://schemas.microsoft.com/office/drawing/2014/main" id="{10562B57-B118-400F-A115-17DA02CFF420}"/>
              </a:ext>
            </a:extLst>
          </p:cNvPr>
          <p:cNvSpPr/>
          <p:nvPr/>
        </p:nvSpPr>
        <p:spPr>
          <a:xfrm>
            <a:off x="2322984" y="2107887"/>
            <a:ext cx="1524413" cy="947723"/>
          </a:xfrm>
          <a:prstGeom prst="irregularSeal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Century Gothic" panose="020B0502020202020204" pitchFamily="34" charset="0"/>
              </a:rPr>
              <a:t>Information Perception</a:t>
            </a:r>
          </a:p>
        </p:txBody>
      </p:sp>
      <p:sp>
        <p:nvSpPr>
          <p:cNvPr id="17" name="Explosion: 8 Points 16">
            <a:extLst>
              <a:ext uri="{FF2B5EF4-FFF2-40B4-BE49-F238E27FC236}">
                <a16:creationId xmlns:a16="http://schemas.microsoft.com/office/drawing/2014/main" id="{FDAB5440-4019-4793-91F9-90AEA4930049}"/>
              </a:ext>
            </a:extLst>
          </p:cNvPr>
          <p:cNvSpPr/>
          <p:nvPr/>
        </p:nvSpPr>
        <p:spPr>
          <a:xfrm>
            <a:off x="4972474" y="2288281"/>
            <a:ext cx="1524413" cy="947723"/>
          </a:xfrm>
          <a:prstGeom prst="irregularSeal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Century Gothic" panose="020B0502020202020204" pitchFamily="34" charset="0"/>
              </a:rPr>
              <a:t>Data  Portrayal</a:t>
            </a:r>
          </a:p>
        </p:txBody>
      </p:sp>
      <p:sp>
        <p:nvSpPr>
          <p:cNvPr id="18" name="Explosion: 8 Points 17">
            <a:extLst>
              <a:ext uri="{FF2B5EF4-FFF2-40B4-BE49-F238E27FC236}">
                <a16:creationId xmlns:a16="http://schemas.microsoft.com/office/drawing/2014/main" id="{B6519AB6-90B9-4AEC-8380-93117F5E3886}"/>
              </a:ext>
            </a:extLst>
          </p:cNvPr>
          <p:cNvSpPr/>
          <p:nvPr/>
        </p:nvSpPr>
        <p:spPr>
          <a:xfrm>
            <a:off x="1484845" y="3188447"/>
            <a:ext cx="1366940" cy="926291"/>
          </a:xfrm>
          <a:prstGeom prst="irregularSeal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Century Gothic" panose="020B0502020202020204" pitchFamily="34" charset="0"/>
              </a:rPr>
              <a:t>Decisions</a:t>
            </a:r>
          </a:p>
        </p:txBody>
      </p:sp>
      <p:sp>
        <p:nvSpPr>
          <p:cNvPr id="19" name="Explosion: 8 Points 18">
            <a:extLst>
              <a:ext uri="{FF2B5EF4-FFF2-40B4-BE49-F238E27FC236}">
                <a16:creationId xmlns:a16="http://schemas.microsoft.com/office/drawing/2014/main" id="{612638DD-A4B1-4EE8-8B27-2E7AD14BDA78}"/>
              </a:ext>
            </a:extLst>
          </p:cNvPr>
          <p:cNvSpPr/>
          <p:nvPr/>
        </p:nvSpPr>
        <p:spPr>
          <a:xfrm>
            <a:off x="2460204" y="3640343"/>
            <a:ext cx="1668463" cy="776507"/>
          </a:xfrm>
          <a:prstGeom prst="irregularSeal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Century Gothic" panose="020B0502020202020204" pitchFamily="34" charset="0"/>
              </a:rPr>
              <a:t>Actions</a:t>
            </a:r>
          </a:p>
        </p:txBody>
      </p:sp>
      <p:sp>
        <p:nvSpPr>
          <p:cNvPr id="20" name="Explosion: 8 Points 19">
            <a:extLst>
              <a:ext uri="{FF2B5EF4-FFF2-40B4-BE49-F238E27FC236}">
                <a16:creationId xmlns:a16="http://schemas.microsoft.com/office/drawing/2014/main" id="{4FA0CA43-F8C8-4234-B4F1-62C57F9F4BE7}"/>
              </a:ext>
            </a:extLst>
          </p:cNvPr>
          <p:cNvSpPr/>
          <p:nvPr/>
        </p:nvSpPr>
        <p:spPr>
          <a:xfrm>
            <a:off x="4520185" y="3337978"/>
            <a:ext cx="1524413" cy="947723"/>
          </a:xfrm>
          <a:prstGeom prst="irregularSeal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Century Gothic" panose="020B0502020202020204" pitchFamily="34" charset="0"/>
              </a:rPr>
              <a:t>Data Capture</a:t>
            </a:r>
          </a:p>
        </p:txBody>
      </p:sp>
      <p:sp>
        <p:nvSpPr>
          <p:cNvPr id="21" name="Explosion: 8 Points 20">
            <a:extLst>
              <a:ext uri="{FF2B5EF4-FFF2-40B4-BE49-F238E27FC236}">
                <a16:creationId xmlns:a16="http://schemas.microsoft.com/office/drawing/2014/main" id="{6C4E134B-C0F9-47C6-B0C2-0BDE61384206}"/>
              </a:ext>
            </a:extLst>
          </p:cNvPr>
          <p:cNvSpPr/>
          <p:nvPr/>
        </p:nvSpPr>
        <p:spPr>
          <a:xfrm>
            <a:off x="6315447" y="2658028"/>
            <a:ext cx="1615145" cy="628876"/>
          </a:xfrm>
          <a:prstGeom prst="irregularSeal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Century Gothic" panose="020B0502020202020204" pitchFamily="34" charset="0"/>
              </a:rPr>
              <a:t>Data Management</a:t>
            </a:r>
          </a:p>
        </p:txBody>
      </p:sp>
      <p:sp>
        <p:nvSpPr>
          <p:cNvPr id="22" name="Explosion: 8 Points 21">
            <a:extLst>
              <a:ext uri="{FF2B5EF4-FFF2-40B4-BE49-F238E27FC236}">
                <a16:creationId xmlns:a16="http://schemas.microsoft.com/office/drawing/2014/main" id="{824EDE54-9C70-4D7E-A3DC-0A100CA0E75D}"/>
              </a:ext>
            </a:extLst>
          </p:cNvPr>
          <p:cNvSpPr/>
          <p:nvPr/>
        </p:nvSpPr>
        <p:spPr>
          <a:xfrm>
            <a:off x="5779556" y="3188447"/>
            <a:ext cx="1524413" cy="947723"/>
          </a:xfrm>
          <a:prstGeom prst="irregularSeal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tx1"/>
                </a:solidFill>
                <a:latin typeface="Century Gothic" panose="020B0502020202020204" pitchFamily="34" charset="0"/>
              </a:rPr>
              <a:t>Data Entry</a:t>
            </a:r>
          </a:p>
        </p:txBody>
      </p:sp>
      <p:sp>
        <p:nvSpPr>
          <p:cNvPr id="31" name="Cloud 30">
            <a:extLst>
              <a:ext uri="{FF2B5EF4-FFF2-40B4-BE49-F238E27FC236}">
                <a16:creationId xmlns:a16="http://schemas.microsoft.com/office/drawing/2014/main" id="{845EE7C9-9965-4DC6-B4B0-BFF2234EABD2}"/>
              </a:ext>
            </a:extLst>
          </p:cNvPr>
          <p:cNvSpPr/>
          <p:nvPr/>
        </p:nvSpPr>
        <p:spPr>
          <a:xfrm>
            <a:off x="672982" y="4600533"/>
            <a:ext cx="1563846" cy="568484"/>
          </a:xfrm>
          <a:prstGeom prst="cloud">
            <a:avLst/>
          </a:prstGeom>
          <a:solidFill>
            <a:srgbClr val="BB0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b="1" dirty="0">
                <a:latin typeface="Century Gothic" panose="020B0502020202020204" pitchFamily="34" charset="0"/>
              </a:rPr>
              <a:t>Suppliers</a:t>
            </a:r>
          </a:p>
          <a:p>
            <a:pPr algn="ctr"/>
            <a:r>
              <a:rPr lang="en-US" sz="1350" b="1" dirty="0">
                <a:latin typeface="Century Gothic" panose="020B0502020202020204" pitchFamily="34" charset="0"/>
              </a:rPr>
              <a:t>Customers</a:t>
            </a:r>
          </a:p>
        </p:txBody>
      </p:sp>
      <p:sp>
        <p:nvSpPr>
          <p:cNvPr id="32" name="Cloud 31">
            <a:extLst>
              <a:ext uri="{FF2B5EF4-FFF2-40B4-BE49-F238E27FC236}">
                <a16:creationId xmlns:a16="http://schemas.microsoft.com/office/drawing/2014/main" id="{5A6BDB5E-81BF-428F-931E-655283B547B2}"/>
              </a:ext>
            </a:extLst>
          </p:cNvPr>
          <p:cNvSpPr/>
          <p:nvPr/>
        </p:nvSpPr>
        <p:spPr>
          <a:xfrm>
            <a:off x="6541762" y="4537405"/>
            <a:ext cx="1642973" cy="694739"/>
          </a:xfrm>
          <a:prstGeom prst="cloud">
            <a:avLst/>
          </a:prstGeom>
          <a:solidFill>
            <a:srgbClr val="BB0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350" b="1" dirty="0">
                <a:latin typeface="Century Gothic" panose="020B0502020202020204" pitchFamily="34" charset="0"/>
              </a:rPr>
              <a:t>Customers</a:t>
            </a:r>
          </a:p>
        </p:txBody>
      </p:sp>
      <p:sp>
        <p:nvSpPr>
          <p:cNvPr id="33" name="Arrow: Right 32">
            <a:extLst>
              <a:ext uri="{FF2B5EF4-FFF2-40B4-BE49-F238E27FC236}">
                <a16:creationId xmlns:a16="http://schemas.microsoft.com/office/drawing/2014/main" id="{6E87C207-672C-4480-9577-379AB2B11449}"/>
              </a:ext>
            </a:extLst>
          </p:cNvPr>
          <p:cNvSpPr/>
          <p:nvPr/>
        </p:nvSpPr>
        <p:spPr>
          <a:xfrm>
            <a:off x="2265752" y="4667476"/>
            <a:ext cx="930951" cy="434597"/>
          </a:xfrm>
          <a:prstGeom prst="rightArrow">
            <a:avLst/>
          </a:prstGeom>
          <a:solidFill>
            <a:schemeClr val="bg1">
              <a:lumMod val="75000"/>
            </a:schemeClr>
          </a:solidFill>
          <a:ln w="28575">
            <a:no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Century Gothic" panose="020B0502020202020204" pitchFamily="34" charset="0"/>
            </a:endParaRPr>
          </a:p>
        </p:txBody>
      </p:sp>
      <p:sp>
        <p:nvSpPr>
          <p:cNvPr id="42" name="TextBox 41">
            <a:extLst>
              <a:ext uri="{FF2B5EF4-FFF2-40B4-BE49-F238E27FC236}">
                <a16:creationId xmlns:a16="http://schemas.microsoft.com/office/drawing/2014/main" id="{2C451B24-BC60-4E33-9922-2FA5BC6AABCB}"/>
              </a:ext>
            </a:extLst>
          </p:cNvPr>
          <p:cNvSpPr txBox="1"/>
          <p:nvPr/>
        </p:nvSpPr>
        <p:spPr>
          <a:xfrm>
            <a:off x="4740276" y="1047981"/>
            <a:ext cx="4259581" cy="276999"/>
          </a:xfrm>
          <a:prstGeom prst="rect">
            <a:avLst/>
          </a:prstGeom>
          <a:noFill/>
        </p:spPr>
        <p:txBody>
          <a:bodyPr wrap="square" lIns="0" rIns="0" rtlCol="0">
            <a:spAutoFit/>
          </a:bodyPr>
          <a:lstStyle/>
          <a:p>
            <a:r>
              <a:rPr lang="en-US" sz="1200" b="1" i="1" dirty="0">
                <a:solidFill>
                  <a:srgbClr val="666666"/>
                </a:solidFill>
                <a:latin typeface="Century Gothic" panose="020B0502020202020204" pitchFamily="34" charset="0"/>
              </a:rPr>
              <a:t>Peavey Performance Management/Measurement System</a:t>
            </a:r>
          </a:p>
        </p:txBody>
      </p:sp>
      <p:sp>
        <p:nvSpPr>
          <p:cNvPr id="43" name="Arrow: Right 42">
            <a:extLst>
              <a:ext uri="{FF2B5EF4-FFF2-40B4-BE49-F238E27FC236}">
                <a16:creationId xmlns:a16="http://schemas.microsoft.com/office/drawing/2014/main" id="{4EC659EF-5D70-43B8-A703-96EAD4CF78E4}"/>
              </a:ext>
            </a:extLst>
          </p:cNvPr>
          <p:cNvSpPr/>
          <p:nvPr/>
        </p:nvSpPr>
        <p:spPr>
          <a:xfrm>
            <a:off x="5579122" y="4667476"/>
            <a:ext cx="930951" cy="434597"/>
          </a:xfrm>
          <a:prstGeom prst="rightArrow">
            <a:avLst/>
          </a:prstGeom>
          <a:solidFill>
            <a:schemeClr val="bg1">
              <a:lumMod val="75000"/>
            </a:schemeClr>
          </a:solidFill>
          <a:ln w="28575">
            <a:no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latin typeface="Century Gothic" panose="020B0502020202020204" pitchFamily="34" charset="0"/>
            </a:endParaRPr>
          </a:p>
        </p:txBody>
      </p:sp>
      <p:sp>
        <p:nvSpPr>
          <p:cNvPr id="23" name="Oval 22">
            <a:extLst>
              <a:ext uri="{FF2B5EF4-FFF2-40B4-BE49-F238E27FC236}">
                <a16:creationId xmlns:a16="http://schemas.microsoft.com/office/drawing/2014/main" id="{9310FB44-0222-436A-BCA4-D70DBA8260DE}"/>
              </a:ext>
            </a:extLst>
          </p:cNvPr>
          <p:cNvSpPr/>
          <p:nvPr/>
        </p:nvSpPr>
        <p:spPr>
          <a:xfrm>
            <a:off x="570297" y="1924888"/>
            <a:ext cx="5090413" cy="1959272"/>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647AF7F9-C553-42B1-9FB2-3E581502CB35}"/>
              </a:ext>
            </a:extLst>
          </p:cNvPr>
          <p:cNvSpPr/>
          <p:nvPr/>
        </p:nvSpPr>
        <p:spPr>
          <a:xfrm>
            <a:off x="7224583" y="3505933"/>
            <a:ext cx="1952825" cy="840447"/>
          </a:xfrm>
          <a:prstGeom prst="rect">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i="1" dirty="0">
                <a:solidFill>
                  <a:srgbClr val="666666"/>
                </a:solidFill>
              </a:rPr>
              <a:t>Collect, Store, ‘Manage’ Data for Op Analytics</a:t>
            </a:r>
            <a:endParaRPr lang="en-US" sz="1500" b="1" i="1" dirty="0">
              <a:solidFill>
                <a:srgbClr val="BB0000"/>
              </a:solidFill>
            </a:endParaRPr>
          </a:p>
        </p:txBody>
      </p:sp>
      <p:sp>
        <p:nvSpPr>
          <p:cNvPr id="25" name="Oval 24">
            <a:extLst>
              <a:ext uri="{FF2B5EF4-FFF2-40B4-BE49-F238E27FC236}">
                <a16:creationId xmlns:a16="http://schemas.microsoft.com/office/drawing/2014/main" id="{D8E4F0C0-9C56-41FB-8A14-F138E3B934C7}"/>
              </a:ext>
            </a:extLst>
          </p:cNvPr>
          <p:cNvSpPr/>
          <p:nvPr/>
        </p:nvSpPr>
        <p:spPr>
          <a:xfrm>
            <a:off x="1968743" y="1931640"/>
            <a:ext cx="457715" cy="45771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2</a:t>
            </a:r>
          </a:p>
        </p:txBody>
      </p:sp>
      <p:sp>
        <p:nvSpPr>
          <p:cNvPr id="26" name="Rectangle 25">
            <a:extLst>
              <a:ext uri="{FF2B5EF4-FFF2-40B4-BE49-F238E27FC236}">
                <a16:creationId xmlns:a16="http://schemas.microsoft.com/office/drawing/2014/main" id="{232BD591-08C4-44D4-B9E7-0DD9078EE7C7}"/>
              </a:ext>
            </a:extLst>
          </p:cNvPr>
          <p:cNvSpPr/>
          <p:nvPr/>
        </p:nvSpPr>
        <p:spPr>
          <a:xfrm>
            <a:off x="97994" y="1731788"/>
            <a:ext cx="1952825" cy="840447"/>
          </a:xfrm>
          <a:prstGeom prst="rect">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i="1" dirty="0">
                <a:solidFill>
                  <a:srgbClr val="666666"/>
                </a:solidFill>
              </a:rPr>
              <a:t>Understand the Voice of Users</a:t>
            </a:r>
            <a:endParaRPr lang="en-US" sz="1500" b="1" i="1" dirty="0">
              <a:solidFill>
                <a:srgbClr val="BB0000"/>
              </a:solidFill>
            </a:endParaRPr>
          </a:p>
        </p:txBody>
      </p:sp>
      <p:sp>
        <p:nvSpPr>
          <p:cNvPr id="27" name="Oval 26">
            <a:extLst>
              <a:ext uri="{FF2B5EF4-FFF2-40B4-BE49-F238E27FC236}">
                <a16:creationId xmlns:a16="http://schemas.microsoft.com/office/drawing/2014/main" id="{7E5C662D-6EC4-4258-82FC-DEDEB18800B0}"/>
              </a:ext>
            </a:extLst>
          </p:cNvPr>
          <p:cNvSpPr/>
          <p:nvPr/>
        </p:nvSpPr>
        <p:spPr>
          <a:xfrm>
            <a:off x="304998" y="5244834"/>
            <a:ext cx="457715" cy="45771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1</a:t>
            </a:r>
          </a:p>
        </p:txBody>
      </p:sp>
      <p:sp>
        <p:nvSpPr>
          <p:cNvPr id="28" name="Rectangle 27">
            <a:extLst>
              <a:ext uri="{FF2B5EF4-FFF2-40B4-BE49-F238E27FC236}">
                <a16:creationId xmlns:a16="http://schemas.microsoft.com/office/drawing/2014/main" id="{FB595991-901F-4449-AA66-53F49BAEBE7B}"/>
              </a:ext>
            </a:extLst>
          </p:cNvPr>
          <p:cNvSpPr/>
          <p:nvPr/>
        </p:nvSpPr>
        <p:spPr>
          <a:xfrm>
            <a:off x="753497" y="5286568"/>
            <a:ext cx="1635911" cy="670068"/>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i="1" dirty="0">
                <a:solidFill>
                  <a:srgbClr val="666666"/>
                </a:solidFill>
              </a:rPr>
              <a:t>Map &amp; Analyze the Value Stream</a:t>
            </a:r>
            <a:endParaRPr lang="en-US" sz="1500" b="1" i="1" dirty="0">
              <a:solidFill>
                <a:srgbClr val="BB0000"/>
              </a:solidFill>
            </a:endParaRPr>
          </a:p>
        </p:txBody>
      </p:sp>
      <p:sp>
        <p:nvSpPr>
          <p:cNvPr id="29" name="Oval 28">
            <a:extLst>
              <a:ext uri="{FF2B5EF4-FFF2-40B4-BE49-F238E27FC236}">
                <a16:creationId xmlns:a16="http://schemas.microsoft.com/office/drawing/2014/main" id="{7081EEEE-EC04-41DD-9218-41D2DB030924}"/>
              </a:ext>
            </a:extLst>
          </p:cNvPr>
          <p:cNvSpPr/>
          <p:nvPr/>
        </p:nvSpPr>
        <p:spPr>
          <a:xfrm>
            <a:off x="8281670" y="3053609"/>
            <a:ext cx="457715" cy="45771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3</a:t>
            </a:r>
          </a:p>
        </p:txBody>
      </p:sp>
      <p:sp>
        <p:nvSpPr>
          <p:cNvPr id="34" name="Oval 33">
            <a:extLst>
              <a:ext uri="{FF2B5EF4-FFF2-40B4-BE49-F238E27FC236}">
                <a16:creationId xmlns:a16="http://schemas.microsoft.com/office/drawing/2014/main" id="{053208FF-4698-4EC7-AD03-A07444D9B017}"/>
              </a:ext>
            </a:extLst>
          </p:cNvPr>
          <p:cNvSpPr/>
          <p:nvPr/>
        </p:nvSpPr>
        <p:spPr>
          <a:xfrm>
            <a:off x="4215840" y="1949533"/>
            <a:ext cx="457715" cy="45771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4</a:t>
            </a:r>
          </a:p>
        </p:txBody>
      </p:sp>
      <p:sp>
        <p:nvSpPr>
          <p:cNvPr id="35" name="Rectangle 34">
            <a:extLst>
              <a:ext uri="{FF2B5EF4-FFF2-40B4-BE49-F238E27FC236}">
                <a16:creationId xmlns:a16="http://schemas.microsoft.com/office/drawing/2014/main" id="{2939C8CE-7A38-4FEC-8F4A-739715CE64A9}"/>
              </a:ext>
            </a:extLst>
          </p:cNvPr>
          <p:cNvSpPr/>
          <p:nvPr/>
        </p:nvSpPr>
        <p:spPr>
          <a:xfrm>
            <a:off x="2236828" y="1323816"/>
            <a:ext cx="5505213" cy="840447"/>
          </a:xfrm>
          <a:prstGeom prst="rect">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i="1" dirty="0">
                <a:solidFill>
                  <a:srgbClr val="666666"/>
                </a:solidFill>
              </a:rPr>
              <a:t>Operational Analytics (PBI &amp; </a:t>
            </a:r>
            <a:r>
              <a:rPr lang="en-US" sz="1500" b="1" i="1" dirty="0" err="1">
                <a:solidFill>
                  <a:srgbClr val="666666"/>
                </a:solidFill>
              </a:rPr>
              <a:t>Sharepoint</a:t>
            </a:r>
            <a:r>
              <a:rPr lang="en-US" sz="1500" b="1" i="1" dirty="0">
                <a:solidFill>
                  <a:srgbClr val="666666"/>
                </a:solidFill>
              </a:rPr>
              <a:t> &amp; Huddle Boards)</a:t>
            </a:r>
            <a:endParaRPr lang="en-US" sz="1500" b="1" i="1" dirty="0">
              <a:solidFill>
                <a:srgbClr val="BB0000"/>
              </a:solidFill>
            </a:endParaRPr>
          </a:p>
        </p:txBody>
      </p:sp>
      <p:sp>
        <p:nvSpPr>
          <p:cNvPr id="36" name="Oval 35">
            <a:extLst>
              <a:ext uri="{FF2B5EF4-FFF2-40B4-BE49-F238E27FC236}">
                <a16:creationId xmlns:a16="http://schemas.microsoft.com/office/drawing/2014/main" id="{0654DB6D-6D6B-4D55-895D-7F685254F136}"/>
              </a:ext>
            </a:extLst>
          </p:cNvPr>
          <p:cNvSpPr/>
          <p:nvPr/>
        </p:nvSpPr>
        <p:spPr>
          <a:xfrm>
            <a:off x="636847" y="3160881"/>
            <a:ext cx="457715" cy="45771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t>5</a:t>
            </a:r>
          </a:p>
        </p:txBody>
      </p:sp>
      <p:sp>
        <p:nvSpPr>
          <p:cNvPr id="37" name="Rectangle 36">
            <a:extLst>
              <a:ext uri="{FF2B5EF4-FFF2-40B4-BE49-F238E27FC236}">
                <a16:creationId xmlns:a16="http://schemas.microsoft.com/office/drawing/2014/main" id="{8CD1AE6B-956C-4F8A-B592-D2547DDC5064}"/>
              </a:ext>
            </a:extLst>
          </p:cNvPr>
          <p:cNvSpPr/>
          <p:nvPr/>
        </p:nvSpPr>
        <p:spPr>
          <a:xfrm>
            <a:off x="150888" y="3512632"/>
            <a:ext cx="1563846" cy="840447"/>
          </a:xfrm>
          <a:prstGeom prst="rect">
            <a:avLst/>
          </a:prstGeom>
          <a:no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i="1" dirty="0">
                <a:solidFill>
                  <a:srgbClr val="666666"/>
                </a:solidFill>
              </a:rPr>
              <a:t>Huddles &amp; Study-Adjust</a:t>
            </a:r>
            <a:endParaRPr lang="en-US" sz="1500" b="1" i="1" dirty="0">
              <a:solidFill>
                <a:srgbClr val="BB0000"/>
              </a:solidFill>
            </a:endParaRPr>
          </a:p>
        </p:txBody>
      </p:sp>
      <p:pic>
        <p:nvPicPr>
          <p:cNvPr id="1026" name="Picture 2" descr="Tick Icon Vector Symbol, Checkmark Isolated On White Background. Check List  Button Icon. Check Mark Icon In Square Sign. Stock Vector - Illustration of  vector, correct: 139453261">
            <a:extLst>
              <a:ext uri="{FF2B5EF4-FFF2-40B4-BE49-F238E27FC236}">
                <a16:creationId xmlns:a16="http://schemas.microsoft.com/office/drawing/2014/main" id="{EA858305-5AEF-4E8F-A412-B8497C550A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2109" y="1549474"/>
            <a:ext cx="394267" cy="39426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Tick Icon Vector Symbol, Checkmark Isolated On White Background. Check List  Button Icon. Check Mark Icon In Square Sign. Stock Vector - Illustration of  vector, correct: 139453261">
            <a:extLst>
              <a:ext uri="{FF2B5EF4-FFF2-40B4-BE49-F238E27FC236}">
                <a16:creationId xmlns:a16="http://schemas.microsoft.com/office/drawing/2014/main" id="{A8A953E6-2D2A-4311-97AB-2A57FBB204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81671" y="2565128"/>
            <a:ext cx="457714" cy="45771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calendar&#10;&#10;Description automatically generated">
            <a:extLst>
              <a:ext uri="{FF2B5EF4-FFF2-40B4-BE49-F238E27FC236}">
                <a16:creationId xmlns:a16="http://schemas.microsoft.com/office/drawing/2014/main" id="{94DA9151-3CD4-49A8-AE33-5B7AB860CE0A}"/>
              </a:ext>
            </a:extLst>
          </p:cNvPr>
          <p:cNvPicPr>
            <a:picLocks noChangeAspect="1"/>
          </p:cNvPicPr>
          <p:nvPr/>
        </p:nvPicPr>
        <p:blipFill rotWithShape="1">
          <a:blip r:embed="rId4">
            <a:extLst>
              <a:ext uri="{28A0092B-C50C-407E-A947-70E740481C1C}">
                <a14:useLocalDpi xmlns:a14="http://schemas.microsoft.com/office/drawing/2010/main" val="0"/>
              </a:ext>
            </a:extLst>
          </a:blip>
          <a:srcRect l="20125" r="17728" b="10109"/>
          <a:stretch/>
        </p:blipFill>
        <p:spPr>
          <a:xfrm>
            <a:off x="4729111" y="1906725"/>
            <a:ext cx="650259" cy="526711"/>
          </a:xfrm>
          <a:prstGeom prst="rect">
            <a:avLst/>
          </a:prstGeom>
        </p:spPr>
      </p:pic>
      <p:pic>
        <p:nvPicPr>
          <p:cNvPr id="39" name="Picture 38" descr="A picture containing calendar&#10;&#10;Description automatically generated">
            <a:extLst>
              <a:ext uri="{FF2B5EF4-FFF2-40B4-BE49-F238E27FC236}">
                <a16:creationId xmlns:a16="http://schemas.microsoft.com/office/drawing/2014/main" id="{30E708D0-8EDB-4156-83FF-9820F48B36B6}"/>
              </a:ext>
            </a:extLst>
          </p:cNvPr>
          <p:cNvPicPr>
            <a:picLocks noChangeAspect="1"/>
          </p:cNvPicPr>
          <p:nvPr/>
        </p:nvPicPr>
        <p:blipFill rotWithShape="1">
          <a:blip r:embed="rId4">
            <a:extLst>
              <a:ext uri="{28A0092B-C50C-407E-A947-70E740481C1C}">
                <a14:useLocalDpi xmlns:a14="http://schemas.microsoft.com/office/drawing/2010/main" val="0"/>
              </a:ext>
            </a:extLst>
          </a:blip>
          <a:srcRect l="20125" r="17728" b="10109"/>
          <a:stretch/>
        </p:blipFill>
        <p:spPr>
          <a:xfrm>
            <a:off x="2479139" y="5321311"/>
            <a:ext cx="650259" cy="526711"/>
          </a:xfrm>
          <a:prstGeom prst="rect">
            <a:avLst/>
          </a:prstGeom>
        </p:spPr>
      </p:pic>
      <p:pic>
        <p:nvPicPr>
          <p:cNvPr id="14" name="Picture 13" descr="Text&#10;&#10;Description automatically generated">
            <a:extLst>
              <a:ext uri="{FF2B5EF4-FFF2-40B4-BE49-F238E27FC236}">
                <a16:creationId xmlns:a16="http://schemas.microsoft.com/office/drawing/2014/main" id="{5BAC96D3-FE46-413C-B170-FD500EAA215E}"/>
              </a:ext>
            </a:extLst>
          </p:cNvPr>
          <p:cNvPicPr>
            <a:picLocks noChangeAspect="1"/>
          </p:cNvPicPr>
          <p:nvPr/>
        </p:nvPicPr>
        <p:blipFill rotWithShape="1">
          <a:blip r:embed="rId5">
            <a:extLst>
              <a:ext uri="{28A0092B-C50C-407E-A947-70E740481C1C}">
                <a14:useLocalDpi xmlns:a14="http://schemas.microsoft.com/office/drawing/2010/main" val="0"/>
              </a:ext>
            </a:extLst>
          </a:blip>
          <a:srcRect l="4518" t="9732" r="5646" b="18936"/>
          <a:stretch/>
        </p:blipFill>
        <p:spPr>
          <a:xfrm>
            <a:off x="2563722" y="3222858"/>
            <a:ext cx="1103357" cy="490608"/>
          </a:xfrm>
          <a:prstGeom prst="rect">
            <a:avLst/>
          </a:prstGeom>
        </p:spPr>
      </p:pic>
      <p:sp>
        <p:nvSpPr>
          <p:cNvPr id="40" name="Explosion: 8 Points 39">
            <a:extLst>
              <a:ext uri="{FF2B5EF4-FFF2-40B4-BE49-F238E27FC236}">
                <a16:creationId xmlns:a16="http://schemas.microsoft.com/office/drawing/2014/main" id="{F0B335EE-65E7-4B84-A291-4FD23F7893FB}"/>
              </a:ext>
            </a:extLst>
          </p:cNvPr>
          <p:cNvSpPr/>
          <p:nvPr/>
        </p:nvSpPr>
        <p:spPr>
          <a:xfrm>
            <a:off x="3669575" y="2289445"/>
            <a:ext cx="1524413" cy="947723"/>
          </a:xfrm>
          <a:prstGeom prst="irregularSeal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solidFill>
                  <a:schemeClr val="bg1"/>
                </a:solidFill>
                <a:latin typeface="Century Gothic" panose="020B0502020202020204" pitchFamily="34" charset="0"/>
              </a:rPr>
              <a:t>Information  Portrayal</a:t>
            </a:r>
          </a:p>
        </p:txBody>
      </p:sp>
    </p:spTree>
    <p:extLst>
      <p:ext uri="{BB962C8B-B14F-4D97-AF65-F5344CB8AC3E}">
        <p14:creationId xmlns:p14="http://schemas.microsoft.com/office/powerpoint/2010/main" val="613625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C7226-FA40-6FDF-B9C2-D8E2D7FBF4F4}"/>
              </a:ext>
            </a:extLst>
          </p:cNvPr>
          <p:cNvSpPr>
            <a:spLocks noGrp="1"/>
          </p:cNvSpPr>
          <p:nvPr>
            <p:ph type="title"/>
          </p:nvPr>
        </p:nvSpPr>
        <p:spPr>
          <a:xfrm>
            <a:off x="651408" y="99218"/>
            <a:ext cx="7886700" cy="1325563"/>
          </a:xfrm>
        </p:spPr>
        <p:txBody>
          <a:bodyPr/>
          <a:lstStyle/>
          <a:p>
            <a:r>
              <a:rPr lang="en-US" dirty="0"/>
              <a:t>Moving from Big Data to Operational Analytics</a:t>
            </a:r>
          </a:p>
        </p:txBody>
      </p:sp>
      <p:sp>
        <p:nvSpPr>
          <p:cNvPr id="3" name="Text Placeholder 2">
            <a:extLst>
              <a:ext uri="{FF2B5EF4-FFF2-40B4-BE49-F238E27FC236}">
                <a16:creationId xmlns:a16="http://schemas.microsoft.com/office/drawing/2014/main" id="{E3AB8DBF-6296-17FC-4490-B094F10B9A31}"/>
              </a:ext>
            </a:extLst>
          </p:cNvPr>
          <p:cNvSpPr>
            <a:spLocks noGrp="1"/>
          </p:cNvSpPr>
          <p:nvPr>
            <p:ph type="body" idx="1"/>
          </p:nvPr>
        </p:nvSpPr>
        <p:spPr/>
        <p:txBody>
          <a:bodyPr/>
          <a:lstStyle/>
          <a:p>
            <a:endParaRPr lang="en-US"/>
          </a:p>
        </p:txBody>
      </p:sp>
      <p:sp>
        <p:nvSpPr>
          <p:cNvPr id="5" name="Text Placeholder 4">
            <a:extLst>
              <a:ext uri="{FF2B5EF4-FFF2-40B4-BE49-F238E27FC236}">
                <a16:creationId xmlns:a16="http://schemas.microsoft.com/office/drawing/2014/main" id="{ABEF2E60-269D-2529-4A98-FBD0C638E33D}"/>
              </a:ext>
            </a:extLst>
          </p:cNvPr>
          <p:cNvSpPr>
            <a:spLocks noGrp="1"/>
          </p:cNvSpPr>
          <p:nvPr>
            <p:ph type="body" sz="quarter" idx="3"/>
          </p:nvPr>
        </p:nvSpPr>
        <p:spPr/>
        <p:txBody>
          <a:bodyPr/>
          <a:lstStyle/>
          <a:p>
            <a:endParaRPr lang="en-US"/>
          </a:p>
        </p:txBody>
      </p:sp>
      <p:pic>
        <p:nvPicPr>
          <p:cNvPr id="11" name="Content Placeholder 10" descr="A diagram of data analytics&#10;&#10;Description automatically generated with low confidence">
            <a:extLst>
              <a:ext uri="{FF2B5EF4-FFF2-40B4-BE49-F238E27FC236}">
                <a16:creationId xmlns:a16="http://schemas.microsoft.com/office/drawing/2014/main" id="{57198A1D-9D3D-9A70-113A-8E7EA935C702}"/>
              </a:ext>
            </a:extLst>
          </p:cNvPr>
          <p:cNvPicPr>
            <a:picLocks noGrp="1" noChangeAspect="1"/>
          </p:cNvPicPr>
          <p:nvPr>
            <p:ph sz="quarter" idx="4"/>
          </p:nvPr>
        </p:nvPicPr>
        <p:blipFill>
          <a:blip r:embed="rId2">
            <a:extLst>
              <a:ext uri="{28A0092B-C50C-407E-A947-70E740481C1C}">
                <a14:useLocalDpi xmlns:a14="http://schemas.microsoft.com/office/drawing/2010/main" val="0"/>
              </a:ext>
            </a:extLst>
          </a:blip>
          <a:stretch>
            <a:fillRect/>
          </a:stretch>
        </p:blipFill>
        <p:spPr>
          <a:xfrm>
            <a:off x="498872" y="1334621"/>
            <a:ext cx="7907718" cy="4761379"/>
          </a:xfrm>
        </p:spPr>
      </p:pic>
      <p:sp>
        <p:nvSpPr>
          <p:cNvPr id="7" name="Slide Number Placeholder 6">
            <a:extLst>
              <a:ext uri="{FF2B5EF4-FFF2-40B4-BE49-F238E27FC236}">
                <a16:creationId xmlns:a16="http://schemas.microsoft.com/office/drawing/2014/main" id="{4B39568D-A297-680D-185A-A579C57D0BFF}"/>
              </a:ext>
            </a:extLst>
          </p:cNvPr>
          <p:cNvSpPr>
            <a:spLocks noGrp="1"/>
          </p:cNvSpPr>
          <p:nvPr>
            <p:ph type="sldNum" sz="quarter" idx="12"/>
          </p:nvPr>
        </p:nvSpPr>
        <p:spPr/>
        <p:txBody>
          <a:bodyPr/>
          <a:lstStyle/>
          <a:p>
            <a:fld id="{B1F560D5-53A7-4969-B8DF-E1F637D39903}" type="slidenum">
              <a:rPr lang="en-CA" smtClean="0"/>
              <a:t>47</a:t>
            </a:fld>
            <a:endParaRPr lang="en-CA"/>
          </a:p>
        </p:txBody>
      </p:sp>
      <p:sp>
        <p:nvSpPr>
          <p:cNvPr id="4" name="Rectangle 3">
            <a:extLst>
              <a:ext uri="{FF2B5EF4-FFF2-40B4-BE49-F238E27FC236}">
                <a16:creationId xmlns:a16="http://schemas.microsoft.com/office/drawing/2014/main" id="{09954609-305F-1F26-9A82-FF42A3A19734}"/>
              </a:ext>
            </a:extLst>
          </p:cNvPr>
          <p:cNvSpPr/>
          <p:nvPr/>
        </p:nvSpPr>
        <p:spPr>
          <a:xfrm>
            <a:off x="228601" y="4510088"/>
            <a:ext cx="1371600" cy="82391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Unknown, Unmeasured, Unthought about Data </a:t>
            </a:r>
          </a:p>
        </p:txBody>
      </p:sp>
      <p:sp>
        <p:nvSpPr>
          <p:cNvPr id="6" name="Rectangle 5">
            <a:extLst>
              <a:ext uri="{FF2B5EF4-FFF2-40B4-BE49-F238E27FC236}">
                <a16:creationId xmlns:a16="http://schemas.microsoft.com/office/drawing/2014/main" id="{BE358754-8903-933D-22ED-991C79BA17FD}"/>
              </a:ext>
            </a:extLst>
          </p:cNvPr>
          <p:cNvSpPr/>
          <p:nvPr/>
        </p:nvSpPr>
        <p:spPr>
          <a:xfrm>
            <a:off x="2514600" y="4572000"/>
            <a:ext cx="914400" cy="55209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dirty="0"/>
              <a:t>Identify and figure out how to get</a:t>
            </a:r>
          </a:p>
        </p:txBody>
      </p:sp>
    </p:spTree>
    <p:extLst>
      <p:ext uri="{BB962C8B-B14F-4D97-AF65-F5344CB8AC3E}">
        <p14:creationId xmlns:p14="http://schemas.microsoft.com/office/powerpoint/2010/main" val="32390350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C26E6-3350-4865-A14B-03CF02633AAC}"/>
              </a:ext>
            </a:extLst>
          </p:cNvPr>
          <p:cNvSpPr>
            <a:spLocks noGrp="1"/>
          </p:cNvSpPr>
          <p:nvPr>
            <p:ph type="title" idx="4294967295"/>
          </p:nvPr>
        </p:nvSpPr>
        <p:spPr>
          <a:xfrm>
            <a:off x="0" y="1131888"/>
            <a:ext cx="7886700" cy="628650"/>
          </a:xfrm>
        </p:spPr>
        <p:txBody>
          <a:bodyPr/>
          <a:lstStyle/>
          <a:p>
            <a:r>
              <a:rPr lang="en-US" sz="2700" dirty="0"/>
              <a:t>Strategy to migrate Current System to what you want</a:t>
            </a:r>
          </a:p>
        </p:txBody>
      </p:sp>
      <p:sp>
        <p:nvSpPr>
          <p:cNvPr id="3" name="Text Placeholder 2">
            <a:extLst>
              <a:ext uri="{FF2B5EF4-FFF2-40B4-BE49-F238E27FC236}">
                <a16:creationId xmlns:a16="http://schemas.microsoft.com/office/drawing/2014/main" id="{CCFD47DC-3641-497A-BDCA-68E0D4603255}"/>
              </a:ext>
            </a:extLst>
          </p:cNvPr>
          <p:cNvSpPr>
            <a:spLocks noGrp="1"/>
          </p:cNvSpPr>
          <p:nvPr>
            <p:ph type="body" idx="4294967295"/>
          </p:nvPr>
        </p:nvSpPr>
        <p:spPr>
          <a:xfrm>
            <a:off x="330330" y="1603076"/>
            <a:ext cx="4262083" cy="4279899"/>
          </a:xfrm>
        </p:spPr>
        <p:txBody>
          <a:bodyPr/>
          <a:lstStyle/>
          <a:p>
            <a:r>
              <a:rPr lang="en-US" dirty="0"/>
              <a:t> Driving Results that are Sustainable</a:t>
            </a:r>
          </a:p>
          <a:p>
            <a:pPr lvl="1"/>
            <a:r>
              <a:rPr lang="en-US" dirty="0"/>
              <a:t>Much work ahead but will come quickly</a:t>
            </a:r>
          </a:p>
          <a:p>
            <a:pPr lvl="1"/>
            <a:endParaRPr lang="en-US" sz="750" dirty="0"/>
          </a:p>
          <a:p>
            <a:r>
              <a:rPr lang="en-US" dirty="0"/>
              <a:t> Study-Adjust:</a:t>
            </a:r>
          </a:p>
          <a:p>
            <a:pPr lvl="1"/>
            <a:r>
              <a:rPr lang="en-US" dirty="0"/>
              <a:t>Strong Alignment on the need for this</a:t>
            </a:r>
          </a:p>
          <a:p>
            <a:pPr lvl="1"/>
            <a:r>
              <a:rPr lang="en-US" dirty="0"/>
              <a:t>Need BPI tiger team to point the way</a:t>
            </a:r>
          </a:p>
          <a:p>
            <a:pPr lvl="1"/>
            <a:endParaRPr lang="en-US" sz="1200" dirty="0"/>
          </a:p>
          <a:p>
            <a:r>
              <a:rPr lang="en-US" dirty="0"/>
              <a:t>Data Analytics:</a:t>
            </a:r>
          </a:p>
          <a:p>
            <a:pPr lvl="1"/>
            <a:r>
              <a:rPr lang="en-US" dirty="0"/>
              <a:t>Lots of work to do, directionally correct</a:t>
            </a:r>
          </a:p>
          <a:p>
            <a:r>
              <a:rPr lang="en-US" dirty="0"/>
              <a:t>Data Management: </a:t>
            </a:r>
          </a:p>
          <a:p>
            <a:pPr lvl="1"/>
            <a:r>
              <a:rPr lang="en-US" dirty="0"/>
              <a:t>Solid foundation to build on</a:t>
            </a:r>
          </a:p>
        </p:txBody>
      </p:sp>
      <p:pic>
        <p:nvPicPr>
          <p:cNvPr id="5" name="Picture 2">
            <a:extLst>
              <a:ext uri="{FF2B5EF4-FFF2-40B4-BE49-F238E27FC236}">
                <a16:creationId xmlns:a16="http://schemas.microsoft.com/office/drawing/2014/main" id="{6569B25A-B1D5-45BB-BAA3-D294E67455A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12044" y="3554240"/>
            <a:ext cx="3125378" cy="1780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BB65F79D-8AE8-46E1-962E-475586786A5C}"/>
              </a:ext>
            </a:extLst>
          </p:cNvPr>
          <p:cNvCxnSpPr/>
          <p:nvPr/>
        </p:nvCxnSpPr>
        <p:spPr>
          <a:xfrm>
            <a:off x="5557962" y="4560631"/>
            <a:ext cx="217905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Up Arrow 10">
            <a:extLst>
              <a:ext uri="{FF2B5EF4-FFF2-40B4-BE49-F238E27FC236}">
                <a16:creationId xmlns:a16="http://schemas.microsoft.com/office/drawing/2014/main" id="{EB32D96B-D2F4-4E7D-BFFA-DB500EE1FBA2}"/>
              </a:ext>
            </a:extLst>
          </p:cNvPr>
          <p:cNvSpPr/>
          <p:nvPr/>
        </p:nvSpPr>
        <p:spPr>
          <a:xfrm rot="10800000">
            <a:off x="5024126" y="4650112"/>
            <a:ext cx="301278" cy="446921"/>
          </a:xfrm>
          <a:prstGeom prst="upArrow">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1350">
              <a:solidFill>
                <a:srgbClr val="FFFFFF"/>
              </a:solidFill>
            </a:endParaRPr>
          </a:p>
        </p:txBody>
      </p:sp>
      <p:graphicFrame>
        <p:nvGraphicFramePr>
          <p:cNvPr id="10" name="Diagram 9">
            <a:extLst>
              <a:ext uri="{FF2B5EF4-FFF2-40B4-BE49-F238E27FC236}">
                <a16:creationId xmlns:a16="http://schemas.microsoft.com/office/drawing/2014/main" id="{DFBBEBE7-65DD-4494-A1FB-B598EA331ECB}"/>
              </a:ext>
            </a:extLst>
          </p:cNvPr>
          <p:cNvGraphicFramePr/>
          <p:nvPr/>
        </p:nvGraphicFramePr>
        <p:xfrm>
          <a:off x="5294406" y="1711025"/>
          <a:ext cx="2706168" cy="2032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Up Arrow 10">
            <a:extLst>
              <a:ext uri="{FF2B5EF4-FFF2-40B4-BE49-F238E27FC236}">
                <a16:creationId xmlns:a16="http://schemas.microsoft.com/office/drawing/2014/main" id="{B2C47190-541D-490E-91FB-D9861FFCF7DC}"/>
              </a:ext>
            </a:extLst>
          </p:cNvPr>
          <p:cNvSpPr/>
          <p:nvPr/>
        </p:nvSpPr>
        <p:spPr>
          <a:xfrm>
            <a:off x="5024126" y="3987281"/>
            <a:ext cx="301278" cy="446921"/>
          </a:xfrm>
          <a:prstGeom prst="upArrow">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1350">
              <a:solidFill>
                <a:srgbClr val="FFFFFF"/>
              </a:solidFill>
            </a:endParaRPr>
          </a:p>
        </p:txBody>
      </p:sp>
      <p:sp>
        <p:nvSpPr>
          <p:cNvPr id="12" name="Arrow: Curved Up 11">
            <a:extLst>
              <a:ext uri="{FF2B5EF4-FFF2-40B4-BE49-F238E27FC236}">
                <a16:creationId xmlns:a16="http://schemas.microsoft.com/office/drawing/2014/main" id="{F45C0F31-72E1-451E-B2B9-F4303A79E7EB}"/>
              </a:ext>
            </a:extLst>
          </p:cNvPr>
          <p:cNvSpPr/>
          <p:nvPr/>
        </p:nvSpPr>
        <p:spPr>
          <a:xfrm rot="16200000" flipV="1">
            <a:off x="5355675" y="3154494"/>
            <a:ext cx="912114" cy="507540"/>
          </a:xfrm>
          <a:prstGeom prst="curvedUp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3" name="Arrow: Curved Up 12">
            <a:extLst>
              <a:ext uri="{FF2B5EF4-FFF2-40B4-BE49-F238E27FC236}">
                <a16:creationId xmlns:a16="http://schemas.microsoft.com/office/drawing/2014/main" id="{A6E4B10D-03A2-482C-8948-A99CAE42FA6F}"/>
              </a:ext>
            </a:extLst>
          </p:cNvPr>
          <p:cNvSpPr/>
          <p:nvPr/>
        </p:nvSpPr>
        <p:spPr>
          <a:xfrm rot="16200000" flipV="1">
            <a:off x="4890529" y="2160893"/>
            <a:ext cx="912114" cy="507540"/>
          </a:xfrm>
          <a:prstGeom prst="curvedUp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4" name="Callout: Left Arrow 13">
            <a:extLst>
              <a:ext uri="{FF2B5EF4-FFF2-40B4-BE49-F238E27FC236}">
                <a16:creationId xmlns:a16="http://schemas.microsoft.com/office/drawing/2014/main" id="{C3C0E0E2-839F-4DEE-8A62-5268E680AAE6}"/>
              </a:ext>
            </a:extLst>
          </p:cNvPr>
          <p:cNvSpPr/>
          <p:nvPr/>
        </p:nvSpPr>
        <p:spPr>
          <a:xfrm>
            <a:off x="7475380" y="3331546"/>
            <a:ext cx="1440020" cy="2158427"/>
          </a:xfrm>
          <a:prstGeom prst="leftArrowCallout">
            <a:avLst>
              <a:gd name="adj1" fmla="val 14046"/>
              <a:gd name="adj2" fmla="val 9565"/>
              <a:gd name="adj3" fmla="val 25000"/>
              <a:gd name="adj4" fmla="val 64977"/>
            </a:avLst>
          </a:prstGeom>
          <a:solidFill>
            <a:srgbClr val="990033"/>
          </a:solid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Most Org’s ‘Reports’ are, at-best, feature extraction</a:t>
            </a:r>
          </a:p>
        </p:txBody>
      </p:sp>
      <p:sp>
        <p:nvSpPr>
          <p:cNvPr id="4" name="TextBox 3">
            <a:extLst>
              <a:ext uri="{FF2B5EF4-FFF2-40B4-BE49-F238E27FC236}">
                <a16:creationId xmlns:a16="http://schemas.microsoft.com/office/drawing/2014/main" id="{74B21141-8C00-AA9C-6278-2C6E5E871395}"/>
              </a:ext>
            </a:extLst>
          </p:cNvPr>
          <p:cNvSpPr txBox="1"/>
          <p:nvPr/>
        </p:nvSpPr>
        <p:spPr>
          <a:xfrm>
            <a:off x="314572" y="46869"/>
            <a:ext cx="6162428" cy="830997"/>
          </a:xfrm>
          <a:prstGeom prst="rect">
            <a:avLst/>
          </a:prstGeom>
          <a:noFill/>
        </p:spPr>
        <p:txBody>
          <a:bodyPr wrap="square" rtlCol="0">
            <a:spAutoFit/>
          </a:bodyPr>
          <a:lstStyle/>
          <a:p>
            <a:r>
              <a:rPr lang="en-US" sz="2400" dirty="0">
                <a:solidFill>
                  <a:schemeClr val="bg1"/>
                </a:solidFill>
              </a:rPr>
              <a:t>Common Situation with Organizations on the journey with MS365 solutions </a:t>
            </a:r>
          </a:p>
        </p:txBody>
      </p:sp>
    </p:spTree>
    <p:extLst>
      <p:ext uri="{BB962C8B-B14F-4D97-AF65-F5344CB8AC3E}">
        <p14:creationId xmlns:p14="http://schemas.microsoft.com/office/powerpoint/2010/main" val="2843475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172E6-EB4D-4CA9-B032-D89C0DD951AC}"/>
              </a:ext>
            </a:extLst>
          </p:cNvPr>
          <p:cNvSpPr>
            <a:spLocks noGrp="1"/>
          </p:cNvSpPr>
          <p:nvPr>
            <p:ph type="title"/>
          </p:nvPr>
        </p:nvSpPr>
        <p:spPr>
          <a:xfrm>
            <a:off x="568060" y="478555"/>
            <a:ext cx="7829550" cy="450690"/>
          </a:xfrm>
        </p:spPr>
        <p:txBody>
          <a:bodyPr>
            <a:noAutofit/>
          </a:bodyPr>
          <a:lstStyle/>
          <a:p>
            <a:r>
              <a:rPr lang="en-US" sz="2100" b="1" dirty="0"/>
              <a:t>Objective 1:  </a:t>
            </a:r>
            <a:r>
              <a:rPr lang="en-US" sz="2100" dirty="0"/>
              <a:t>build out the capability to do the top half of the Op Analytics Process DO-TRAIN/COACH Approach)</a:t>
            </a:r>
            <a:endParaRPr lang="en-CA" sz="2100" dirty="0"/>
          </a:p>
        </p:txBody>
      </p:sp>
      <p:pic>
        <p:nvPicPr>
          <p:cNvPr id="13" name="Picture 12">
            <a:extLst>
              <a:ext uri="{FF2B5EF4-FFF2-40B4-BE49-F238E27FC236}">
                <a16:creationId xmlns:a16="http://schemas.microsoft.com/office/drawing/2014/main" id="{2D6B5E61-311A-4087-969B-D1CED99EAB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7068" y="6018645"/>
            <a:ext cx="1862774" cy="123499"/>
          </a:xfrm>
          <a:prstGeom prst="rect">
            <a:avLst/>
          </a:prstGeom>
        </p:spPr>
      </p:pic>
      <p:grpSp>
        <p:nvGrpSpPr>
          <p:cNvPr id="117" name="Group 116">
            <a:extLst>
              <a:ext uri="{FF2B5EF4-FFF2-40B4-BE49-F238E27FC236}">
                <a16:creationId xmlns:a16="http://schemas.microsoft.com/office/drawing/2014/main" id="{72F2C1C1-2BAB-444D-81F9-7FE59FB5D609}"/>
              </a:ext>
            </a:extLst>
          </p:cNvPr>
          <p:cNvGrpSpPr/>
          <p:nvPr/>
        </p:nvGrpSpPr>
        <p:grpSpPr>
          <a:xfrm>
            <a:off x="57199" y="1776719"/>
            <a:ext cx="2763773" cy="3623238"/>
            <a:chOff x="6707801" y="1138366"/>
            <a:chExt cx="3685031" cy="4830984"/>
          </a:xfrm>
        </p:grpSpPr>
        <p:pic>
          <p:nvPicPr>
            <p:cNvPr id="118" name="Picture 2">
              <a:extLst>
                <a:ext uri="{FF2B5EF4-FFF2-40B4-BE49-F238E27FC236}">
                  <a16:creationId xmlns:a16="http://schemas.microsoft.com/office/drawing/2014/main" id="{6AE3A1A8-B5ED-4090-AFED-97C7A145775A}"/>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l="5939" r="5939"/>
            <a:stretch/>
          </p:blipFill>
          <p:spPr bwMode="auto">
            <a:xfrm>
              <a:off x="6707801" y="3595986"/>
              <a:ext cx="3608224" cy="237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9" name="Straight Connector 118">
              <a:extLst>
                <a:ext uri="{FF2B5EF4-FFF2-40B4-BE49-F238E27FC236}">
                  <a16:creationId xmlns:a16="http://schemas.microsoft.com/office/drawing/2014/main" id="{FB7BAD45-5F70-4C1C-8929-023B9AC220AD}"/>
                </a:ext>
              </a:extLst>
            </p:cNvPr>
            <p:cNvCxnSpPr/>
            <p:nvPr/>
          </p:nvCxnSpPr>
          <p:spPr>
            <a:xfrm>
              <a:off x="6914959" y="4937841"/>
              <a:ext cx="290540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121" name="Diagram 120">
              <a:extLst>
                <a:ext uri="{FF2B5EF4-FFF2-40B4-BE49-F238E27FC236}">
                  <a16:creationId xmlns:a16="http://schemas.microsoft.com/office/drawing/2014/main" id="{21DFDEB8-5365-4986-8FBF-E83BFA7B78DC}"/>
                </a:ext>
              </a:extLst>
            </p:cNvPr>
            <p:cNvGraphicFramePr/>
            <p:nvPr/>
          </p:nvGraphicFramePr>
          <p:xfrm>
            <a:off x="7021500" y="1138366"/>
            <a:ext cx="3371332" cy="270933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sp>
        <p:nvSpPr>
          <p:cNvPr id="11" name="Rectangle 10">
            <a:extLst>
              <a:ext uri="{FF2B5EF4-FFF2-40B4-BE49-F238E27FC236}">
                <a16:creationId xmlns:a16="http://schemas.microsoft.com/office/drawing/2014/main" id="{67C42237-82BA-4950-990B-4872C71E8478}"/>
              </a:ext>
            </a:extLst>
          </p:cNvPr>
          <p:cNvSpPr/>
          <p:nvPr/>
        </p:nvSpPr>
        <p:spPr>
          <a:xfrm>
            <a:off x="666573" y="3572229"/>
            <a:ext cx="1326734" cy="236491"/>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The Questions</a:t>
            </a:r>
          </a:p>
        </p:txBody>
      </p:sp>
      <p:sp>
        <p:nvSpPr>
          <p:cNvPr id="126" name="Rectangle 125">
            <a:extLst>
              <a:ext uri="{FF2B5EF4-FFF2-40B4-BE49-F238E27FC236}">
                <a16:creationId xmlns:a16="http://schemas.microsoft.com/office/drawing/2014/main" id="{35836FB7-078A-4477-ADA7-9C633F3C5C1B}"/>
              </a:ext>
            </a:extLst>
          </p:cNvPr>
          <p:cNvSpPr/>
          <p:nvPr/>
        </p:nvSpPr>
        <p:spPr>
          <a:xfrm>
            <a:off x="614363" y="5214446"/>
            <a:ext cx="1321260" cy="311253"/>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e Questions/Needs</a:t>
            </a:r>
          </a:p>
        </p:txBody>
      </p:sp>
      <p:sp>
        <p:nvSpPr>
          <p:cNvPr id="3" name="Rectangle 2">
            <a:extLst>
              <a:ext uri="{FF2B5EF4-FFF2-40B4-BE49-F238E27FC236}">
                <a16:creationId xmlns:a16="http://schemas.microsoft.com/office/drawing/2014/main" id="{379E4CA3-D163-4680-A0FD-BCB1ADDB3D0E}"/>
              </a:ext>
            </a:extLst>
          </p:cNvPr>
          <p:cNvSpPr/>
          <p:nvPr/>
        </p:nvSpPr>
        <p:spPr>
          <a:xfrm>
            <a:off x="2820972" y="4537963"/>
            <a:ext cx="6110462" cy="912974"/>
          </a:xfrm>
          <a:prstGeom prst="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The Data Management Role:  (Underdeveloped and mis aligned to BPI)</a:t>
            </a:r>
          </a:p>
          <a:p>
            <a:pPr algn="ctr"/>
            <a:r>
              <a:rPr lang="en-US" sz="1200" dirty="0"/>
              <a:t>Data Sources, MMS, SQL tables, Query tools, and what’s called Feature Extraction in the form of Reports/Tables/some charts</a:t>
            </a:r>
            <a:endParaRPr lang="en-US" sz="1350" dirty="0"/>
          </a:p>
        </p:txBody>
      </p:sp>
      <p:sp>
        <p:nvSpPr>
          <p:cNvPr id="4" name="Rectangle 3">
            <a:extLst>
              <a:ext uri="{FF2B5EF4-FFF2-40B4-BE49-F238E27FC236}">
                <a16:creationId xmlns:a16="http://schemas.microsoft.com/office/drawing/2014/main" id="{B307EFBE-E10F-456E-91B0-83CCE4F54843}"/>
              </a:ext>
            </a:extLst>
          </p:cNvPr>
          <p:cNvSpPr/>
          <p:nvPr/>
        </p:nvSpPr>
        <p:spPr>
          <a:xfrm>
            <a:off x="2959950" y="4273431"/>
            <a:ext cx="5832505" cy="264533"/>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accent3">
                    <a:lumMod val="50000"/>
                  </a:schemeClr>
                </a:solidFill>
              </a:rPr>
              <a:t>User Interface to Power BI output:  (Underdeveloped in most org’s)</a:t>
            </a:r>
          </a:p>
        </p:txBody>
      </p:sp>
      <p:sp>
        <p:nvSpPr>
          <p:cNvPr id="5" name="Rectangle 4">
            <a:extLst>
              <a:ext uri="{FF2B5EF4-FFF2-40B4-BE49-F238E27FC236}">
                <a16:creationId xmlns:a16="http://schemas.microsoft.com/office/drawing/2014/main" id="{27A2F590-2696-48F7-9ADB-5EF7EC7FAA3E}"/>
              </a:ext>
            </a:extLst>
          </p:cNvPr>
          <p:cNvSpPr/>
          <p:nvPr/>
        </p:nvSpPr>
        <p:spPr>
          <a:xfrm>
            <a:off x="5020554" y="3760684"/>
            <a:ext cx="1536208" cy="512747"/>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The Analyst Role: doesn’t exist yet</a:t>
            </a:r>
          </a:p>
        </p:txBody>
      </p:sp>
      <p:sp>
        <p:nvSpPr>
          <p:cNvPr id="15" name="Rectangle 14">
            <a:extLst>
              <a:ext uri="{FF2B5EF4-FFF2-40B4-BE49-F238E27FC236}">
                <a16:creationId xmlns:a16="http://schemas.microsoft.com/office/drawing/2014/main" id="{E589AA15-F89E-4E75-BC45-2C728A960B81}"/>
              </a:ext>
            </a:extLst>
          </p:cNvPr>
          <p:cNvSpPr/>
          <p:nvPr/>
        </p:nvSpPr>
        <p:spPr>
          <a:xfrm>
            <a:off x="5256681" y="2504452"/>
            <a:ext cx="1063952" cy="1244066"/>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The Implementation Science and Benefits Realization Role doesn’t exist yet (PMO)</a:t>
            </a:r>
          </a:p>
        </p:txBody>
      </p:sp>
      <p:sp>
        <p:nvSpPr>
          <p:cNvPr id="6" name="Arrow: Right 5">
            <a:extLst>
              <a:ext uri="{FF2B5EF4-FFF2-40B4-BE49-F238E27FC236}">
                <a16:creationId xmlns:a16="http://schemas.microsoft.com/office/drawing/2014/main" id="{126535E6-EB33-4A38-B5FB-FD0610286174}"/>
              </a:ext>
            </a:extLst>
          </p:cNvPr>
          <p:cNvSpPr/>
          <p:nvPr/>
        </p:nvSpPr>
        <p:spPr>
          <a:xfrm>
            <a:off x="6573899" y="3808720"/>
            <a:ext cx="1337547" cy="3634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Arrow: Right 16">
            <a:extLst>
              <a:ext uri="{FF2B5EF4-FFF2-40B4-BE49-F238E27FC236}">
                <a16:creationId xmlns:a16="http://schemas.microsoft.com/office/drawing/2014/main" id="{9CBACA22-DB04-4B76-9BF2-665F9E46EE1E}"/>
              </a:ext>
            </a:extLst>
          </p:cNvPr>
          <p:cNvSpPr/>
          <p:nvPr/>
        </p:nvSpPr>
        <p:spPr>
          <a:xfrm rot="10800000">
            <a:off x="3945118" y="3835321"/>
            <a:ext cx="1075436" cy="3634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Arrow: Right 7">
            <a:extLst>
              <a:ext uri="{FF2B5EF4-FFF2-40B4-BE49-F238E27FC236}">
                <a16:creationId xmlns:a16="http://schemas.microsoft.com/office/drawing/2014/main" id="{119302E3-8F16-4C0A-A906-7958390D54CE}"/>
              </a:ext>
            </a:extLst>
          </p:cNvPr>
          <p:cNvSpPr/>
          <p:nvPr/>
        </p:nvSpPr>
        <p:spPr>
          <a:xfrm rot="16200000">
            <a:off x="5421754" y="1969988"/>
            <a:ext cx="733806" cy="3634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 name="Rectangle 9">
            <a:extLst>
              <a:ext uri="{FF2B5EF4-FFF2-40B4-BE49-F238E27FC236}">
                <a16:creationId xmlns:a16="http://schemas.microsoft.com/office/drawing/2014/main" id="{42F3CD57-01B5-4B77-B718-E01A2D045963}"/>
              </a:ext>
            </a:extLst>
          </p:cNvPr>
          <p:cNvSpPr/>
          <p:nvPr/>
        </p:nvSpPr>
        <p:spPr>
          <a:xfrm>
            <a:off x="2619842" y="1808825"/>
            <a:ext cx="2102987" cy="1811109"/>
          </a:xfrm>
          <a:prstGeom prst="rect">
            <a:avLst/>
          </a:prstGeom>
          <a:solidFill>
            <a:schemeClr val="accent2">
              <a:lumMod val="75000"/>
            </a:schemeClr>
          </a:solid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The Development Team:</a:t>
            </a:r>
          </a:p>
          <a:p>
            <a:pPr algn="ctr"/>
            <a:endParaRPr lang="en-US" sz="1350" dirty="0"/>
          </a:p>
        </p:txBody>
      </p:sp>
      <p:sp>
        <p:nvSpPr>
          <p:cNvPr id="12" name="Rectangle 11">
            <a:extLst>
              <a:ext uri="{FF2B5EF4-FFF2-40B4-BE49-F238E27FC236}">
                <a16:creationId xmlns:a16="http://schemas.microsoft.com/office/drawing/2014/main" id="{E657B75E-D9FC-4E58-A8F6-875F9AF65FF7}"/>
              </a:ext>
            </a:extLst>
          </p:cNvPr>
          <p:cNvSpPr/>
          <p:nvPr/>
        </p:nvSpPr>
        <p:spPr>
          <a:xfrm>
            <a:off x="3550778" y="5576681"/>
            <a:ext cx="5313348" cy="3695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We need to get this going from top to bottom instead </a:t>
            </a:r>
            <a:r>
              <a:rPr lang="en-US" sz="1350"/>
              <a:t>of bottom to top!!</a:t>
            </a:r>
          </a:p>
        </p:txBody>
      </p:sp>
      <p:sp>
        <p:nvSpPr>
          <p:cNvPr id="7" name="Oval 6">
            <a:extLst>
              <a:ext uri="{FF2B5EF4-FFF2-40B4-BE49-F238E27FC236}">
                <a16:creationId xmlns:a16="http://schemas.microsoft.com/office/drawing/2014/main" id="{5BC1AF90-B6AD-4AFA-A215-6C2868920253}"/>
              </a:ext>
            </a:extLst>
          </p:cNvPr>
          <p:cNvSpPr/>
          <p:nvPr/>
        </p:nvSpPr>
        <p:spPr>
          <a:xfrm>
            <a:off x="212567" y="2002607"/>
            <a:ext cx="2179057" cy="2169584"/>
          </a:xfrm>
          <a:prstGeom prst="ellipse">
            <a:avLst/>
          </a:prstGeom>
          <a:solidFill>
            <a:srgbClr val="990033">
              <a:alpha val="4000"/>
            </a:srgb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0" name="Rectangle 19">
            <a:extLst>
              <a:ext uri="{FF2B5EF4-FFF2-40B4-BE49-F238E27FC236}">
                <a16:creationId xmlns:a16="http://schemas.microsoft.com/office/drawing/2014/main" id="{923F242E-918C-446D-A1EA-D3ABE7821FC2}"/>
              </a:ext>
            </a:extLst>
          </p:cNvPr>
          <p:cNvSpPr/>
          <p:nvPr/>
        </p:nvSpPr>
        <p:spPr>
          <a:xfrm>
            <a:off x="6783433" y="1495489"/>
            <a:ext cx="2102987" cy="2275913"/>
          </a:xfrm>
          <a:prstGeom prst="rect">
            <a:avLst/>
          </a:prstGeom>
          <a:solidFill>
            <a:schemeClr val="accent2">
              <a:lumMod val="75000"/>
            </a:schemeClr>
          </a:solidFill>
          <a:ln>
            <a:solidFill>
              <a:srgbClr val="9900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The Development Support Team:</a:t>
            </a:r>
          </a:p>
          <a:p>
            <a:pPr algn="ctr"/>
            <a:endParaRPr lang="en-US" sz="1350" dirty="0"/>
          </a:p>
        </p:txBody>
      </p:sp>
    </p:spTree>
    <p:extLst>
      <p:ext uri="{BB962C8B-B14F-4D97-AF65-F5344CB8AC3E}">
        <p14:creationId xmlns:p14="http://schemas.microsoft.com/office/powerpoint/2010/main" val="27673446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srcRect/>
          <a:stretch>
            <a:fillRect/>
          </a:stretch>
        </p:blipFill>
        <p:spPr bwMode="auto">
          <a:xfrm>
            <a:off x="0" y="974345"/>
            <a:ext cx="3886200" cy="3134965"/>
          </a:xfrm>
          <a:prstGeom prst="rect">
            <a:avLst/>
          </a:prstGeom>
          <a:noFill/>
          <a:ln w="9525">
            <a:noFill/>
            <a:miter lim="800000"/>
            <a:headEnd/>
            <a:tailEnd/>
          </a:ln>
        </p:spPr>
      </p:pic>
      <p:sp>
        <p:nvSpPr>
          <p:cNvPr id="2050" name="AutoShape 2"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sp>
        <p:nvSpPr>
          <p:cNvPr id="2052" name="AutoShape 4" descr="data:image/jpeg;base64,/9j/4AAQSkZJRgABAQAAAQABAAD/2wCEAAkGBwgHBgkIBwgKCgkLDRYPDQwMDRsUFRAWIB0iIiAdHx8kKDQsJCYxJx8fLT0tMTU3Ojo6Iys/RD84QzQ5OjcBCgoKDQwNGg8PGjclHyU3Nzc3Nzc3Nzc3Nzc3Nzc3Nzc3Nzc3Nzc3Nzc3Nzc3Nzc3Nzc3Nzc3Nzc3Nzc3Nzc3N//AABEIAFoAWgMBIgACEQEDEQH/xAAbAAADAQEBAQEAAAAAAAAAAAADBAYCAAEFB//EAD0QAAICAQMDAgMGAwMNAQAAAAECAwQRAAUSEyExFEEiUWEjMkKBkaEVcbEkUmIzQ1RydIKSlaSytNLxFv/EABQBAQAAAAAAAAAAAAAAAAAAAAD/xAAUEQEAAAAAAAAAAAAAAAAAAAAA/9oADAMBAAIRAxEAPwD9Qu27SXZlSe83K2K8MNZYO32IkJJkH+t7/LQZLl9GiB/jR6snTXi1I98E/wBAdEsHG7ZGDjcmP/RaRjTEqWIS0LM0DrDVgT45DE2T3wMYJ/TQfQilvPKqPNusSk4Lu9LC/U4yf20CG3dIRBa3OxIeoxMIqqqqshUfeA+Xtro4FjniNui6xvIqEvShwSxwMkMT5Oh1zHCjgoOHRkRUWMN5sEABT2+WgY9Rf/vbv/x0dZN2yjEWLG7QgRPIGb0jZ4jJHwgnOkrEBgrtasbfVjtw0LzoJK6fhdOmSASPGD59/bTFqNay20hMLDozxScayxkERhuxH8xoDQWNxW3K0VmzdSG0EauegrGMwK2fC9w7D38a8M915EiNzcq8nWjVlmWs2VfPcFVI/CdZTr9ZjEJp5oAqPNHUiypKA4yWB+6w/XStSErHUjrW2dCtLoSvGAQmHxkeM4/roGvUbjaomelbvqweMosxqfax8xz44HY8c45Y741u1PZSDC7lfScxdTg6124gMqkHihGfi9tB6VeW40leh12mpwsJUrREg8n7kMR51r0s/BkWnaRHxz6VWBCwBzjIbQbt2biVtwkiu7igrRylJpRW4O6DwAF5efoPGqbUfucEkm23ktZhaWO3Yigmro5VQe5zk4J5A/8AzVhoJbdy81ueOX+H9EWhHHHLtj2XeTohi3wuO/EkePAxnWqaTm5W6nOVzZViY9vkrxxosTKPvE/P5/LtrV4mO9LMssaPHuWVV0ZupmqBgBe/gk/loFYP6+g8Unwra4SKJZwe8bkAq57jxoFqsE8UFO3M0E9yeGpFVd6DtHXHM9y3Pu3x+cr4HbRisjQydBy7RhUNhqzpGZTZycKT3AOewbx7++vIo5a89hlV2pcaMkIgEskeOtJyKg578QuceBjWkkV0UBo5o45neM9GwB/lCwyAMEg/uNAOaKSxBbf08DXpaO4wu1WHh1mWRVHbJOTj5nudHsHqpuL9C6HZpjEvo5Pj5RKo9u3cHWBjpqrBS0YtWZrLpPCkStIG4g9s9j8/weNcVdGlWYRoUmMShbFly5Chs4B+ugYj5xWZZOlMyxbipkEaFiB6NR4HfyRpfbYLteLZoNysQIVSDKx7bIrEqpwhk5lQQc+R/XWIxFzl6YXly+14+rzy4j73148fPtjRJFSvYhewjBop4HVo5JnyH5D7jEnPb5aAHKZIqhUVZK716MU8M8JfmrzlOx5AAjlnuD7a70cK8Ehh2uFM2XkksUTMfhn4qBh1wMH6+2tyLK1OGujxAxPARKac/JlikDgHt74P66LdcyxuYI+LLVk5HoyJHzaVG/EB5OT+ugUeuFiut6OBJYKN6GaetUMMbd044yT7KfxHwdW+pHc3sj1KM0AhO33iywFsGQGPJIPv3P6nVdoJTdfTev5XLBrwruvxSeoMOP7H2+IEY741iSZJ0mszT7Ua/UjAlj3h04OFIA5hPJB+emLPVj3K30Z7Yee6IlSGRFUYrqxJ5A+ynQXsvuFrn6idjHPHHAlexGVDmNiWLYPfGe2gxUWvwjWtIktdJI4W9Jv08hjDEKO2B/UeNewqqLFHJJbMUYcBY7UiElrBXJIOWPf30R3lewIZbFzlDLUlw8sbo6vKQO6qP7h/bQkaORWYMJYw7Qy9GZRJCxsnicfz/poM2CDRlS09mxXgh3FzEbTr1RHKAqswOSOOR3z51qxd9PPdimt7JBdeRynLdCrQlo1HccPOAD+Y0GZDHtl1C7OVqbsOb4yfth5xp2zK8M96WJuLpLYZT8iIVxoAV7EVqxHXbcqrS3L3NkoXyW4LWx3ZeJ+8gP6azDfq4gsPudWxHF6NZraTq0ZYB8nlnHfP7jR5dxaS1DJ6qlPFHYEyE20UhDAUK4+fNifz/LXqS0608SxSVXgihgEY9agKmPkMH59iP56BY2oJJbLpZgMEQVnsf/oJhGC7EKMgYByB2+o1iafb5YXjbcoDMeJiji3yScueQ7cDjI/XTFVzdr0pLtqxJGY69yZnnjWJTz5L7dwGT5647sjOlr1kMo/tEBMVhBIuZwFKg+ew0Ab08LS3q6zRmdKe4s8YYclBZMEjyNWeo7c5ni2y61smV447deGeawillJ7jGBkjio/LVjoJ6WF5dxndMcYb5dyWAwDUC/1YaTpdZpqfCG5JBUihkWKt0FjZjGR8XMhs9/Y/L661uFOKfc5wtSjJNPf6RksVRKeIqhgB3Huo/fXTh2eVbUcGJBApqtT632nAnsOQAxg/poPIdteFHCw7yWZIERy9PMawszKB3x5Y5yDo4jvAkg70Ce57UO/7a+ctSjYl6bUNtkhK0Z4nSisbYklYEEd/ZB+p1qOtt9WBgu0bfIFLNj0iljmwVwPyPbQMLVuxTV+jFuyoi2DJLypl3aWRXwQTxx2PgD217Ogiq2VsRbj1pIrEolsGAhiY8EHpn5AY7aWO3UaMc8p2yJKyvJMxl2lWKKSWPfl4GT7eBos8ENaO9DXiSKJXtcUjUKo+xXwBoHYi8u4oldJjXhIjsh0hES/Y8hj8ecsn07nXz6RYUKKrLZRVpVFSKrFASzOp7kyL/hHuNN+lkNzhcgry0rdxfs54A+cVR8YJOB3THj56FSSwdt26asJJ6sDQYHpOEkkYX4Tnl3858fPQEFa4Jnl5b2S0axkH0GOKkkdsfU68mSWCxH1dwuxoYGlZTFVLqQyqB2Qj8WlF26OOMpX2yrYkgeFpI7G2KJHiaTDNy5d2Chz/ADHjTIoReoDQbXBF8eUJ2hcp37d+Xt89AKxwiq7rVaa/ODWturWUg6ZZcciOChgct79vP01YakbMFj0VyWTEgjrbiryKvEZLLjtk+wP6artBMbjIsNyWYzGN03L4FFWSfqE1QMcU7+CTn6aW21643GCGtHN1GtrI6ptk8CRgROMsXGBn6n5acskjdcjsRuTf+FpOK8jQRv6mB1sxQnMk8sTlwnzVe/z86DVFJJKNNPV0YphDTZj6Ry/HmekCeXf4g4+mT4zrbyGQqzJGjYUMI1wpItAEgfUjP56DDLXW3xE1ZXPoYI60LOxVElcgksAe/Ij/AHT317FKkpk6ZJ6b8WPE4B9X4zoBWkVau5ygfHLV3Tm3u3GUBc/yHYaelSSTcJljMXe1NyEkRkBXopkcQQTpe16YtYpC2hMkF+NpAjFY3klUhTj3Hf8AQ6J6tDanmhkjyLTkLLzTkrRqMghSfI0Hm2mH+I1VgoJ95gX/AIRPX6Q4N3Dv2HsuP8Wlduhrtt23RV6daOVUggnjuUJEdXK9z8XHI7HwPY99N0YoZGPOeSYz3DEFivzkQAQc8dyCT8OfH49CrA24aHqHkZpIqJdxIQxOHOeQOc6DNpKNRIrEsVErOFCSRbPPIDlsKCVJxknsD89arpDLYOadVKyJyllm2meHHxABRzIyTk+M4xrILDbY1Wr0YWn2+SLFmSUYNlRj4uwIwPHz1udUkglEhsPIzzyczakwOFjiBxzjGD+2gDuFWD01iDop0Y6+4ukePhDB0wcfPuf11a6kNw+7b/2Xcv8AuTVfoJi3PVTc7HWu1YGgumVklmCsVNUIMD+bfsdArbmgjqMLW1zRRxRPGJdxEbRuE4nsFPzPvqu12gjorgkMDWrWzic+nWxYXdORYROW7LwA8s3y8/TXptUjKtd9zqSLGrTJGt4Rxs/WLLyI/L2OrDXaCJq7gJK8bLfoJixbMsI3Ppd2mypDBckY5ew+9o/rl/0yj/z9/wD01X67QSBuwes9Xz2nq8+pj+Ntx58Onnjwxnj21ja5IY4aq29y2lHgWsn2d0OGEYYE9wPOfGrLXaCJrz0m2+iFuVJgojlZJ93aIK6sGUcQD2BAP7a6O0eoOtNsjx8ZgVG7YzzlDj/N+2NW2u0EXbsVzRszTbhtolNW6DFDbDkmQqVA7DPZfl5+erTXa7Qf/9k="/>
          <p:cNvSpPr>
            <a:spLocks noChangeAspect="1" noChangeArrowheads="1"/>
          </p:cNvSpPr>
          <p:nvPr/>
        </p:nvSpPr>
        <p:spPr bwMode="auto">
          <a:xfrm>
            <a:off x="63501" y="-411163"/>
            <a:ext cx="857250" cy="857251"/>
          </a:xfrm>
          <a:prstGeom prst="rect">
            <a:avLst/>
          </a:prstGeom>
          <a:noFill/>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pPr>
            <a:endParaRPr lang="en-US" sz="1800">
              <a:solidFill>
                <a:prstClr val="black"/>
              </a:solidFill>
              <a:latin typeface="Calibri"/>
            </a:endParaRPr>
          </a:p>
        </p:txBody>
      </p:sp>
      <p:cxnSp>
        <p:nvCxnSpPr>
          <p:cNvPr id="9" name="Straight Connector 8"/>
          <p:cNvCxnSpPr/>
          <p:nvPr/>
        </p:nvCxnSpPr>
        <p:spPr>
          <a:xfrm>
            <a:off x="571939" y="2726308"/>
            <a:ext cx="28956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3587000" y="2459608"/>
            <a:ext cx="0" cy="533400"/>
          </a:xfrm>
          <a:prstGeom prst="straightConnector1">
            <a:avLst/>
          </a:prstGeom>
          <a:ln w="28575">
            <a:headEnd type="arrow"/>
            <a:tailEnd type="arrow"/>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77801" y="0"/>
            <a:ext cx="8824390" cy="685800"/>
          </a:xfrm>
        </p:spPr>
        <p:txBody>
          <a:bodyPr>
            <a:noAutofit/>
          </a:bodyPr>
          <a:lstStyle/>
          <a:p>
            <a:r>
              <a:rPr lang="en-US" sz="2400" dirty="0"/>
              <a:t>How to Build Better ‘Dials’ on your ‘Dashboards’ and ‘Scorecards </a:t>
            </a:r>
          </a:p>
        </p:txBody>
      </p:sp>
      <p:grpSp>
        <p:nvGrpSpPr>
          <p:cNvPr id="17" name="Group 16">
            <a:extLst>
              <a:ext uri="{FF2B5EF4-FFF2-40B4-BE49-F238E27FC236}">
                <a16:creationId xmlns:a16="http://schemas.microsoft.com/office/drawing/2014/main" id="{F135599B-8CA4-05B6-DCC9-75B2E678ED12}"/>
              </a:ext>
            </a:extLst>
          </p:cNvPr>
          <p:cNvGrpSpPr/>
          <p:nvPr/>
        </p:nvGrpSpPr>
        <p:grpSpPr>
          <a:xfrm>
            <a:off x="1219200" y="4521807"/>
            <a:ext cx="3581400" cy="2145531"/>
            <a:chOff x="67567" y="1296017"/>
            <a:chExt cx="4815466" cy="2830714"/>
          </a:xfrm>
        </p:grpSpPr>
        <p:pic>
          <p:nvPicPr>
            <p:cNvPr id="18" name="Picture 2" descr="http://community.qlikview.com/servlet/JiveServlet/showImage/38-2354-7987/Analysis%2BLatency.PNG">
              <a:extLst>
                <a:ext uri="{FF2B5EF4-FFF2-40B4-BE49-F238E27FC236}">
                  <a16:creationId xmlns:a16="http://schemas.microsoft.com/office/drawing/2014/main" id="{789ABE91-0EC2-E03A-2651-BBA1CA1187BE}"/>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7567" y="1296017"/>
              <a:ext cx="4815466" cy="2830714"/>
            </a:xfrm>
            <a:prstGeom prst="rect">
              <a:avLst/>
            </a:prstGeom>
            <a:noFill/>
          </p:spPr>
        </p:pic>
        <p:grpSp>
          <p:nvGrpSpPr>
            <p:cNvPr id="19" name="Group 18">
              <a:extLst>
                <a:ext uri="{FF2B5EF4-FFF2-40B4-BE49-F238E27FC236}">
                  <a16:creationId xmlns:a16="http://schemas.microsoft.com/office/drawing/2014/main" id="{DD21097F-1E69-CA9B-5EE0-D5F429D3AF71}"/>
                </a:ext>
              </a:extLst>
            </p:cNvPr>
            <p:cNvGrpSpPr/>
            <p:nvPr/>
          </p:nvGrpSpPr>
          <p:grpSpPr>
            <a:xfrm>
              <a:off x="2688749" y="3910035"/>
              <a:ext cx="660433" cy="95338"/>
              <a:chOff x="4822825" y="4360865"/>
              <a:chExt cx="745331" cy="100162"/>
            </a:xfrm>
          </p:grpSpPr>
          <p:cxnSp>
            <p:nvCxnSpPr>
              <p:cNvPr id="30" name="Straight Arrow Connector 29">
                <a:extLst>
                  <a:ext uri="{FF2B5EF4-FFF2-40B4-BE49-F238E27FC236}">
                    <a16:creationId xmlns:a16="http://schemas.microsoft.com/office/drawing/2014/main" id="{B13CBF9A-BA07-6A2A-008E-BBBC18067EDF}"/>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297E3C56-60D8-4A4B-82FC-AE002D790D41}"/>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C27C6C9-C29C-3554-E583-3F9A77E891B9}"/>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CE38885-CC38-C315-77DA-C7C4C311F050}"/>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C03F83CB-7CB8-FE40-CA89-B1FC9F01044D}"/>
                </a:ext>
              </a:extLst>
            </p:cNvPr>
            <p:cNvGrpSpPr/>
            <p:nvPr/>
          </p:nvGrpSpPr>
          <p:grpSpPr>
            <a:xfrm>
              <a:off x="1676400" y="2785436"/>
              <a:ext cx="660433" cy="95338"/>
              <a:chOff x="4822825" y="4360865"/>
              <a:chExt cx="745331" cy="100162"/>
            </a:xfrm>
          </p:grpSpPr>
          <p:cxnSp>
            <p:nvCxnSpPr>
              <p:cNvPr id="26" name="Straight Arrow Connector 25">
                <a:extLst>
                  <a:ext uri="{FF2B5EF4-FFF2-40B4-BE49-F238E27FC236}">
                    <a16:creationId xmlns:a16="http://schemas.microsoft.com/office/drawing/2014/main" id="{DC2CD05C-6ABA-DC6D-AC36-4A60C2A4B2F7}"/>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4873166A-1185-C41F-A125-8A90F37C4C4D}"/>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1FE2E82-2D60-5119-4970-39CE1CDB514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0DE354C-2CBB-2257-29F2-8EEE25C5EE5F}"/>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62DDCD3C-5CFA-B01F-220B-0BAC7FC33504}"/>
                </a:ext>
              </a:extLst>
            </p:cNvPr>
            <p:cNvGrpSpPr/>
            <p:nvPr/>
          </p:nvGrpSpPr>
          <p:grpSpPr>
            <a:xfrm>
              <a:off x="742812" y="3344985"/>
              <a:ext cx="660433" cy="95338"/>
              <a:chOff x="4822825" y="4360865"/>
              <a:chExt cx="745331" cy="100162"/>
            </a:xfrm>
          </p:grpSpPr>
          <p:cxnSp>
            <p:nvCxnSpPr>
              <p:cNvPr id="22" name="Straight Arrow Connector 21">
                <a:extLst>
                  <a:ext uri="{FF2B5EF4-FFF2-40B4-BE49-F238E27FC236}">
                    <a16:creationId xmlns:a16="http://schemas.microsoft.com/office/drawing/2014/main" id="{EDCB4537-D4B4-BEC5-BC69-6C4FD34E7A97}"/>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BEFAEBCA-9388-E141-A653-974D3BB68576}"/>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187AA1-9FF1-9635-58B3-B59D81EB0A0F}"/>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527606-D920-CFAC-DE36-377348355CEF}"/>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sp>
        <p:nvSpPr>
          <p:cNvPr id="12" name="Content Placeholder 11"/>
          <p:cNvSpPr>
            <a:spLocks noGrp="1"/>
          </p:cNvSpPr>
          <p:nvPr>
            <p:ph sz="half" idx="2"/>
          </p:nvPr>
        </p:nvSpPr>
        <p:spPr>
          <a:xfrm>
            <a:off x="3962402" y="724537"/>
            <a:ext cx="5039789" cy="4457063"/>
          </a:xfrm>
          <a:ln>
            <a:solidFill>
              <a:schemeClr val="bg1">
                <a:lumMod val="50000"/>
              </a:schemeClr>
            </a:solidFill>
          </a:ln>
        </p:spPr>
        <p:txBody>
          <a:bodyPr>
            <a:normAutofit/>
          </a:bodyPr>
          <a:lstStyle/>
          <a:p>
            <a:pPr marL="457200" lvl="1" indent="0">
              <a:spcBef>
                <a:spcPts val="600"/>
              </a:spcBef>
              <a:buNone/>
            </a:pPr>
            <a:r>
              <a:rPr lang="en-US" sz="1800" dirty="0"/>
              <a:t>Key Points to Consider:</a:t>
            </a:r>
          </a:p>
          <a:p>
            <a:pPr marL="457200" lvl="1" indent="0">
              <a:spcBef>
                <a:spcPts val="600"/>
              </a:spcBef>
              <a:buNone/>
            </a:pPr>
            <a:r>
              <a:rPr lang="en-US" sz="1400" dirty="0"/>
              <a:t>Good analytics come from good context understanding, use case clarity, </a:t>
            </a:r>
            <a:r>
              <a:rPr lang="en-US" sz="1400" i="1" u="sng" dirty="0"/>
              <a:t>good problem/opportunity statements</a:t>
            </a:r>
            <a:r>
              <a:rPr lang="en-US" sz="1400" dirty="0"/>
              <a:t>, clear understanding of DONE, they specify ‘the questions’</a:t>
            </a:r>
          </a:p>
          <a:p>
            <a:pPr marL="457200" lvl="1" indent="0">
              <a:spcBef>
                <a:spcPts val="600"/>
              </a:spcBef>
              <a:buNone/>
            </a:pPr>
            <a:r>
              <a:rPr lang="en-US" sz="1400" dirty="0"/>
              <a:t>Investment in the data foundation has a positive ROI, as analysts and users move faster when they trust the data – results in faster results</a:t>
            </a:r>
          </a:p>
          <a:p>
            <a:pPr marL="457200" lvl="1" indent="0">
              <a:spcBef>
                <a:spcPts val="600"/>
              </a:spcBef>
              <a:buNone/>
            </a:pPr>
            <a:r>
              <a:rPr lang="en-US" sz="1400" dirty="0"/>
              <a:t>Good data visualizations can tell the right story quickly, because people are predisposed to believe what they see in a chart …</a:t>
            </a:r>
          </a:p>
          <a:p>
            <a:pPr marL="457200" lvl="1" indent="0">
              <a:spcBef>
                <a:spcPts val="600"/>
              </a:spcBef>
              <a:buNone/>
            </a:pPr>
            <a:r>
              <a:rPr lang="en-US" sz="1400" dirty="0"/>
              <a:t>Good Operational Analytics </a:t>
            </a:r>
            <a:r>
              <a:rPr lang="en-US" sz="1400" i="1" u="sng" dirty="0"/>
              <a:t>provokes more timely decisions and actions</a:t>
            </a:r>
            <a:r>
              <a:rPr lang="en-US" sz="1400" dirty="0"/>
              <a:t> – indeed, in most organizational systems, simple and persuasive/influential beats complex/ambiguous every time </a:t>
            </a:r>
          </a:p>
          <a:p>
            <a:pPr marL="457200" lvl="1" indent="0">
              <a:spcBef>
                <a:spcPts val="600"/>
              </a:spcBef>
              <a:buNone/>
            </a:pPr>
            <a:r>
              <a:rPr lang="en-US" sz="1400" dirty="0"/>
              <a:t>Good Operational Analytics </a:t>
            </a:r>
            <a:r>
              <a:rPr lang="en-US" sz="1400" i="1" u="sng" dirty="0"/>
              <a:t>provokes more timely decisions and actions</a:t>
            </a:r>
            <a:r>
              <a:rPr lang="en-US" sz="1400" dirty="0"/>
              <a:t> – indeed, in most organizational systems, simple and persuasive/influential beats complex/ambiguous every time </a:t>
            </a:r>
          </a:p>
          <a:p>
            <a:pPr marL="457200" lvl="1" indent="0">
              <a:spcBef>
                <a:spcPts val="600"/>
              </a:spcBef>
              <a:buNone/>
            </a:pPr>
            <a:endParaRPr lang="en-US" sz="1400" dirty="0"/>
          </a:p>
        </p:txBody>
      </p:sp>
      <p:sp>
        <p:nvSpPr>
          <p:cNvPr id="34" name="Rectangle 33">
            <a:extLst>
              <a:ext uri="{FF2B5EF4-FFF2-40B4-BE49-F238E27FC236}">
                <a16:creationId xmlns:a16="http://schemas.microsoft.com/office/drawing/2014/main" id="{0D41584B-0448-D4DF-29ED-C1225E1C0862}"/>
              </a:ext>
            </a:extLst>
          </p:cNvPr>
          <p:cNvSpPr/>
          <p:nvPr/>
        </p:nvSpPr>
        <p:spPr>
          <a:xfrm>
            <a:off x="4495800" y="5334000"/>
            <a:ext cx="4114799" cy="124124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t>TPG can help your organization speed things up and achieve Better Benefits Faster.  Contact us.</a:t>
            </a:r>
          </a:p>
        </p:txBody>
      </p:sp>
    </p:spTree>
    <p:extLst>
      <p:ext uri="{BB962C8B-B14F-4D97-AF65-F5344CB8AC3E}">
        <p14:creationId xmlns:p14="http://schemas.microsoft.com/office/powerpoint/2010/main" val="2221338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AE0BA-958E-45A5-EF66-F9DAA8E36FD9}"/>
              </a:ext>
            </a:extLst>
          </p:cNvPr>
          <p:cNvSpPr>
            <a:spLocks noGrp="1"/>
          </p:cNvSpPr>
          <p:nvPr>
            <p:ph type="title"/>
          </p:nvPr>
        </p:nvSpPr>
        <p:spPr>
          <a:xfrm>
            <a:off x="344121" y="863480"/>
            <a:ext cx="3200400" cy="1231106"/>
          </a:xfrm>
        </p:spPr>
        <p:txBody>
          <a:bodyPr/>
          <a:lstStyle/>
          <a:p>
            <a:br>
              <a:rPr lang="en-US" sz="2000" dirty="0">
                <a:solidFill>
                  <a:schemeClr val="tx1"/>
                </a:solidFill>
              </a:rPr>
            </a:br>
            <a:br>
              <a:rPr lang="en-US" sz="2000" dirty="0">
                <a:solidFill>
                  <a:schemeClr val="tx1"/>
                </a:solidFill>
              </a:rPr>
            </a:br>
            <a:br>
              <a:rPr lang="en-US" sz="2000" dirty="0">
                <a:solidFill>
                  <a:schemeClr val="tx1"/>
                </a:solidFill>
              </a:rPr>
            </a:br>
            <a:endParaRPr lang="en-US" sz="2000" dirty="0">
              <a:solidFill>
                <a:schemeClr val="tx1"/>
              </a:solidFill>
            </a:endParaRPr>
          </a:p>
        </p:txBody>
      </p:sp>
      <p:sp>
        <p:nvSpPr>
          <p:cNvPr id="3" name="Text Placeholder 2">
            <a:extLst>
              <a:ext uri="{FF2B5EF4-FFF2-40B4-BE49-F238E27FC236}">
                <a16:creationId xmlns:a16="http://schemas.microsoft.com/office/drawing/2014/main" id="{9E946C61-56E2-8D14-E3A1-A4E9B760F229}"/>
              </a:ext>
            </a:extLst>
          </p:cNvPr>
          <p:cNvSpPr>
            <a:spLocks noGrp="1"/>
          </p:cNvSpPr>
          <p:nvPr>
            <p:ph type="body" idx="1"/>
          </p:nvPr>
        </p:nvSpPr>
        <p:spPr>
          <a:xfrm>
            <a:off x="4419600" y="341431"/>
            <a:ext cx="3952240" cy="830997"/>
          </a:xfrm>
        </p:spPr>
        <p:txBody>
          <a:bodyPr/>
          <a:lstStyle/>
          <a:p>
            <a:r>
              <a:rPr lang="en-US" dirty="0">
                <a:solidFill>
                  <a:schemeClr val="tx1"/>
                </a:solidFill>
              </a:rPr>
              <a:t>Membership has it’s Privileges….</a:t>
            </a:r>
          </a:p>
          <a:p>
            <a:endParaRPr lang="en-US" dirty="0">
              <a:solidFill>
                <a:schemeClr val="tx1"/>
              </a:solidFill>
            </a:endParaRPr>
          </a:p>
          <a:p>
            <a:endParaRPr lang="en-US" dirty="0">
              <a:solidFill>
                <a:schemeClr val="tx1"/>
              </a:solidFill>
            </a:endParaRPr>
          </a:p>
        </p:txBody>
      </p:sp>
      <p:pic>
        <p:nvPicPr>
          <p:cNvPr id="5" name="Picture 4" descr="A picture containing text, sign&#10;&#10;Description automatically generated">
            <a:extLst>
              <a:ext uri="{FF2B5EF4-FFF2-40B4-BE49-F238E27FC236}">
                <a16:creationId xmlns:a16="http://schemas.microsoft.com/office/drawing/2014/main" id="{DE8A5BB8-9A0F-386B-2BD4-DCBFE2F07F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344121" y="2600864"/>
            <a:ext cx="2614335" cy="3429000"/>
          </a:xfrm>
          <a:prstGeom prst="rect">
            <a:avLst/>
          </a:prstGeom>
        </p:spPr>
      </p:pic>
      <p:pic>
        <p:nvPicPr>
          <p:cNvPr id="6" name="Picture 5" descr="A magazine cover with a crane and a container&#10;&#10;Description automatically generated">
            <a:extLst>
              <a:ext uri="{FF2B5EF4-FFF2-40B4-BE49-F238E27FC236}">
                <a16:creationId xmlns:a16="http://schemas.microsoft.com/office/drawing/2014/main" id="{68486E81-581D-53C3-EE41-3EA634C884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38062" y="1679376"/>
            <a:ext cx="2606672" cy="3499247"/>
          </a:xfrm>
          <a:prstGeom prst="rect">
            <a:avLst/>
          </a:prstGeom>
        </p:spPr>
      </p:pic>
      <p:sp>
        <p:nvSpPr>
          <p:cNvPr id="7" name="Rectangle: Rounded Corners 6">
            <a:extLst>
              <a:ext uri="{FF2B5EF4-FFF2-40B4-BE49-F238E27FC236}">
                <a16:creationId xmlns:a16="http://schemas.microsoft.com/office/drawing/2014/main" id="{FAE22A90-B6CF-B3E6-8F87-AB0A9A2ACDE2}"/>
              </a:ext>
            </a:extLst>
          </p:cNvPr>
          <p:cNvSpPr/>
          <p:nvPr/>
        </p:nvSpPr>
        <p:spPr>
          <a:xfrm>
            <a:off x="1029921" y="6248400"/>
            <a:ext cx="914400" cy="381000"/>
          </a:xfrm>
          <a:prstGeom prst="round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ec 2022</a:t>
            </a:r>
          </a:p>
        </p:txBody>
      </p:sp>
      <p:sp>
        <p:nvSpPr>
          <p:cNvPr id="8" name="Rectangle: Rounded Corners 7">
            <a:extLst>
              <a:ext uri="{FF2B5EF4-FFF2-40B4-BE49-F238E27FC236}">
                <a16:creationId xmlns:a16="http://schemas.microsoft.com/office/drawing/2014/main" id="{7A6DAE59-1706-B3EA-4984-A5DAE58CC7B9}"/>
              </a:ext>
            </a:extLst>
          </p:cNvPr>
          <p:cNvSpPr/>
          <p:nvPr/>
        </p:nvSpPr>
        <p:spPr>
          <a:xfrm>
            <a:off x="3962400" y="5410200"/>
            <a:ext cx="914400" cy="381000"/>
          </a:xfrm>
          <a:prstGeom prst="round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pril 2023</a:t>
            </a:r>
          </a:p>
        </p:txBody>
      </p:sp>
      <p:sp>
        <p:nvSpPr>
          <p:cNvPr id="9" name="Rectangle: Rounded Corners 8">
            <a:extLst>
              <a:ext uri="{FF2B5EF4-FFF2-40B4-BE49-F238E27FC236}">
                <a16:creationId xmlns:a16="http://schemas.microsoft.com/office/drawing/2014/main" id="{4C8EEA5C-7B1E-8143-7BBF-D3038681A645}"/>
              </a:ext>
            </a:extLst>
          </p:cNvPr>
          <p:cNvSpPr/>
          <p:nvPr/>
        </p:nvSpPr>
        <p:spPr>
          <a:xfrm>
            <a:off x="7086600" y="4843529"/>
            <a:ext cx="914400" cy="381000"/>
          </a:xfrm>
          <a:prstGeom prst="round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Aug 2023</a:t>
            </a:r>
          </a:p>
        </p:txBody>
      </p:sp>
      <p:sp>
        <p:nvSpPr>
          <p:cNvPr id="10" name="Rectangle: Rounded Corners 9">
            <a:extLst>
              <a:ext uri="{FF2B5EF4-FFF2-40B4-BE49-F238E27FC236}">
                <a16:creationId xmlns:a16="http://schemas.microsoft.com/office/drawing/2014/main" id="{25DB5DBA-8734-C4F1-5E64-B26A1A17EC6B}"/>
              </a:ext>
            </a:extLst>
          </p:cNvPr>
          <p:cNvSpPr/>
          <p:nvPr/>
        </p:nvSpPr>
        <p:spPr>
          <a:xfrm>
            <a:off x="6019800" y="1136430"/>
            <a:ext cx="2895600" cy="3499247"/>
          </a:xfrm>
          <a:prstGeom prst="round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dirty="0"/>
              <a:t>Look for our Feature Article from our Operational Analytics Mini-Series in August!!!</a:t>
            </a:r>
          </a:p>
        </p:txBody>
      </p:sp>
    </p:spTree>
    <p:extLst>
      <p:ext uri="{BB962C8B-B14F-4D97-AF65-F5344CB8AC3E}">
        <p14:creationId xmlns:p14="http://schemas.microsoft.com/office/powerpoint/2010/main" val="39592751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172E6-EB4D-4CA9-B032-D89C0DD951AC}"/>
              </a:ext>
            </a:extLst>
          </p:cNvPr>
          <p:cNvSpPr>
            <a:spLocks noGrp="1"/>
          </p:cNvSpPr>
          <p:nvPr>
            <p:ph type="title"/>
          </p:nvPr>
        </p:nvSpPr>
        <p:spPr>
          <a:xfrm>
            <a:off x="439935" y="413646"/>
            <a:ext cx="8264129" cy="600920"/>
          </a:xfrm>
        </p:spPr>
        <p:txBody>
          <a:bodyPr>
            <a:noAutofit/>
          </a:bodyPr>
          <a:lstStyle/>
          <a:p>
            <a:r>
              <a:rPr lang="en-US" sz="2100" dirty="0"/>
              <a:t>Getting to Visualizations that create insights (aha moments) that provoke timely decisions and actions and improvements is the key</a:t>
            </a:r>
            <a:endParaRPr lang="en-CA" sz="2100" dirty="0"/>
          </a:p>
        </p:txBody>
      </p:sp>
      <p:sp>
        <p:nvSpPr>
          <p:cNvPr id="4" name="Slide Number Placeholder 3">
            <a:extLst>
              <a:ext uri="{FF2B5EF4-FFF2-40B4-BE49-F238E27FC236}">
                <a16:creationId xmlns:a16="http://schemas.microsoft.com/office/drawing/2014/main" id="{98681A5D-5099-4F5A-B20A-B41465BD82BD}"/>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602F7A02-EF0D-4D82-9BFD-3DDF074AABBD}" type="slidenum">
              <a:rPr kumimoji="0" lang="en-CA" sz="900" b="0" i="0" u="none" strike="noStrike" kern="1200" cap="none" spc="0" normalizeH="0" baseline="0" noProof="0" smtClean="0">
                <a:ln>
                  <a:noFill/>
                </a:ln>
                <a:solidFill>
                  <a:prstClr val="black">
                    <a:tint val="75000"/>
                  </a:prstClr>
                </a:solidFill>
                <a:effectLst/>
                <a:uLnTx/>
                <a:uFillTx/>
                <a:latin typeface="Open Sans"/>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1</a:t>
            </a:fld>
            <a:endParaRPr kumimoji="0" lang="en-CA" sz="900" b="0" i="0" u="none" strike="noStrike" kern="1200" cap="none" spc="0" normalizeH="0" baseline="0" noProof="0" dirty="0">
              <a:ln>
                <a:noFill/>
              </a:ln>
              <a:solidFill>
                <a:prstClr val="black">
                  <a:tint val="75000"/>
                </a:prstClr>
              </a:solidFill>
              <a:effectLst/>
              <a:uLnTx/>
              <a:uFillTx/>
              <a:latin typeface="Open Sans"/>
              <a:ea typeface="+mn-ea"/>
              <a:cs typeface="+mn-cs"/>
            </a:endParaRPr>
          </a:p>
        </p:txBody>
      </p:sp>
      <p:pic>
        <p:nvPicPr>
          <p:cNvPr id="13" name="Picture 12">
            <a:extLst>
              <a:ext uri="{FF2B5EF4-FFF2-40B4-BE49-F238E27FC236}">
                <a16:creationId xmlns:a16="http://schemas.microsoft.com/office/drawing/2014/main" id="{2D6B5E61-311A-4087-969B-D1CED99EABA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5268" y="6218636"/>
            <a:ext cx="2483698" cy="164665"/>
          </a:xfrm>
          <a:prstGeom prst="rect">
            <a:avLst/>
          </a:prstGeom>
        </p:spPr>
      </p:pic>
      <p:grpSp>
        <p:nvGrpSpPr>
          <p:cNvPr id="20" name="Group 19">
            <a:extLst>
              <a:ext uri="{FF2B5EF4-FFF2-40B4-BE49-F238E27FC236}">
                <a16:creationId xmlns:a16="http://schemas.microsoft.com/office/drawing/2014/main" id="{A565A9EC-7D77-4424-9C33-3CA5D15B4ADA}"/>
              </a:ext>
            </a:extLst>
          </p:cNvPr>
          <p:cNvGrpSpPr/>
          <p:nvPr/>
        </p:nvGrpSpPr>
        <p:grpSpPr>
          <a:xfrm>
            <a:off x="5127414" y="2474226"/>
            <a:ext cx="3352800" cy="1909549"/>
            <a:chOff x="4800600" y="2514600"/>
            <a:chExt cx="4044950" cy="3135313"/>
          </a:xfrm>
        </p:grpSpPr>
        <p:pic>
          <p:nvPicPr>
            <p:cNvPr id="21" name="Picture 2">
              <a:extLst>
                <a:ext uri="{FF2B5EF4-FFF2-40B4-BE49-F238E27FC236}">
                  <a16:creationId xmlns:a16="http://schemas.microsoft.com/office/drawing/2014/main" id="{B79618EE-9FBE-43D8-B310-D4C51E1773B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800600" y="2514600"/>
              <a:ext cx="4044950" cy="313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Connector 21">
              <a:extLst>
                <a:ext uri="{FF2B5EF4-FFF2-40B4-BE49-F238E27FC236}">
                  <a16:creationId xmlns:a16="http://schemas.microsoft.com/office/drawing/2014/main" id="{5CE2CCB5-B643-42D3-835D-A44A15A8164B}"/>
                </a:ext>
              </a:extLst>
            </p:cNvPr>
            <p:cNvCxnSpPr/>
            <p:nvPr/>
          </p:nvCxnSpPr>
          <p:spPr>
            <a:xfrm>
              <a:off x="5029199" y="4267200"/>
              <a:ext cx="35052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Up Arrow 10">
              <a:extLst>
                <a:ext uri="{FF2B5EF4-FFF2-40B4-BE49-F238E27FC236}">
                  <a16:creationId xmlns:a16="http://schemas.microsoft.com/office/drawing/2014/main" id="{C7DFDB5F-A410-4E77-8DC6-690869297D0A}"/>
                </a:ext>
              </a:extLst>
            </p:cNvPr>
            <p:cNvSpPr/>
            <p:nvPr/>
          </p:nvSpPr>
          <p:spPr>
            <a:xfrm>
              <a:off x="7848600" y="3103848"/>
              <a:ext cx="484632" cy="978408"/>
            </a:xfrm>
            <a:prstGeom prst="upArrow">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1800">
                <a:solidFill>
                  <a:srgbClr val="FFFFFF"/>
                </a:solidFill>
              </a:endParaRPr>
            </a:p>
          </p:txBody>
        </p:sp>
      </p:grpSp>
      <p:sp>
        <p:nvSpPr>
          <p:cNvPr id="24" name="Rectangle 23">
            <a:extLst>
              <a:ext uri="{FF2B5EF4-FFF2-40B4-BE49-F238E27FC236}">
                <a16:creationId xmlns:a16="http://schemas.microsoft.com/office/drawing/2014/main" id="{FB0033A8-A525-4CD7-9D36-C762174413F8}"/>
              </a:ext>
            </a:extLst>
          </p:cNvPr>
          <p:cNvSpPr/>
          <p:nvPr/>
        </p:nvSpPr>
        <p:spPr>
          <a:xfrm>
            <a:off x="3315692" y="4517035"/>
            <a:ext cx="5642414" cy="1981312"/>
          </a:xfrm>
          <a:prstGeom prst="rect">
            <a:avLst/>
          </a:prstGeom>
        </p:spPr>
        <p:txBody>
          <a:bodyPr wrap="square">
            <a:spAutoFit/>
          </a:bodyPr>
          <a:lstStyle/>
          <a:p>
            <a:pPr marL="0" marR="0" lvl="0" indent="0" algn="l" defTabSz="685800" rtl="0" eaLnBrk="1" fontAlgn="auto" latinLnBrk="0" hangingPunct="1">
              <a:lnSpc>
                <a:spcPct val="150000"/>
              </a:lnSpc>
              <a:spcBef>
                <a:spcPts val="0"/>
              </a:spcBef>
              <a:spcAft>
                <a:spcPts val="0"/>
              </a:spcAft>
              <a:buClr>
                <a:prstClr val="black"/>
              </a:buClr>
              <a:buSzTx/>
              <a:buFontTx/>
              <a:buNone/>
              <a:tabLst/>
              <a:defRPr/>
            </a:pPr>
            <a:r>
              <a:rPr lang="en-US" sz="1200" b="1" kern="0" dirty="0">
                <a:solidFill>
                  <a:srgbClr val="C00000"/>
                </a:solidFill>
                <a:latin typeface="Open Sans"/>
              </a:rPr>
              <a:t>Must do, Accelerate ability to cycle bottom to top on the OA Triangle</a:t>
            </a:r>
            <a:endParaRPr kumimoji="0" lang="en-US" sz="1200" b="1" i="0" u="none" strike="noStrike" kern="0" cap="none" spc="0" normalizeH="0" baseline="0" noProof="0" dirty="0">
              <a:ln>
                <a:noFill/>
              </a:ln>
              <a:solidFill>
                <a:srgbClr val="C00000"/>
              </a:solidFill>
              <a:effectLst/>
              <a:uLnTx/>
              <a:uFillTx/>
              <a:latin typeface="Open Sans"/>
              <a:ea typeface="+mn-ea"/>
            </a:endParaRPr>
          </a:p>
          <a:p>
            <a:pPr marL="0" marR="0" lvl="0" indent="0" algn="l" defTabSz="685800" rtl="0" eaLnBrk="1" fontAlgn="auto" latinLnBrk="0" hangingPunct="1">
              <a:lnSpc>
                <a:spcPct val="150000"/>
              </a:lnSpc>
              <a:spcBef>
                <a:spcPts val="0"/>
              </a:spcBef>
              <a:spcAft>
                <a:spcPts val="0"/>
              </a:spcAft>
              <a:buClr>
                <a:prstClr val="black"/>
              </a:buClr>
              <a:buSzTx/>
              <a:buFontTx/>
              <a:buNone/>
              <a:tabLst/>
              <a:defRPr/>
            </a:pPr>
            <a:endParaRPr kumimoji="0" lang="en-US" sz="450" b="1"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Open Sans"/>
                <a:ea typeface="+mn-ea"/>
                <a:cs typeface="+mn-cs"/>
              </a:rPr>
              <a:t>Improved Alignment of OA work with Strategy—better</a:t>
            </a:r>
            <a:r>
              <a:rPr kumimoji="0" lang="en-US" sz="1400" b="0" i="0" u="none" strike="noStrike" kern="0" cap="none" spc="0" normalizeH="0" noProof="0" dirty="0">
                <a:ln>
                  <a:noFill/>
                </a:ln>
                <a:solidFill>
                  <a:prstClr val="black"/>
                </a:solidFill>
                <a:effectLst/>
                <a:uLnTx/>
                <a:uFillTx/>
                <a:latin typeface="Open Sans"/>
                <a:ea typeface="+mn-ea"/>
                <a:cs typeface="+mn-cs"/>
              </a:rPr>
              <a:t> portfolios due to</a:t>
            </a:r>
            <a:r>
              <a:rPr lang="en-US" sz="1400" kern="0" dirty="0">
                <a:solidFill>
                  <a:prstClr val="black"/>
                </a:solidFill>
                <a:latin typeface="Open Sans"/>
                <a:ea typeface="+mn-ea"/>
              </a:rPr>
              <a:t> leveraging better OA</a:t>
            </a:r>
            <a:endParaRPr kumimoji="0" lang="en-US" sz="800" b="0"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lang="en-US" sz="1400" kern="0" dirty="0">
                <a:solidFill>
                  <a:prstClr val="black"/>
                </a:solidFill>
                <a:latin typeface="Open Sans"/>
              </a:rPr>
              <a:t>integrate data creatively, from multiple sources, rapidly using best tools available</a:t>
            </a:r>
            <a:endParaRPr kumimoji="0" lang="en-US" sz="800" b="0" i="0" u="none" strike="noStrike" kern="0" cap="none" spc="0" normalizeH="0" baseline="0" noProof="0" dirty="0">
              <a:ln>
                <a:noFill/>
              </a:ln>
              <a:solidFill>
                <a:prstClr val="black"/>
              </a:solidFill>
              <a:effectLst/>
              <a:uLnTx/>
              <a:uFillTx/>
              <a:latin typeface="Open Sans"/>
              <a:ea typeface="+mn-ea"/>
              <a:cs typeface="+mn-cs"/>
            </a:endParaRPr>
          </a:p>
          <a:p>
            <a:pPr marL="214313" marR="0" lvl="0" indent="-214313" algn="l" defTabSz="685800" rtl="0" eaLnBrk="1" fontAlgn="auto" latinLnBrk="0" hangingPunct="1">
              <a:spcBef>
                <a:spcPts val="0"/>
              </a:spcBef>
              <a:spcAft>
                <a:spcPts val="0"/>
              </a:spcAft>
              <a:buClr>
                <a:prstClr val="black"/>
              </a:buClr>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latin typeface="Open Sans"/>
                <a:ea typeface="+mn-ea"/>
                <a:cs typeface="+mn-cs"/>
              </a:rPr>
              <a:t>Visualizations </a:t>
            </a:r>
            <a:r>
              <a:rPr kumimoji="0" lang="en-US" sz="1400" b="0" i="0" u="sng" strike="noStrike" kern="0" cap="none" spc="0" normalizeH="0" baseline="0" noProof="0" dirty="0">
                <a:ln>
                  <a:noFill/>
                </a:ln>
                <a:solidFill>
                  <a:prstClr val="black"/>
                </a:solidFill>
                <a:effectLst/>
                <a:uLnTx/>
                <a:uFillTx/>
                <a:latin typeface="Open Sans"/>
                <a:ea typeface="+mn-ea"/>
                <a:cs typeface="+mn-cs"/>
              </a:rPr>
              <a:t>mus</a:t>
            </a:r>
            <a:r>
              <a:rPr kumimoji="0" lang="en-US" sz="1400" b="0" i="0" u="none" strike="noStrike" kern="0" cap="none" spc="0" normalizeH="0" baseline="0" noProof="0" dirty="0">
                <a:ln>
                  <a:noFill/>
                </a:ln>
                <a:solidFill>
                  <a:prstClr val="black"/>
                </a:solidFill>
                <a:effectLst/>
                <a:uLnTx/>
                <a:uFillTx/>
                <a:latin typeface="Open Sans"/>
                <a:ea typeface="+mn-ea"/>
                <a:cs typeface="+mn-cs"/>
              </a:rPr>
              <a:t>t minimize the latency to get to the </a:t>
            </a:r>
            <a:r>
              <a:rPr kumimoji="0" lang="en-US" sz="1400" b="1" i="0" u="none" strike="noStrike" kern="0" cap="none" spc="0" normalizeH="0" baseline="0" noProof="0" dirty="0">
                <a:ln>
                  <a:noFill/>
                </a:ln>
                <a:solidFill>
                  <a:prstClr val="black"/>
                </a:solidFill>
                <a:effectLst/>
                <a:uLnTx/>
                <a:uFillTx/>
                <a:latin typeface="Open Sans"/>
                <a:ea typeface="+mn-ea"/>
                <a:cs typeface="+mn-cs"/>
              </a:rPr>
              <a:t>“Ah-Ha” moment and then drive the causal chain</a:t>
            </a:r>
            <a:r>
              <a:rPr kumimoji="0" lang="en-US" sz="1400" b="1" i="0" u="none" strike="noStrike" kern="0" cap="none" spc="0" normalizeH="0" noProof="0" dirty="0">
                <a:ln>
                  <a:noFill/>
                </a:ln>
                <a:solidFill>
                  <a:prstClr val="black"/>
                </a:solidFill>
                <a:effectLst/>
                <a:uLnTx/>
                <a:uFillTx/>
                <a:latin typeface="Open Sans"/>
                <a:ea typeface="+mn-ea"/>
                <a:cs typeface="+mn-cs"/>
              </a:rPr>
              <a:t> to Benefits Realization</a:t>
            </a:r>
            <a:endParaRPr kumimoji="0" lang="en-US" sz="1400" b="1" i="0" u="none" strike="noStrike" kern="0" cap="none" spc="0" normalizeH="0" baseline="0" noProof="0" dirty="0">
              <a:ln>
                <a:noFill/>
              </a:ln>
              <a:solidFill>
                <a:prstClr val="black"/>
              </a:solidFill>
              <a:effectLst/>
              <a:uLnTx/>
              <a:uFillTx/>
              <a:latin typeface="Open Sans"/>
              <a:ea typeface="+mn-ea"/>
              <a:cs typeface="+mn-cs"/>
            </a:endParaRPr>
          </a:p>
        </p:txBody>
      </p:sp>
      <p:grpSp>
        <p:nvGrpSpPr>
          <p:cNvPr id="3" name="Group 2">
            <a:extLst>
              <a:ext uri="{FF2B5EF4-FFF2-40B4-BE49-F238E27FC236}">
                <a16:creationId xmlns:a16="http://schemas.microsoft.com/office/drawing/2014/main" id="{AB64E09E-A5A4-1A11-31F2-DB3A84131561}"/>
              </a:ext>
            </a:extLst>
          </p:cNvPr>
          <p:cNvGrpSpPr/>
          <p:nvPr/>
        </p:nvGrpSpPr>
        <p:grpSpPr>
          <a:xfrm>
            <a:off x="67567" y="1296017"/>
            <a:ext cx="4815466" cy="2830714"/>
            <a:chOff x="67567" y="1296017"/>
            <a:chExt cx="4815466" cy="2830714"/>
          </a:xfrm>
        </p:grpSpPr>
        <p:pic>
          <p:nvPicPr>
            <p:cNvPr id="19" name="Picture 2" descr="http://community.qlikview.com/servlet/JiveServlet/showImage/38-2354-7987/Analysis%2BLatency.PNG">
              <a:extLst>
                <a:ext uri="{FF2B5EF4-FFF2-40B4-BE49-F238E27FC236}">
                  <a16:creationId xmlns:a16="http://schemas.microsoft.com/office/drawing/2014/main" id="{C722F620-7C0D-4868-B175-317B4B45599F}"/>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7567" y="1296017"/>
              <a:ext cx="4815466" cy="2830714"/>
            </a:xfrm>
            <a:prstGeom prst="rect">
              <a:avLst/>
            </a:prstGeom>
            <a:noFill/>
          </p:spPr>
        </p:pic>
        <p:grpSp>
          <p:nvGrpSpPr>
            <p:cNvPr id="30" name="Group 29">
              <a:extLst>
                <a:ext uri="{FF2B5EF4-FFF2-40B4-BE49-F238E27FC236}">
                  <a16:creationId xmlns:a16="http://schemas.microsoft.com/office/drawing/2014/main" id="{B47C8FCA-9581-44A5-8180-C56A6150303A}"/>
                </a:ext>
              </a:extLst>
            </p:cNvPr>
            <p:cNvGrpSpPr/>
            <p:nvPr/>
          </p:nvGrpSpPr>
          <p:grpSpPr>
            <a:xfrm>
              <a:off x="2688749" y="3910035"/>
              <a:ext cx="660433" cy="95338"/>
              <a:chOff x="4822825" y="4360865"/>
              <a:chExt cx="745331" cy="100162"/>
            </a:xfrm>
          </p:grpSpPr>
          <p:cxnSp>
            <p:nvCxnSpPr>
              <p:cNvPr id="10" name="Straight Arrow Connector 9">
                <a:extLst>
                  <a:ext uri="{FF2B5EF4-FFF2-40B4-BE49-F238E27FC236}">
                    <a16:creationId xmlns:a16="http://schemas.microsoft.com/office/drawing/2014/main" id="{1F975C84-AE78-4A8D-A399-7B8C7CD5E81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2A1C2F6-31E0-4129-A39B-6ECECC50042B}"/>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CC46EBB-4A9E-4837-8519-0B7E6B9EA0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90FEFAE-156D-4B3D-9BB9-35BB01ACAEF9}"/>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E17D31DB-9B82-499E-BC20-D0F9A2B0C090}"/>
                </a:ext>
              </a:extLst>
            </p:cNvPr>
            <p:cNvGrpSpPr/>
            <p:nvPr/>
          </p:nvGrpSpPr>
          <p:grpSpPr>
            <a:xfrm>
              <a:off x="1676400" y="2785436"/>
              <a:ext cx="660433" cy="95338"/>
              <a:chOff x="4822825" y="4360865"/>
              <a:chExt cx="745331" cy="100162"/>
            </a:xfrm>
          </p:grpSpPr>
          <p:cxnSp>
            <p:nvCxnSpPr>
              <p:cNvPr id="35" name="Straight Arrow Connector 34">
                <a:extLst>
                  <a:ext uri="{FF2B5EF4-FFF2-40B4-BE49-F238E27FC236}">
                    <a16:creationId xmlns:a16="http://schemas.microsoft.com/office/drawing/2014/main" id="{2C84C461-8533-4BF7-89D9-6898BC100DA6}"/>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F33C6543-59EF-477C-A5AA-89B3A115B06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CE3D64-31C3-4896-B649-92D26DDA581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8113144-02A4-4914-89D1-1BC1EF75AD02}"/>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B0A4039F-5828-4F1A-B40F-0E7CC707A23B}"/>
                </a:ext>
              </a:extLst>
            </p:cNvPr>
            <p:cNvGrpSpPr/>
            <p:nvPr/>
          </p:nvGrpSpPr>
          <p:grpSpPr>
            <a:xfrm>
              <a:off x="742812" y="3344985"/>
              <a:ext cx="660433" cy="95338"/>
              <a:chOff x="4822825" y="4360865"/>
              <a:chExt cx="745331" cy="100162"/>
            </a:xfrm>
          </p:grpSpPr>
          <p:cxnSp>
            <p:nvCxnSpPr>
              <p:cNvPr id="40" name="Straight Arrow Connector 39">
                <a:extLst>
                  <a:ext uri="{FF2B5EF4-FFF2-40B4-BE49-F238E27FC236}">
                    <a16:creationId xmlns:a16="http://schemas.microsoft.com/office/drawing/2014/main" id="{01A41798-C05A-40CF-80FD-6162805EC8CE}"/>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C7903AA-D918-49D9-9FA2-5230604377EF}"/>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278B70A-799F-4456-ACC0-8A2390F820D4}"/>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8C23C8D-D101-4181-BE4C-29C491849824}"/>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grpSp>
        <p:nvGrpSpPr>
          <p:cNvPr id="77" name="Group 76">
            <a:extLst>
              <a:ext uri="{FF2B5EF4-FFF2-40B4-BE49-F238E27FC236}">
                <a16:creationId xmlns:a16="http://schemas.microsoft.com/office/drawing/2014/main" id="{30730EE6-E503-4222-ACE4-9357A863B782}"/>
              </a:ext>
            </a:extLst>
          </p:cNvPr>
          <p:cNvGrpSpPr/>
          <p:nvPr/>
        </p:nvGrpSpPr>
        <p:grpSpPr>
          <a:xfrm>
            <a:off x="5817676" y="4117302"/>
            <a:ext cx="558998" cy="75122"/>
            <a:chOff x="4822825" y="4360865"/>
            <a:chExt cx="745331" cy="100162"/>
          </a:xfrm>
        </p:grpSpPr>
        <p:cxnSp>
          <p:nvCxnSpPr>
            <p:cNvPr id="78" name="Straight Arrow Connector 77">
              <a:extLst>
                <a:ext uri="{FF2B5EF4-FFF2-40B4-BE49-F238E27FC236}">
                  <a16:creationId xmlns:a16="http://schemas.microsoft.com/office/drawing/2014/main" id="{DE93D2EF-88EB-4556-A324-2CFA6BAF7357}"/>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8C23647A-E41E-48AC-ADDB-7AE9F77FFB7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1270BBA-22E7-42F4-9626-A96990634192}"/>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21DFC259-BA17-4559-8FEE-81E94EFAFBB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DB51DBA7-7FBC-4FB7-861D-045EC90773C6}"/>
              </a:ext>
            </a:extLst>
          </p:cNvPr>
          <p:cNvGrpSpPr/>
          <p:nvPr/>
        </p:nvGrpSpPr>
        <p:grpSpPr>
          <a:xfrm>
            <a:off x="7094859" y="3939131"/>
            <a:ext cx="558998" cy="75122"/>
            <a:chOff x="4822825" y="4360865"/>
            <a:chExt cx="745331" cy="100162"/>
          </a:xfrm>
        </p:grpSpPr>
        <p:cxnSp>
          <p:nvCxnSpPr>
            <p:cNvPr id="83" name="Straight Arrow Connector 82">
              <a:extLst>
                <a:ext uri="{FF2B5EF4-FFF2-40B4-BE49-F238E27FC236}">
                  <a16:creationId xmlns:a16="http://schemas.microsoft.com/office/drawing/2014/main" id="{C78C71A9-7555-4ABC-8617-F4FDB4562B48}"/>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2B120F74-BE40-4D82-8F80-B328C4C3C749}"/>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4DCB2931-BDF4-4BD8-8E5C-11BE8E70F6DA}"/>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640F46C-B62E-4F77-AB96-6A61CCF2EDF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55F8986D-C88B-4A23-9196-9FFDCA78C125}"/>
              </a:ext>
            </a:extLst>
          </p:cNvPr>
          <p:cNvGrpSpPr/>
          <p:nvPr/>
        </p:nvGrpSpPr>
        <p:grpSpPr>
          <a:xfrm>
            <a:off x="5857399" y="3773753"/>
            <a:ext cx="558998" cy="75122"/>
            <a:chOff x="4822825" y="4360865"/>
            <a:chExt cx="745331" cy="100162"/>
          </a:xfrm>
        </p:grpSpPr>
        <p:cxnSp>
          <p:nvCxnSpPr>
            <p:cNvPr id="88" name="Straight Arrow Connector 87">
              <a:extLst>
                <a:ext uri="{FF2B5EF4-FFF2-40B4-BE49-F238E27FC236}">
                  <a16:creationId xmlns:a16="http://schemas.microsoft.com/office/drawing/2014/main" id="{8E53117B-D7A8-4ED8-B082-16F6D996E583}"/>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6A59F32B-2BA2-488F-AA71-9BE41E2BAF50}"/>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353373B-B0CC-4BC3-A23C-D89FE759FAA0}"/>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19FCAFC-2842-427E-81D0-249E61BCA680}"/>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00959837-2DF4-4D39-8A8B-A1197DC048C2}"/>
              </a:ext>
            </a:extLst>
          </p:cNvPr>
          <p:cNvGrpSpPr/>
          <p:nvPr/>
        </p:nvGrpSpPr>
        <p:grpSpPr>
          <a:xfrm>
            <a:off x="6490102" y="3595658"/>
            <a:ext cx="558998" cy="75122"/>
            <a:chOff x="4822825" y="4360865"/>
            <a:chExt cx="745331" cy="100162"/>
          </a:xfrm>
        </p:grpSpPr>
        <p:cxnSp>
          <p:nvCxnSpPr>
            <p:cNvPr id="93" name="Straight Arrow Connector 92">
              <a:extLst>
                <a:ext uri="{FF2B5EF4-FFF2-40B4-BE49-F238E27FC236}">
                  <a16:creationId xmlns:a16="http://schemas.microsoft.com/office/drawing/2014/main" id="{5898F972-B2A2-42E0-9AF1-4D9760711351}"/>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a:extLst>
                <a:ext uri="{FF2B5EF4-FFF2-40B4-BE49-F238E27FC236}">
                  <a16:creationId xmlns:a16="http://schemas.microsoft.com/office/drawing/2014/main" id="{9BB780AE-C505-4225-8644-16D98C090B57}"/>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36BEF3B-23C6-4517-A260-6D4B3D0D6BA8}"/>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2FA88176-F8F9-4D18-9C56-EDA47EED61DD}"/>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985049C8-BDEC-4DC1-BA53-C038BBC14D3B}"/>
              </a:ext>
            </a:extLst>
          </p:cNvPr>
          <p:cNvGrpSpPr/>
          <p:nvPr/>
        </p:nvGrpSpPr>
        <p:grpSpPr>
          <a:xfrm>
            <a:off x="7134895" y="3630004"/>
            <a:ext cx="558998" cy="75122"/>
            <a:chOff x="4822825" y="4360865"/>
            <a:chExt cx="745331" cy="100162"/>
          </a:xfrm>
        </p:grpSpPr>
        <p:cxnSp>
          <p:nvCxnSpPr>
            <p:cNvPr id="98" name="Straight Arrow Connector 97">
              <a:extLst>
                <a:ext uri="{FF2B5EF4-FFF2-40B4-BE49-F238E27FC236}">
                  <a16:creationId xmlns:a16="http://schemas.microsoft.com/office/drawing/2014/main" id="{2AC8C612-786A-4AF0-99FE-31CDC68A7214}"/>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86C42E9A-98F1-44D3-8B5A-5702857BB5A3}"/>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D6D0C2A0-3E0B-42E0-9E21-60DC3012C16C}"/>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F0B4836-1F23-4198-954E-58E40DB3E565}"/>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44B2712D-FB6D-4F99-8313-1078A2611424}"/>
              </a:ext>
            </a:extLst>
          </p:cNvPr>
          <p:cNvGrpSpPr/>
          <p:nvPr/>
        </p:nvGrpSpPr>
        <p:grpSpPr>
          <a:xfrm>
            <a:off x="6535861" y="3269975"/>
            <a:ext cx="558998" cy="75122"/>
            <a:chOff x="4822825" y="4360865"/>
            <a:chExt cx="745331" cy="100162"/>
          </a:xfrm>
        </p:grpSpPr>
        <p:cxnSp>
          <p:nvCxnSpPr>
            <p:cNvPr id="103" name="Straight Arrow Connector 102">
              <a:extLst>
                <a:ext uri="{FF2B5EF4-FFF2-40B4-BE49-F238E27FC236}">
                  <a16:creationId xmlns:a16="http://schemas.microsoft.com/office/drawing/2014/main" id="{730AF135-5BDD-450D-B17C-766AA60D83BA}"/>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5F09386F-15DC-45C8-ADA9-C9D94762B5D9}"/>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5DD4A25-D288-4A33-B0D8-21454E522977}"/>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17743AF8-D821-4839-B3C6-848AE6F7CF28}"/>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07" name="Group 106">
            <a:extLst>
              <a:ext uri="{FF2B5EF4-FFF2-40B4-BE49-F238E27FC236}">
                <a16:creationId xmlns:a16="http://schemas.microsoft.com/office/drawing/2014/main" id="{9C4EA2A9-8984-4347-802C-41FD93AE3B28}"/>
              </a:ext>
            </a:extLst>
          </p:cNvPr>
          <p:cNvGrpSpPr/>
          <p:nvPr/>
        </p:nvGrpSpPr>
        <p:grpSpPr>
          <a:xfrm>
            <a:off x="6524315" y="2930603"/>
            <a:ext cx="558998" cy="75122"/>
            <a:chOff x="4822825" y="4360865"/>
            <a:chExt cx="745331" cy="100162"/>
          </a:xfrm>
        </p:grpSpPr>
        <p:cxnSp>
          <p:nvCxnSpPr>
            <p:cNvPr id="108" name="Straight Arrow Connector 107">
              <a:extLst>
                <a:ext uri="{FF2B5EF4-FFF2-40B4-BE49-F238E27FC236}">
                  <a16:creationId xmlns:a16="http://schemas.microsoft.com/office/drawing/2014/main" id="{E1FBD479-BF39-46C5-BC2D-E03A6C273745}"/>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0E7BE9F9-D2F3-4734-AE23-D4261BB61256}"/>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8BC02C4-97D5-42C0-B7B2-69DF951DBBB3}"/>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C8242A-90C6-4DF3-8D1C-A432FB01EE51}"/>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112" name="Group 111">
            <a:extLst>
              <a:ext uri="{FF2B5EF4-FFF2-40B4-BE49-F238E27FC236}">
                <a16:creationId xmlns:a16="http://schemas.microsoft.com/office/drawing/2014/main" id="{5B5EEDAB-57BA-4831-85D0-1C9E316A424D}"/>
              </a:ext>
            </a:extLst>
          </p:cNvPr>
          <p:cNvGrpSpPr/>
          <p:nvPr/>
        </p:nvGrpSpPr>
        <p:grpSpPr>
          <a:xfrm>
            <a:off x="6525187" y="2679838"/>
            <a:ext cx="558998" cy="75122"/>
            <a:chOff x="4822825" y="4360865"/>
            <a:chExt cx="745331" cy="100162"/>
          </a:xfrm>
        </p:grpSpPr>
        <p:cxnSp>
          <p:nvCxnSpPr>
            <p:cNvPr id="113" name="Straight Arrow Connector 112">
              <a:extLst>
                <a:ext uri="{FF2B5EF4-FFF2-40B4-BE49-F238E27FC236}">
                  <a16:creationId xmlns:a16="http://schemas.microsoft.com/office/drawing/2014/main" id="{66BF2C92-3402-401F-B517-21A7504D6FBC}"/>
                </a:ext>
              </a:extLst>
            </p:cNvPr>
            <p:cNvCxnSpPr>
              <a:cxnSpLocks/>
            </p:cNvCxnSpPr>
            <p:nvPr/>
          </p:nvCxnSpPr>
          <p:spPr>
            <a:xfrm>
              <a:off x="4822825" y="4412609"/>
              <a:ext cx="311237"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B622DD68-8D53-4A9C-BFE1-6CC20CE7C6E8}"/>
                </a:ext>
              </a:extLst>
            </p:cNvPr>
            <p:cNvCxnSpPr>
              <a:cxnSpLocks/>
            </p:cNvCxnSpPr>
            <p:nvPr/>
          </p:nvCxnSpPr>
          <p:spPr>
            <a:xfrm flipH="1">
              <a:off x="5248456" y="4412609"/>
              <a:ext cx="319700" cy="0"/>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41249E0-8753-49AC-9AAC-ADC86477A879}"/>
                </a:ext>
              </a:extLst>
            </p:cNvPr>
            <p:cNvCxnSpPr/>
            <p:nvPr/>
          </p:nvCxnSpPr>
          <p:spPr>
            <a:xfrm>
              <a:off x="4822825" y="4360865"/>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140BED79-3A96-4FCC-923D-D8D03E28A9B8}"/>
                </a:ext>
              </a:extLst>
            </p:cNvPr>
            <p:cNvCxnSpPr/>
            <p:nvPr/>
          </p:nvCxnSpPr>
          <p:spPr>
            <a:xfrm>
              <a:off x="5568156" y="4361014"/>
              <a:ext cx="0" cy="100013"/>
            </a:xfrm>
            <a:prstGeom prst="line">
              <a:avLst/>
            </a:prstGeom>
            <a:ln w="15875">
              <a:solidFill>
                <a:srgbClr val="C00000"/>
              </a:solidFill>
            </a:ln>
          </p:spPr>
          <p:style>
            <a:lnRef idx="1">
              <a:schemeClr val="accent1"/>
            </a:lnRef>
            <a:fillRef idx="0">
              <a:schemeClr val="accent1"/>
            </a:fillRef>
            <a:effectRef idx="0">
              <a:schemeClr val="accent1"/>
            </a:effectRef>
            <a:fontRef idx="minor">
              <a:schemeClr val="tx1"/>
            </a:fontRef>
          </p:style>
        </p:cxnSp>
      </p:grpSp>
      <p:pic>
        <p:nvPicPr>
          <p:cNvPr id="1030" name="Picture 6" descr="Harness the Power of Aha! Moments to Help Your Team Learn |">
            <a:extLst>
              <a:ext uri="{FF2B5EF4-FFF2-40B4-BE49-F238E27FC236}">
                <a16:creationId xmlns:a16="http://schemas.microsoft.com/office/drawing/2014/main" id="{A9683ACE-C08E-4FCF-B9FB-5AF3710313D8}"/>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6090827" y="1116623"/>
            <a:ext cx="1376659" cy="1200513"/>
          </a:xfrm>
          <a:prstGeom prst="rect">
            <a:avLst/>
          </a:prstGeom>
          <a:noFill/>
          <a:extLst>
            <a:ext uri="{909E8E84-426E-40DD-AFC4-6F175D3DCCD1}">
              <a14:hiddenFill xmlns:a14="http://schemas.microsoft.com/office/drawing/2010/main">
                <a:solidFill>
                  <a:srgbClr val="FFFFFF"/>
                </a:solidFill>
              </a14:hiddenFill>
            </a:ext>
          </a:extLst>
        </p:spPr>
      </p:pic>
      <p:sp>
        <p:nvSpPr>
          <p:cNvPr id="70" name="Oval 69">
            <a:extLst>
              <a:ext uri="{FF2B5EF4-FFF2-40B4-BE49-F238E27FC236}">
                <a16:creationId xmlns:a16="http://schemas.microsoft.com/office/drawing/2014/main" id="{5DE7379F-A996-40A0-BBBC-7AE829C28700}"/>
              </a:ext>
            </a:extLst>
          </p:cNvPr>
          <p:cNvSpPr/>
          <p:nvPr/>
        </p:nvSpPr>
        <p:spPr>
          <a:xfrm>
            <a:off x="5869233" y="2542329"/>
            <a:ext cx="1742295" cy="967991"/>
          </a:xfrm>
          <a:prstGeom prst="ellipse">
            <a:avLst/>
          </a:prstGeom>
          <a:solidFill>
            <a:srgbClr val="C00000">
              <a:alpha val="26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A6DCB2E8-3C64-32BE-16C5-9928F478BA54}"/>
              </a:ext>
            </a:extLst>
          </p:cNvPr>
          <p:cNvSpPr/>
          <p:nvPr/>
        </p:nvSpPr>
        <p:spPr>
          <a:xfrm>
            <a:off x="4148658" y="1540420"/>
            <a:ext cx="1486367" cy="9144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Benefits Realization</a:t>
            </a:r>
          </a:p>
        </p:txBody>
      </p:sp>
      <p:sp>
        <p:nvSpPr>
          <p:cNvPr id="6" name="Arrow: Curved Up 5">
            <a:extLst>
              <a:ext uri="{FF2B5EF4-FFF2-40B4-BE49-F238E27FC236}">
                <a16:creationId xmlns:a16="http://schemas.microsoft.com/office/drawing/2014/main" id="{5968FAB6-6449-E8BB-1EB4-FF06EDF8B4EE}"/>
              </a:ext>
            </a:extLst>
          </p:cNvPr>
          <p:cNvSpPr/>
          <p:nvPr/>
        </p:nvSpPr>
        <p:spPr>
          <a:xfrm rot="19586137">
            <a:off x="3955066" y="2852132"/>
            <a:ext cx="1613803" cy="723867"/>
          </a:xfrm>
          <a:prstGeom prst="curvedUp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79280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xEl>
                                              <p:pRg st="0" end="0"/>
                                            </p:txEl>
                                          </p:spTgt>
                                        </p:tgtEl>
                                        <p:attrNameLst>
                                          <p:attrName>style.visibility</p:attrName>
                                        </p:attrNameLst>
                                      </p:cBhvr>
                                      <p:to>
                                        <p:strVal val="visible"/>
                                      </p:to>
                                    </p:set>
                                    <p:animEffect transition="in" filter="fade">
                                      <p:cBhvr>
                                        <p:cTn id="12" dur="500"/>
                                        <p:tgtEl>
                                          <p:spTgt spid="24">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xEl>
                                              <p:pRg st="2" end="2"/>
                                            </p:txEl>
                                          </p:spTgt>
                                        </p:tgtEl>
                                        <p:attrNameLst>
                                          <p:attrName>style.visibility</p:attrName>
                                        </p:attrNameLst>
                                      </p:cBhvr>
                                      <p:to>
                                        <p:strVal val="visible"/>
                                      </p:to>
                                    </p:set>
                                    <p:animEffect transition="in" filter="fade">
                                      <p:cBhvr>
                                        <p:cTn id="17" dur="500"/>
                                        <p:tgtEl>
                                          <p:spTgt spid="2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xEl>
                                              <p:pRg st="3" end="3"/>
                                            </p:txEl>
                                          </p:spTgt>
                                        </p:tgtEl>
                                        <p:attrNameLst>
                                          <p:attrName>style.visibility</p:attrName>
                                        </p:attrNameLst>
                                      </p:cBhvr>
                                      <p:to>
                                        <p:strVal val="visible"/>
                                      </p:to>
                                    </p:set>
                                    <p:animEffect transition="in" filter="fade">
                                      <p:cBhvr>
                                        <p:cTn id="22" dur="500"/>
                                        <p:tgtEl>
                                          <p:spTgt spid="2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xEl>
                                              <p:pRg st="4" end="4"/>
                                            </p:txEl>
                                          </p:spTgt>
                                        </p:tgtEl>
                                        <p:attrNameLst>
                                          <p:attrName>style.visibility</p:attrName>
                                        </p:attrNameLst>
                                      </p:cBhvr>
                                      <p:to>
                                        <p:strVal val="visible"/>
                                      </p:to>
                                    </p:set>
                                    <p:animEffect transition="in" filter="fade">
                                      <p:cBhvr>
                                        <p:cTn id="27" dur="500"/>
                                        <p:tgtEl>
                                          <p:spTgt spid="2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500"/>
                                        <p:tgtEl>
                                          <p:spTgt spid="77"/>
                                        </p:tgtEl>
                                      </p:cBhvr>
                                    </p:animEffect>
                                  </p:childTnLst>
                                </p:cTn>
                              </p:par>
                              <p:par>
                                <p:cTn id="33" presetID="10" presetClass="entr" presetSubtype="0" fill="hold" nodeType="withEffect">
                                  <p:stCondLst>
                                    <p:cond delay="0"/>
                                  </p:stCondLst>
                                  <p:childTnLst>
                                    <p:set>
                                      <p:cBhvr>
                                        <p:cTn id="34" dur="1" fill="hold">
                                          <p:stCondLst>
                                            <p:cond delay="0"/>
                                          </p:stCondLst>
                                        </p:cTn>
                                        <p:tgtEl>
                                          <p:spTgt spid="82"/>
                                        </p:tgtEl>
                                        <p:attrNameLst>
                                          <p:attrName>style.visibility</p:attrName>
                                        </p:attrNameLst>
                                      </p:cBhvr>
                                      <p:to>
                                        <p:strVal val="visible"/>
                                      </p:to>
                                    </p:set>
                                    <p:animEffect transition="in" filter="fade">
                                      <p:cBhvr>
                                        <p:cTn id="35" dur="500"/>
                                        <p:tgtEl>
                                          <p:spTgt spid="82"/>
                                        </p:tgtEl>
                                      </p:cBhvr>
                                    </p:animEffect>
                                  </p:childTnLst>
                                </p:cTn>
                              </p:par>
                              <p:par>
                                <p:cTn id="36" presetID="10" presetClass="entr" presetSubtype="0" fill="hold" nodeType="withEffect">
                                  <p:stCondLst>
                                    <p:cond delay="0"/>
                                  </p:stCondLst>
                                  <p:childTnLst>
                                    <p:set>
                                      <p:cBhvr>
                                        <p:cTn id="37" dur="1" fill="hold">
                                          <p:stCondLst>
                                            <p:cond delay="0"/>
                                          </p:stCondLst>
                                        </p:cTn>
                                        <p:tgtEl>
                                          <p:spTgt spid="87"/>
                                        </p:tgtEl>
                                        <p:attrNameLst>
                                          <p:attrName>style.visibility</p:attrName>
                                        </p:attrNameLst>
                                      </p:cBhvr>
                                      <p:to>
                                        <p:strVal val="visible"/>
                                      </p:to>
                                    </p:set>
                                    <p:animEffect transition="in" filter="fade">
                                      <p:cBhvr>
                                        <p:cTn id="38" dur="500"/>
                                        <p:tgtEl>
                                          <p:spTgt spid="87"/>
                                        </p:tgtEl>
                                      </p:cBhvr>
                                    </p:animEffect>
                                  </p:childTnLst>
                                </p:cTn>
                              </p:par>
                              <p:par>
                                <p:cTn id="39" presetID="10" presetClass="entr" presetSubtype="0" fill="hold" nodeType="withEffect">
                                  <p:stCondLst>
                                    <p:cond delay="0"/>
                                  </p:stCondLst>
                                  <p:childTnLst>
                                    <p:set>
                                      <p:cBhvr>
                                        <p:cTn id="40" dur="1" fill="hold">
                                          <p:stCondLst>
                                            <p:cond delay="0"/>
                                          </p:stCondLst>
                                        </p:cTn>
                                        <p:tgtEl>
                                          <p:spTgt spid="92"/>
                                        </p:tgtEl>
                                        <p:attrNameLst>
                                          <p:attrName>style.visibility</p:attrName>
                                        </p:attrNameLst>
                                      </p:cBhvr>
                                      <p:to>
                                        <p:strVal val="visible"/>
                                      </p:to>
                                    </p:set>
                                    <p:animEffect transition="in" filter="fade">
                                      <p:cBhvr>
                                        <p:cTn id="41" dur="500"/>
                                        <p:tgtEl>
                                          <p:spTgt spid="92"/>
                                        </p:tgtEl>
                                      </p:cBhvr>
                                    </p:animEffect>
                                  </p:childTnLst>
                                </p:cTn>
                              </p:par>
                              <p:par>
                                <p:cTn id="42" presetID="10" presetClass="entr" presetSubtype="0" fill="hold" nodeType="withEffect">
                                  <p:stCondLst>
                                    <p:cond delay="0"/>
                                  </p:stCondLst>
                                  <p:childTnLst>
                                    <p:set>
                                      <p:cBhvr>
                                        <p:cTn id="43" dur="1" fill="hold">
                                          <p:stCondLst>
                                            <p:cond delay="0"/>
                                          </p:stCondLst>
                                        </p:cTn>
                                        <p:tgtEl>
                                          <p:spTgt spid="97"/>
                                        </p:tgtEl>
                                        <p:attrNameLst>
                                          <p:attrName>style.visibility</p:attrName>
                                        </p:attrNameLst>
                                      </p:cBhvr>
                                      <p:to>
                                        <p:strVal val="visible"/>
                                      </p:to>
                                    </p:set>
                                    <p:animEffect transition="in" filter="fade">
                                      <p:cBhvr>
                                        <p:cTn id="44" dur="500"/>
                                        <p:tgtEl>
                                          <p:spTgt spid="97"/>
                                        </p:tgtEl>
                                      </p:cBhvr>
                                    </p:animEffect>
                                  </p:childTnLst>
                                </p:cTn>
                              </p:par>
                              <p:par>
                                <p:cTn id="45" presetID="10" presetClass="entr" presetSubtype="0" fill="hold" nodeType="withEffect">
                                  <p:stCondLst>
                                    <p:cond delay="0"/>
                                  </p:stCondLst>
                                  <p:childTnLst>
                                    <p:set>
                                      <p:cBhvr>
                                        <p:cTn id="46" dur="1" fill="hold">
                                          <p:stCondLst>
                                            <p:cond delay="0"/>
                                          </p:stCondLst>
                                        </p:cTn>
                                        <p:tgtEl>
                                          <p:spTgt spid="102"/>
                                        </p:tgtEl>
                                        <p:attrNameLst>
                                          <p:attrName>style.visibility</p:attrName>
                                        </p:attrNameLst>
                                      </p:cBhvr>
                                      <p:to>
                                        <p:strVal val="visible"/>
                                      </p:to>
                                    </p:set>
                                    <p:animEffect transition="in" filter="fade">
                                      <p:cBhvr>
                                        <p:cTn id="47" dur="500"/>
                                        <p:tgtEl>
                                          <p:spTgt spid="102"/>
                                        </p:tgtEl>
                                      </p:cBhvr>
                                    </p:animEffect>
                                  </p:childTnLst>
                                </p:cTn>
                              </p:par>
                              <p:par>
                                <p:cTn id="48" presetID="10" presetClass="entr" presetSubtype="0" fill="hold" nodeType="withEffect">
                                  <p:stCondLst>
                                    <p:cond delay="0"/>
                                  </p:stCondLst>
                                  <p:childTnLst>
                                    <p:set>
                                      <p:cBhvr>
                                        <p:cTn id="49" dur="1" fill="hold">
                                          <p:stCondLst>
                                            <p:cond delay="0"/>
                                          </p:stCondLst>
                                        </p:cTn>
                                        <p:tgtEl>
                                          <p:spTgt spid="107"/>
                                        </p:tgtEl>
                                        <p:attrNameLst>
                                          <p:attrName>style.visibility</p:attrName>
                                        </p:attrNameLst>
                                      </p:cBhvr>
                                      <p:to>
                                        <p:strVal val="visible"/>
                                      </p:to>
                                    </p:set>
                                    <p:animEffect transition="in" filter="fade">
                                      <p:cBhvr>
                                        <p:cTn id="50" dur="500"/>
                                        <p:tgtEl>
                                          <p:spTgt spid="107"/>
                                        </p:tgtEl>
                                      </p:cBhvr>
                                    </p:animEffect>
                                  </p:childTnLst>
                                </p:cTn>
                              </p:par>
                              <p:par>
                                <p:cTn id="51" presetID="10" presetClass="entr" presetSubtype="0" fill="hold" nodeType="withEffect">
                                  <p:stCondLst>
                                    <p:cond delay="0"/>
                                  </p:stCondLst>
                                  <p:childTnLst>
                                    <p:set>
                                      <p:cBhvr>
                                        <p:cTn id="52" dur="1" fill="hold">
                                          <p:stCondLst>
                                            <p:cond delay="0"/>
                                          </p:stCondLst>
                                        </p:cTn>
                                        <p:tgtEl>
                                          <p:spTgt spid="112"/>
                                        </p:tgtEl>
                                        <p:attrNameLst>
                                          <p:attrName>style.visibility</p:attrName>
                                        </p:attrNameLst>
                                      </p:cBhvr>
                                      <p:to>
                                        <p:strVal val="visible"/>
                                      </p:to>
                                    </p:set>
                                    <p:animEffect transition="in" filter="fade">
                                      <p:cBhvr>
                                        <p:cTn id="53" dur="500"/>
                                        <p:tgtEl>
                                          <p:spTgt spid="112"/>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1030"/>
                                        </p:tgtEl>
                                        <p:attrNameLst>
                                          <p:attrName>style.visibility</p:attrName>
                                        </p:attrNameLst>
                                      </p:cBhvr>
                                      <p:to>
                                        <p:strVal val="visible"/>
                                      </p:to>
                                    </p:set>
                                    <p:animEffect transition="in" filter="fade">
                                      <p:cBhvr>
                                        <p:cTn id="58" dur="50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7521D-9573-DEE0-5B51-AACECBD02228}"/>
              </a:ext>
            </a:extLst>
          </p:cNvPr>
          <p:cNvSpPr>
            <a:spLocks noGrp="1"/>
          </p:cNvSpPr>
          <p:nvPr>
            <p:ph type="title"/>
          </p:nvPr>
        </p:nvSpPr>
        <p:spPr/>
        <p:txBody>
          <a:bodyPr>
            <a:normAutofit fontScale="90000"/>
          </a:bodyPr>
          <a:lstStyle/>
          <a:p>
            <a:r>
              <a:rPr lang="en-US" dirty="0"/>
              <a:t>Example of data integration—hard work but rewards are worth it</a:t>
            </a:r>
          </a:p>
        </p:txBody>
      </p:sp>
      <p:pic>
        <p:nvPicPr>
          <p:cNvPr id="5" name="Content Placeholder 4" descr="A picture containing text, diagram, screenshot, plan&#10;&#10;Description automatically generated">
            <a:extLst>
              <a:ext uri="{FF2B5EF4-FFF2-40B4-BE49-F238E27FC236}">
                <a16:creationId xmlns:a16="http://schemas.microsoft.com/office/drawing/2014/main" id="{D23F8108-63F8-58AA-9C99-13ADFBFA048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7200" y="1219200"/>
            <a:ext cx="8153400" cy="5003172"/>
          </a:xfrm>
        </p:spPr>
      </p:pic>
      <p:sp>
        <p:nvSpPr>
          <p:cNvPr id="6" name="Oval 5">
            <a:extLst>
              <a:ext uri="{FF2B5EF4-FFF2-40B4-BE49-F238E27FC236}">
                <a16:creationId xmlns:a16="http://schemas.microsoft.com/office/drawing/2014/main" id="{43AE6C09-C8AF-F3E2-3329-695B17CAEC50}"/>
              </a:ext>
            </a:extLst>
          </p:cNvPr>
          <p:cNvSpPr/>
          <p:nvPr/>
        </p:nvSpPr>
        <p:spPr>
          <a:xfrm>
            <a:off x="2971800" y="4038600"/>
            <a:ext cx="2895600" cy="2057400"/>
          </a:xfrm>
          <a:prstGeom prst="ellipse">
            <a:avLst/>
          </a:prstGeom>
          <a:solidFill>
            <a:srgbClr val="C00000">
              <a:alpha val="22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75964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9CE8B-8BA0-98BB-BB5A-A7FC429E8F3B}"/>
              </a:ext>
            </a:extLst>
          </p:cNvPr>
          <p:cNvSpPr>
            <a:spLocks noGrp="1"/>
          </p:cNvSpPr>
          <p:nvPr>
            <p:ph type="title"/>
          </p:nvPr>
        </p:nvSpPr>
        <p:spPr/>
        <p:txBody>
          <a:bodyPr/>
          <a:lstStyle/>
          <a:p>
            <a:r>
              <a:rPr lang="en-US" dirty="0"/>
              <a:t>More detailed look </a:t>
            </a:r>
          </a:p>
        </p:txBody>
      </p:sp>
      <p:pic>
        <p:nvPicPr>
          <p:cNvPr id="5" name="Content Placeholder 4" descr="A picture containing text, diagram, screenshot, plan&#10;&#10;Description automatically generated">
            <a:extLst>
              <a:ext uri="{FF2B5EF4-FFF2-40B4-BE49-F238E27FC236}">
                <a16:creationId xmlns:a16="http://schemas.microsoft.com/office/drawing/2014/main" id="{FF1CE1E0-226B-BA15-60FA-207E4A2D29D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49019" y="1431925"/>
            <a:ext cx="7445961" cy="4664075"/>
          </a:xfrm>
        </p:spPr>
      </p:pic>
      <p:sp>
        <p:nvSpPr>
          <p:cNvPr id="6" name="Oval 5">
            <a:extLst>
              <a:ext uri="{FF2B5EF4-FFF2-40B4-BE49-F238E27FC236}">
                <a16:creationId xmlns:a16="http://schemas.microsoft.com/office/drawing/2014/main" id="{D9E52E83-DBB2-3605-89E2-2128353FB394}"/>
              </a:ext>
            </a:extLst>
          </p:cNvPr>
          <p:cNvSpPr/>
          <p:nvPr/>
        </p:nvSpPr>
        <p:spPr>
          <a:xfrm>
            <a:off x="4343400" y="1143000"/>
            <a:ext cx="2514600" cy="3505200"/>
          </a:xfrm>
          <a:prstGeom prst="ellipse">
            <a:avLst/>
          </a:prstGeom>
          <a:solidFill>
            <a:srgbClr val="C00000">
              <a:alpha val="18000"/>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53498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60EAF-4B11-0BC2-A93E-3FFC95710549}"/>
              </a:ext>
            </a:extLst>
          </p:cNvPr>
          <p:cNvSpPr>
            <a:spLocks noGrp="1"/>
          </p:cNvSpPr>
          <p:nvPr>
            <p:ph type="title"/>
          </p:nvPr>
        </p:nvSpPr>
        <p:spPr/>
        <p:txBody>
          <a:bodyPr/>
          <a:lstStyle/>
          <a:p>
            <a:r>
              <a:rPr lang="en-US" sz="2400" dirty="0"/>
              <a:t>How do we design, develop, build and execute better ‘B’ Management Systems</a:t>
            </a:r>
          </a:p>
        </p:txBody>
      </p:sp>
      <p:sp>
        <p:nvSpPr>
          <p:cNvPr id="3" name="Content Placeholder 2">
            <a:extLst>
              <a:ext uri="{FF2B5EF4-FFF2-40B4-BE49-F238E27FC236}">
                <a16:creationId xmlns:a16="http://schemas.microsoft.com/office/drawing/2014/main" id="{FB9495F6-DA68-1D0E-B06D-FFB6B84577E4}"/>
              </a:ext>
            </a:extLst>
          </p:cNvPr>
          <p:cNvSpPr>
            <a:spLocks noGrp="1"/>
          </p:cNvSpPr>
          <p:nvPr>
            <p:ph idx="1"/>
          </p:nvPr>
        </p:nvSpPr>
        <p:spPr/>
        <p:txBody>
          <a:bodyPr/>
          <a:lstStyle/>
          <a:p>
            <a:r>
              <a:rPr lang="en-US" dirty="0"/>
              <a:t>The focus of todays OA 301 Webinar is on Synthesis and Integration:</a:t>
            </a:r>
          </a:p>
          <a:p>
            <a:endParaRPr lang="en-US" dirty="0"/>
          </a:p>
          <a:p>
            <a:pPr lvl="1"/>
            <a:r>
              <a:rPr lang="en-US" dirty="0"/>
              <a:t>Why does this matter, what’s the Purpose, Why is this important?</a:t>
            </a:r>
          </a:p>
          <a:p>
            <a:pPr lvl="1"/>
            <a:endParaRPr lang="en-US" dirty="0"/>
          </a:p>
          <a:p>
            <a:pPr lvl="1"/>
            <a:r>
              <a:rPr lang="en-US" dirty="0"/>
              <a:t>How do we go about Engineering better Management Systems that will drive performance and process improvement faster and better?</a:t>
            </a:r>
          </a:p>
          <a:p>
            <a:pPr marL="446087" lvl="1" indent="0">
              <a:buNone/>
            </a:pPr>
            <a:endParaRPr lang="en-US" dirty="0"/>
          </a:p>
          <a:p>
            <a:pPr lvl="1"/>
            <a:r>
              <a:rPr lang="en-US" dirty="0"/>
              <a:t>What are the system components for a ‘Great’ BPI/</a:t>
            </a:r>
            <a:r>
              <a:rPr lang="en-US" dirty="0" err="1"/>
              <a:t>Org’l</a:t>
            </a:r>
            <a:r>
              <a:rPr lang="en-US" dirty="0"/>
              <a:t> Excellence Program/System that need to be ‘built out’ and integrated?</a:t>
            </a:r>
          </a:p>
          <a:p>
            <a:pPr lvl="1"/>
            <a:endParaRPr lang="en-US" dirty="0"/>
          </a:p>
          <a:p>
            <a:pPr lvl="1"/>
            <a:r>
              <a:rPr lang="en-US" dirty="0"/>
              <a:t>How do we make all this doable, less overwhelming?</a:t>
            </a:r>
          </a:p>
          <a:p>
            <a:pPr lvl="1"/>
            <a:endParaRPr lang="en-US" dirty="0"/>
          </a:p>
          <a:p>
            <a:pPr lvl="1"/>
            <a:r>
              <a:rPr lang="en-US" dirty="0"/>
              <a:t>What are the Pragmatic First Steps?</a:t>
            </a:r>
          </a:p>
          <a:p>
            <a:pPr lvl="1"/>
            <a:endParaRPr lang="en-US" dirty="0"/>
          </a:p>
          <a:p>
            <a:pPr lvl="1"/>
            <a:r>
              <a:rPr lang="en-US" dirty="0"/>
              <a:t>On to an ISE view of AI…..</a:t>
            </a:r>
          </a:p>
        </p:txBody>
      </p:sp>
      <p:sp>
        <p:nvSpPr>
          <p:cNvPr id="4" name="Rectangle: Rounded Corners 3">
            <a:extLst>
              <a:ext uri="{FF2B5EF4-FFF2-40B4-BE49-F238E27FC236}">
                <a16:creationId xmlns:a16="http://schemas.microsoft.com/office/drawing/2014/main" id="{F9C14737-400F-AD0C-2BAA-D809C411A7DF}"/>
              </a:ext>
            </a:extLst>
          </p:cNvPr>
          <p:cNvSpPr/>
          <p:nvPr/>
        </p:nvSpPr>
        <p:spPr bwMode="auto">
          <a:xfrm>
            <a:off x="304800" y="3886200"/>
            <a:ext cx="7772400" cy="1143000"/>
          </a:xfrm>
          <a:prstGeom prst="roundRect">
            <a:avLst/>
          </a:prstGeom>
          <a:solidFill>
            <a:schemeClr val="accent1">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10260426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5C2313-DA73-5012-654E-0A175805BA93}"/>
              </a:ext>
            </a:extLst>
          </p:cNvPr>
          <p:cNvSpPr>
            <a:spLocks noGrp="1"/>
          </p:cNvSpPr>
          <p:nvPr>
            <p:ph type="title"/>
          </p:nvPr>
        </p:nvSpPr>
        <p:spPr/>
        <p:txBody>
          <a:bodyPr/>
          <a:lstStyle/>
          <a:p>
            <a:r>
              <a:rPr lang="en-US" dirty="0"/>
              <a:t>Pragmatic first steps, baby steps…</a:t>
            </a:r>
          </a:p>
        </p:txBody>
      </p:sp>
      <p:sp>
        <p:nvSpPr>
          <p:cNvPr id="3" name="Content Placeholder 2">
            <a:extLst>
              <a:ext uri="{FF2B5EF4-FFF2-40B4-BE49-F238E27FC236}">
                <a16:creationId xmlns:a16="http://schemas.microsoft.com/office/drawing/2014/main" id="{319B8EB8-A4D1-6475-F47B-52CF973CE61D}"/>
              </a:ext>
            </a:extLst>
          </p:cNvPr>
          <p:cNvSpPr>
            <a:spLocks noGrp="1"/>
          </p:cNvSpPr>
          <p:nvPr>
            <p:ph idx="1"/>
          </p:nvPr>
        </p:nvSpPr>
        <p:spPr>
          <a:xfrm>
            <a:off x="381000" y="990600"/>
            <a:ext cx="8229600" cy="5410200"/>
          </a:xfrm>
        </p:spPr>
        <p:txBody>
          <a:bodyPr/>
          <a:lstStyle/>
          <a:p>
            <a:r>
              <a:rPr lang="en-US" dirty="0"/>
              <a:t> At first glance, this is complex and overwhelming.</a:t>
            </a:r>
          </a:p>
          <a:p>
            <a:endParaRPr lang="en-US" dirty="0"/>
          </a:p>
          <a:p>
            <a:r>
              <a:rPr lang="en-US" dirty="0"/>
              <a:t>Once you wrap your heads around the concept design, most find it to be doable, there are tailored migration strategies and paths that even SME’s can cope with and succeed with.</a:t>
            </a:r>
          </a:p>
          <a:p>
            <a:endParaRPr lang="en-US" dirty="0"/>
          </a:p>
          <a:p>
            <a:r>
              <a:rPr lang="en-US" dirty="0"/>
              <a:t>I think it starts with the leadership acknowledging that a ‘B’ (BPI, Op Ex) component is required in the Leadership and Management infrastructure.  A SVP of BPI as example.  Making systematic ‘B’ a priority in the organizations strategy is an early requirement.</a:t>
            </a:r>
          </a:p>
          <a:p>
            <a:endParaRPr lang="en-US" dirty="0"/>
          </a:p>
          <a:p>
            <a:r>
              <a:rPr lang="en-US" dirty="0"/>
              <a:t>Then picking the right people to lead and develop the ‘B’ team is a critical to success requirement.  Get the ‘B’ infrastructure right!!</a:t>
            </a:r>
          </a:p>
          <a:p>
            <a:endParaRPr lang="en-US" dirty="0"/>
          </a:p>
          <a:p>
            <a:r>
              <a:rPr lang="en-US" dirty="0"/>
              <a:t>Then augmenting the ‘B’ team with expert strategy guidance can often, is usually helpful to ensure things get jump started and launched effectively and efficiently.</a:t>
            </a:r>
          </a:p>
          <a:p>
            <a:endParaRPr lang="en-US" dirty="0"/>
          </a:p>
          <a:p>
            <a:endParaRPr lang="en-US" dirty="0"/>
          </a:p>
        </p:txBody>
      </p:sp>
    </p:spTree>
    <p:extLst>
      <p:ext uri="{BB962C8B-B14F-4D97-AF65-F5344CB8AC3E}">
        <p14:creationId xmlns:p14="http://schemas.microsoft.com/office/powerpoint/2010/main" val="423649037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ChangeArrowheads="1"/>
          </p:cNvSpPr>
          <p:nvPr/>
        </p:nvSpPr>
        <p:spPr bwMode="auto">
          <a:xfrm>
            <a:off x="0" y="5105400"/>
            <a:ext cx="9144000" cy="1752600"/>
          </a:xfrm>
          <a:prstGeom prst="rect">
            <a:avLst/>
          </a:prstGeom>
          <a:solidFill>
            <a:srgbClr val="33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defRPr/>
            </a:pPr>
            <a:endParaRPr lang="en-US">
              <a:solidFill>
                <a:srgbClr val="000000"/>
              </a:solidFill>
            </a:endParaRPr>
          </a:p>
        </p:txBody>
      </p:sp>
      <p:sp>
        <p:nvSpPr>
          <p:cNvPr id="381955" name="Rectangle 3"/>
          <p:cNvSpPr>
            <a:spLocks noGrp="1" noChangeArrowheads="1"/>
          </p:cNvSpPr>
          <p:nvPr>
            <p:ph type="title"/>
          </p:nvPr>
        </p:nvSpPr>
        <p:spPr>
          <a:xfrm>
            <a:off x="0" y="0"/>
            <a:ext cx="9144000" cy="1066800"/>
          </a:xfrm>
          <a:solidFill>
            <a:schemeClr val="tx1">
              <a:lumMod val="50000"/>
              <a:lumOff val="50000"/>
            </a:schemeClr>
          </a:solidFill>
        </p:spPr>
        <p:txBody>
          <a:bodyPr/>
          <a:lstStyle/>
          <a:p>
            <a:pPr algn="ctr">
              <a:defRPr/>
            </a:pPr>
            <a:r>
              <a:rPr lang="en-US" sz="2000" dirty="0">
                <a:solidFill>
                  <a:schemeClr val="bg1"/>
                </a:solidFill>
              </a:rPr>
              <a:t>I was recruited to lead the Operational Excellence ‘Plank’ in the MDS Enterprise Transformation in 2004 (reported to President of Enterprise Services)</a:t>
            </a:r>
          </a:p>
        </p:txBody>
      </p:sp>
      <p:grpSp>
        <p:nvGrpSpPr>
          <p:cNvPr id="2" name="Group 4"/>
          <p:cNvGrpSpPr>
            <a:grpSpLocks/>
          </p:cNvGrpSpPr>
          <p:nvPr/>
        </p:nvGrpSpPr>
        <p:grpSpPr bwMode="auto">
          <a:xfrm>
            <a:off x="631825" y="990600"/>
            <a:ext cx="8512175" cy="407988"/>
            <a:chOff x="431" y="758"/>
            <a:chExt cx="5329" cy="257"/>
          </a:xfrm>
        </p:grpSpPr>
        <p:sp>
          <p:nvSpPr>
            <p:cNvPr id="32799" name="Text Box 5"/>
            <p:cNvSpPr txBox="1">
              <a:spLocks noChangeArrowheads="1"/>
            </p:cNvSpPr>
            <p:nvPr/>
          </p:nvSpPr>
          <p:spPr bwMode="auto">
            <a:xfrm>
              <a:off x="4352" y="758"/>
              <a:ext cx="79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1" hangingPunct="1">
                <a:defRPr/>
              </a:pPr>
              <a:r>
                <a:rPr lang="en-US" sz="1400" b="1">
                  <a:solidFill>
                    <a:srgbClr val="FF9966"/>
                  </a:solidFill>
                  <a:latin typeface="Tahoma" pitchFamily="34" charset="0"/>
                </a:rPr>
                <a:t>Outcomes</a:t>
              </a:r>
            </a:p>
          </p:txBody>
        </p:sp>
        <p:sp>
          <p:nvSpPr>
            <p:cNvPr id="32800" name="Text Box 6"/>
            <p:cNvSpPr txBox="1">
              <a:spLocks noChangeArrowheads="1"/>
            </p:cNvSpPr>
            <p:nvPr/>
          </p:nvSpPr>
          <p:spPr bwMode="auto">
            <a:xfrm>
              <a:off x="2407" y="774"/>
              <a:ext cx="79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400">
                  <a:solidFill>
                    <a:schemeClr val="tx1"/>
                  </a:solidFill>
                  <a:latin typeface="Times"/>
                </a:defRPr>
              </a:lvl1pPr>
              <a:lvl2pPr marL="742950" indent="-285750">
                <a:defRPr sz="2400">
                  <a:solidFill>
                    <a:schemeClr val="tx1"/>
                  </a:solidFill>
                  <a:latin typeface="Times"/>
                </a:defRPr>
              </a:lvl2pPr>
              <a:lvl3pPr marL="1143000" indent="-228600">
                <a:defRPr sz="2400">
                  <a:solidFill>
                    <a:schemeClr val="tx1"/>
                  </a:solidFill>
                  <a:latin typeface="Times"/>
                </a:defRPr>
              </a:lvl3pPr>
              <a:lvl4pPr marL="1600200" indent="-228600">
                <a:defRPr sz="2400">
                  <a:solidFill>
                    <a:schemeClr val="tx1"/>
                  </a:solidFill>
                  <a:latin typeface="Times"/>
                </a:defRPr>
              </a:lvl4pPr>
              <a:lvl5pPr marL="2057400" indent="-228600">
                <a:defRPr sz="2400">
                  <a:solidFill>
                    <a:schemeClr val="tx1"/>
                  </a:solidFill>
                  <a:latin typeface="Times"/>
                </a:defRPr>
              </a:lvl5pPr>
              <a:lvl6pPr marL="2514600" indent="-228600" eaLnBrk="0" fontAlgn="base" hangingPunct="0">
                <a:spcBef>
                  <a:spcPct val="0"/>
                </a:spcBef>
                <a:spcAft>
                  <a:spcPct val="0"/>
                </a:spcAft>
                <a:defRPr sz="2400">
                  <a:solidFill>
                    <a:schemeClr val="tx1"/>
                  </a:solidFill>
                  <a:latin typeface="Times"/>
                </a:defRPr>
              </a:lvl6pPr>
              <a:lvl7pPr marL="2971800" indent="-228600" eaLnBrk="0" fontAlgn="base" hangingPunct="0">
                <a:spcBef>
                  <a:spcPct val="0"/>
                </a:spcBef>
                <a:spcAft>
                  <a:spcPct val="0"/>
                </a:spcAft>
                <a:defRPr sz="2400">
                  <a:solidFill>
                    <a:schemeClr val="tx1"/>
                  </a:solidFill>
                  <a:latin typeface="Times"/>
                </a:defRPr>
              </a:lvl7pPr>
              <a:lvl8pPr marL="3429000" indent="-228600" eaLnBrk="0" fontAlgn="base" hangingPunct="0">
                <a:spcBef>
                  <a:spcPct val="0"/>
                </a:spcBef>
                <a:spcAft>
                  <a:spcPct val="0"/>
                </a:spcAft>
                <a:defRPr sz="2400">
                  <a:solidFill>
                    <a:schemeClr val="tx1"/>
                  </a:solidFill>
                  <a:latin typeface="Times"/>
                </a:defRPr>
              </a:lvl8pPr>
              <a:lvl9pPr marL="3886200" indent="-228600" eaLnBrk="0" fontAlgn="base" hangingPunct="0">
                <a:spcBef>
                  <a:spcPct val="0"/>
                </a:spcBef>
                <a:spcAft>
                  <a:spcPct val="0"/>
                </a:spcAft>
                <a:defRPr sz="2400">
                  <a:solidFill>
                    <a:schemeClr val="tx1"/>
                  </a:solidFill>
                  <a:latin typeface="Times"/>
                </a:defRPr>
              </a:lvl9pPr>
            </a:lstStyle>
            <a:p>
              <a:pPr algn="ctr" eaLnBrk="1" hangingPunct="1">
                <a:defRPr/>
              </a:pPr>
              <a:r>
                <a:rPr lang="en-US" sz="1400" b="1">
                  <a:solidFill>
                    <a:srgbClr val="FF9966"/>
                  </a:solidFill>
                  <a:latin typeface="Tahoma" pitchFamily="34" charset="0"/>
                </a:rPr>
                <a:t>Process</a:t>
              </a:r>
            </a:p>
          </p:txBody>
        </p:sp>
        <p:sp>
          <p:nvSpPr>
            <p:cNvPr id="32801" name="Line 7"/>
            <p:cNvSpPr>
              <a:spLocks noChangeShapeType="1"/>
            </p:cNvSpPr>
            <p:nvPr/>
          </p:nvSpPr>
          <p:spPr bwMode="auto">
            <a:xfrm flipH="1">
              <a:off x="431" y="1015"/>
              <a:ext cx="5329" cy="0"/>
            </a:xfrm>
            <a:prstGeom prst="line">
              <a:avLst/>
            </a:prstGeom>
            <a:noFill/>
            <a:ln w="381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a:solidFill>
                  <a:srgbClr val="000000"/>
                </a:solidFill>
              </a:endParaRPr>
            </a:p>
          </p:txBody>
        </p:sp>
      </p:grpSp>
      <p:grpSp>
        <p:nvGrpSpPr>
          <p:cNvPr id="3" name="Group 8"/>
          <p:cNvGrpSpPr>
            <a:grpSpLocks/>
          </p:cNvGrpSpPr>
          <p:nvPr/>
        </p:nvGrpSpPr>
        <p:grpSpPr bwMode="auto">
          <a:xfrm>
            <a:off x="0" y="1539875"/>
            <a:ext cx="9144000" cy="966788"/>
            <a:chOff x="0" y="1104"/>
            <a:chExt cx="5760" cy="609"/>
          </a:xfrm>
        </p:grpSpPr>
        <p:sp>
          <p:nvSpPr>
            <p:cNvPr id="32793" name="Line 9"/>
            <p:cNvSpPr>
              <a:spLocks noChangeShapeType="1"/>
            </p:cNvSpPr>
            <p:nvPr/>
          </p:nvSpPr>
          <p:spPr bwMode="auto">
            <a:xfrm flipH="1">
              <a:off x="0" y="1713"/>
              <a:ext cx="5760" cy="0"/>
            </a:xfrm>
            <a:prstGeom prst="line">
              <a:avLst/>
            </a:prstGeom>
            <a:noFill/>
            <a:ln w="381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a:solidFill>
                  <a:srgbClr val="000000"/>
                </a:solidFill>
              </a:endParaRPr>
            </a:p>
          </p:txBody>
        </p:sp>
        <p:sp>
          <p:nvSpPr>
            <p:cNvPr id="32794" name="Rectangle 10"/>
            <p:cNvSpPr>
              <a:spLocks noChangeArrowheads="1"/>
            </p:cNvSpPr>
            <p:nvPr/>
          </p:nvSpPr>
          <p:spPr bwMode="auto">
            <a:xfrm>
              <a:off x="1997" y="1201"/>
              <a:ext cx="1345"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p>
              <a:pPr marL="179388" indent="-179388" eaLnBrk="1" hangingPunct="1">
                <a:spcBef>
                  <a:spcPct val="30000"/>
                </a:spcBef>
                <a:buClr>
                  <a:srgbClr val="996600"/>
                </a:buClr>
                <a:buFont typeface="Wingdings" pitchFamily="2" charset="2"/>
                <a:buChar char=""/>
                <a:defRPr/>
              </a:pPr>
              <a:r>
                <a:rPr lang="en-US" sz="1200">
                  <a:solidFill>
                    <a:srgbClr val="000000"/>
                  </a:solidFill>
                </a:rPr>
                <a:t>Weekly EMT teleconferences</a:t>
              </a:r>
            </a:p>
            <a:p>
              <a:pPr marL="179388" indent="-179388" eaLnBrk="1" hangingPunct="1">
                <a:spcBef>
                  <a:spcPct val="30000"/>
                </a:spcBef>
                <a:buClr>
                  <a:srgbClr val="996600"/>
                </a:buClr>
                <a:buFont typeface="Wingdings" pitchFamily="2" charset="2"/>
                <a:buChar char=""/>
                <a:defRPr/>
              </a:pPr>
              <a:r>
                <a:rPr lang="en-US" sz="1200">
                  <a:solidFill>
                    <a:srgbClr val="000000"/>
                  </a:solidFill>
                </a:rPr>
                <a:t>Monthly business reviews</a:t>
              </a:r>
            </a:p>
            <a:p>
              <a:pPr marL="179388" indent="-179388" eaLnBrk="1" hangingPunct="1">
                <a:spcBef>
                  <a:spcPct val="30000"/>
                </a:spcBef>
                <a:buClr>
                  <a:srgbClr val="996600"/>
                </a:buClr>
                <a:buFont typeface="Wingdings" pitchFamily="2" charset="2"/>
                <a:buChar char=""/>
                <a:defRPr/>
              </a:pPr>
              <a:r>
                <a:rPr lang="en-US" sz="1200">
                  <a:solidFill>
                    <a:srgbClr val="000000"/>
                  </a:solidFill>
                </a:rPr>
                <a:t>Disciplined annual plans                 </a:t>
              </a:r>
            </a:p>
          </p:txBody>
        </p:sp>
        <p:sp>
          <p:nvSpPr>
            <p:cNvPr id="32795" name="Rectangle 11"/>
            <p:cNvSpPr>
              <a:spLocks noChangeArrowheads="1"/>
            </p:cNvSpPr>
            <p:nvPr/>
          </p:nvSpPr>
          <p:spPr bwMode="auto">
            <a:xfrm>
              <a:off x="3832" y="1201"/>
              <a:ext cx="1258"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p>
              <a:pPr marL="179388" indent="-179388" eaLnBrk="1" hangingPunct="1">
                <a:spcBef>
                  <a:spcPct val="30000"/>
                </a:spcBef>
                <a:buClr>
                  <a:srgbClr val="996600"/>
                </a:buClr>
                <a:buFont typeface="Wingdings" pitchFamily="2" charset="2"/>
                <a:buChar char=""/>
                <a:defRPr/>
              </a:pPr>
              <a:r>
                <a:rPr lang="en-US" sz="1200">
                  <a:solidFill>
                    <a:srgbClr val="000000"/>
                  </a:solidFill>
                </a:rPr>
                <a:t>Action oriented decision making </a:t>
              </a:r>
            </a:p>
            <a:p>
              <a:pPr marL="179388" indent="-179388" eaLnBrk="1" hangingPunct="1">
                <a:spcBef>
                  <a:spcPct val="30000"/>
                </a:spcBef>
                <a:buClr>
                  <a:srgbClr val="996600"/>
                </a:buClr>
                <a:buFont typeface="Wingdings" pitchFamily="2" charset="2"/>
                <a:buChar char=""/>
                <a:defRPr/>
              </a:pPr>
              <a:r>
                <a:rPr lang="en-US" sz="1200">
                  <a:solidFill>
                    <a:srgbClr val="000000"/>
                  </a:solidFill>
                </a:rPr>
                <a:t>Tighter accountability</a:t>
              </a:r>
            </a:p>
            <a:p>
              <a:pPr marL="179388" indent="-179388" eaLnBrk="1" hangingPunct="1">
                <a:spcBef>
                  <a:spcPct val="30000"/>
                </a:spcBef>
                <a:buClr>
                  <a:srgbClr val="996600"/>
                </a:buClr>
                <a:buFont typeface="Wingdings" pitchFamily="2" charset="2"/>
                <a:buChar char=""/>
                <a:defRPr/>
              </a:pPr>
              <a:r>
                <a:rPr lang="en-US" sz="1200">
                  <a:solidFill>
                    <a:srgbClr val="000000"/>
                  </a:solidFill>
                </a:rPr>
                <a:t>Customer responsive</a:t>
              </a:r>
            </a:p>
          </p:txBody>
        </p:sp>
        <p:grpSp>
          <p:nvGrpSpPr>
            <p:cNvPr id="65564" name="Group 12"/>
            <p:cNvGrpSpPr>
              <a:grpSpLocks/>
            </p:cNvGrpSpPr>
            <p:nvPr/>
          </p:nvGrpSpPr>
          <p:grpSpPr bwMode="auto">
            <a:xfrm>
              <a:off x="567" y="1104"/>
              <a:ext cx="1237" cy="520"/>
              <a:chOff x="567" y="1146"/>
              <a:chExt cx="1237" cy="520"/>
            </a:xfrm>
          </p:grpSpPr>
          <p:sp>
            <p:nvSpPr>
              <p:cNvPr id="32797" name="Rectangle 13"/>
              <p:cNvSpPr>
                <a:spLocks noChangeArrowheads="1"/>
              </p:cNvSpPr>
              <p:nvPr/>
            </p:nvSpPr>
            <p:spPr bwMode="auto">
              <a:xfrm>
                <a:off x="975" y="1146"/>
                <a:ext cx="829"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lgn="ctr">
                    <a:solidFill>
                      <a:srgbClr val="000000"/>
                    </a:solidFill>
                    <a:miter lim="800000"/>
                    <a:headEnd/>
                    <a:tailEnd/>
                  </a14:hiddenLine>
                </a:ext>
              </a:extLst>
            </p:spPr>
            <p:txBody>
              <a:bodyPr wrap="none">
                <a:spAutoFit/>
              </a:bodyPr>
              <a:lstStyle/>
              <a:p>
                <a:pPr eaLnBrk="1" hangingPunct="1">
                  <a:defRPr/>
                </a:pPr>
                <a:r>
                  <a:rPr lang="en-US" sz="1600">
                    <a:solidFill>
                      <a:srgbClr val="000000"/>
                    </a:solidFill>
                    <a:latin typeface="Tahoma" pitchFamily="34" charset="0"/>
                  </a:rPr>
                  <a:t>Business</a:t>
                </a:r>
                <a:br>
                  <a:rPr lang="en-US" sz="1600">
                    <a:solidFill>
                      <a:srgbClr val="000000"/>
                    </a:solidFill>
                    <a:latin typeface="Tahoma" pitchFamily="34" charset="0"/>
                  </a:rPr>
                </a:br>
                <a:r>
                  <a:rPr lang="en-US" sz="1600">
                    <a:solidFill>
                      <a:srgbClr val="000000"/>
                    </a:solidFill>
                    <a:latin typeface="Tahoma" pitchFamily="34" charset="0"/>
                  </a:rPr>
                  <a:t>Performance</a:t>
                </a:r>
                <a:br>
                  <a:rPr lang="en-US" sz="1600">
                    <a:solidFill>
                      <a:srgbClr val="000000"/>
                    </a:solidFill>
                    <a:latin typeface="Tahoma" pitchFamily="34" charset="0"/>
                  </a:rPr>
                </a:br>
                <a:r>
                  <a:rPr lang="en-US" sz="1600">
                    <a:solidFill>
                      <a:srgbClr val="000000"/>
                    </a:solidFill>
                    <a:latin typeface="Tahoma" pitchFamily="34" charset="0"/>
                  </a:rPr>
                  <a:t>Reviews</a:t>
                </a:r>
              </a:p>
            </p:txBody>
          </p:sp>
          <p:pic>
            <p:nvPicPr>
              <p:cNvPr id="65566" name="Picture 14" descr="boardroom"/>
              <p:cNvPicPr>
                <a:picLocks noChangeAspect="1" noChangeArrowheads="1"/>
              </p:cNvPicPr>
              <p:nvPr/>
            </p:nvPicPr>
            <p:blipFill>
              <a:blip r:embed="rId3">
                <a:extLst>
                  <a:ext uri="{28A0092B-C50C-407E-A947-70E740481C1C}">
                    <a14:useLocalDpi xmlns:a14="http://schemas.microsoft.com/office/drawing/2010/main" val="0"/>
                  </a:ext>
                </a:extLst>
              </a:blip>
              <a:srcRect t="39499" b="19048"/>
              <a:stretch>
                <a:fillRect/>
              </a:stretch>
            </p:blipFill>
            <p:spPr bwMode="auto">
              <a:xfrm>
                <a:off x="567" y="1207"/>
                <a:ext cx="297" cy="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5" name="Group 15"/>
          <p:cNvGrpSpPr>
            <a:grpSpLocks/>
          </p:cNvGrpSpPr>
          <p:nvPr/>
        </p:nvGrpSpPr>
        <p:grpSpPr bwMode="auto">
          <a:xfrm>
            <a:off x="0" y="2782888"/>
            <a:ext cx="9144000" cy="1258887"/>
            <a:chOff x="0" y="1887"/>
            <a:chExt cx="5760" cy="793"/>
          </a:xfrm>
        </p:grpSpPr>
        <p:sp>
          <p:nvSpPr>
            <p:cNvPr id="32787" name="Rectangle 16"/>
            <p:cNvSpPr>
              <a:spLocks noChangeArrowheads="1"/>
            </p:cNvSpPr>
            <p:nvPr/>
          </p:nvSpPr>
          <p:spPr bwMode="auto">
            <a:xfrm>
              <a:off x="3832" y="1887"/>
              <a:ext cx="1390" cy="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p>
              <a:pPr marL="179388" indent="-179388" eaLnBrk="1" hangingPunct="1">
                <a:spcBef>
                  <a:spcPct val="30000"/>
                </a:spcBef>
                <a:buClr>
                  <a:srgbClr val="996600"/>
                </a:buClr>
                <a:buFont typeface="Wingdings" pitchFamily="2" charset="2"/>
                <a:buChar char=""/>
                <a:defRPr/>
              </a:pPr>
              <a:r>
                <a:rPr lang="en-US" sz="1200">
                  <a:solidFill>
                    <a:srgbClr val="000000"/>
                  </a:solidFill>
                </a:rPr>
                <a:t>Better understanding of “A” </a:t>
              </a:r>
              <a:br>
                <a:rPr lang="en-US" sz="1200">
                  <a:solidFill>
                    <a:srgbClr val="000000"/>
                  </a:solidFill>
                </a:rPr>
              </a:br>
              <a:r>
                <a:rPr lang="en-US" sz="1200">
                  <a:solidFill>
                    <a:srgbClr val="000000"/>
                  </a:solidFill>
                </a:rPr>
                <a:t>performers; enriched career path</a:t>
              </a:r>
            </a:p>
            <a:p>
              <a:pPr marL="179388" indent="-179388" eaLnBrk="1" hangingPunct="1">
                <a:spcBef>
                  <a:spcPct val="30000"/>
                </a:spcBef>
                <a:buClr>
                  <a:srgbClr val="996600"/>
                </a:buClr>
                <a:buFont typeface="Wingdings" pitchFamily="2" charset="2"/>
                <a:buChar char=""/>
                <a:defRPr/>
              </a:pPr>
              <a:r>
                <a:rPr lang="en-US" sz="1200">
                  <a:solidFill>
                    <a:srgbClr val="000000"/>
                  </a:solidFill>
                </a:rPr>
                <a:t>Expansion of variable compensation</a:t>
              </a:r>
              <a:br>
                <a:rPr lang="en-US" sz="1200">
                  <a:solidFill>
                    <a:srgbClr val="000000"/>
                  </a:solidFill>
                </a:rPr>
              </a:br>
              <a:r>
                <a:rPr lang="en-US" sz="1200">
                  <a:solidFill>
                    <a:srgbClr val="000000"/>
                  </a:solidFill>
                </a:rPr>
                <a:t>opportunity</a:t>
              </a:r>
            </a:p>
            <a:p>
              <a:pPr marL="179388" indent="-179388" eaLnBrk="1" hangingPunct="1">
                <a:spcBef>
                  <a:spcPct val="30000"/>
                </a:spcBef>
                <a:buClr>
                  <a:srgbClr val="996600"/>
                </a:buClr>
                <a:buFont typeface="Wingdings" pitchFamily="2" charset="2"/>
                <a:buChar char=""/>
                <a:defRPr/>
              </a:pPr>
              <a:r>
                <a:rPr lang="en-US" sz="1200">
                  <a:solidFill>
                    <a:srgbClr val="000000"/>
                  </a:solidFill>
                </a:rPr>
                <a:t>Alignment of shareholder and </a:t>
              </a:r>
              <a:br>
                <a:rPr lang="en-US" sz="1200">
                  <a:solidFill>
                    <a:srgbClr val="000000"/>
                  </a:solidFill>
                </a:rPr>
              </a:br>
              <a:r>
                <a:rPr lang="en-US" sz="1200">
                  <a:solidFill>
                    <a:srgbClr val="000000"/>
                  </a:solidFill>
                </a:rPr>
                <a:t>management incentives</a:t>
              </a:r>
            </a:p>
          </p:txBody>
        </p:sp>
        <p:sp>
          <p:nvSpPr>
            <p:cNvPr id="32788" name="Rectangle 17"/>
            <p:cNvSpPr>
              <a:spLocks noChangeArrowheads="1"/>
            </p:cNvSpPr>
            <p:nvPr/>
          </p:nvSpPr>
          <p:spPr bwMode="auto">
            <a:xfrm>
              <a:off x="1997" y="2088"/>
              <a:ext cx="1320" cy="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p>
              <a:pPr marL="179388" indent="-179388" eaLnBrk="1" hangingPunct="1">
                <a:spcBef>
                  <a:spcPct val="30000"/>
                </a:spcBef>
                <a:buClr>
                  <a:srgbClr val="996600"/>
                </a:buClr>
                <a:buFont typeface="Wingdings" pitchFamily="2" charset="2"/>
                <a:buChar char=""/>
                <a:defRPr/>
              </a:pPr>
              <a:r>
                <a:rPr lang="en-US" sz="1200">
                  <a:solidFill>
                    <a:srgbClr val="000000"/>
                  </a:solidFill>
                </a:rPr>
                <a:t>Biannual talent reviews</a:t>
              </a:r>
            </a:p>
            <a:p>
              <a:pPr marL="179388" indent="-179388" eaLnBrk="1" hangingPunct="1">
                <a:spcBef>
                  <a:spcPct val="30000"/>
                </a:spcBef>
                <a:buClr>
                  <a:srgbClr val="996600"/>
                </a:buClr>
                <a:buFont typeface="Wingdings" pitchFamily="2" charset="2"/>
                <a:buChar char=""/>
                <a:defRPr/>
              </a:pPr>
              <a:r>
                <a:rPr lang="en-US" sz="1200">
                  <a:solidFill>
                    <a:srgbClr val="000000"/>
                  </a:solidFill>
                </a:rPr>
                <a:t>New executive compensation plan</a:t>
              </a:r>
            </a:p>
          </p:txBody>
        </p:sp>
        <p:sp>
          <p:nvSpPr>
            <p:cNvPr id="32789" name="Line 18"/>
            <p:cNvSpPr>
              <a:spLocks noChangeShapeType="1"/>
            </p:cNvSpPr>
            <p:nvPr/>
          </p:nvSpPr>
          <p:spPr bwMode="auto">
            <a:xfrm flipH="1">
              <a:off x="0" y="2680"/>
              <a:ext cx="5760" cy="0"/>
            </a:xfrm>
            <a:prstGeom prst="line">
              <a:avLst/>
            </a:prstGeom>
            <a:noFill/>
            <a:ln w="381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a:solidFill>
                  <a:srgbClr val="000000"/>
                </a:solidFill>
              </a:endParaRPr>
            </a:p>
          </p:txBody>
        </p:sp>
        <p:grpSp>
          <p:nvGrpSpPr>
            <p:cNvPr id="65558" name="Group 19"/>
            <p:cNvGrpSpPr>
              <a:grpSpLocks/>
            </p:cNvGrpSpPr>
            <p:nvPr/>
          </p:nvGrpSpPr>
          <p:grpSpPr bwMode="auto">
            <a:xfrm>
              <a:off x="567" y="1998"/>
              <a:ext cx="1255" cy="392"/>
              <a:chOff x="567" y="2024"/>
              <a:chExt cx="1255" cy="392"/>
            </a:xfrm>
          </p:grpSpPr>
          <p:sp>
            <p:nvSpPr>
              <p:cNvPr id="32791" name="Rectangle 20"/>
              <p:cNvSpPr>
                <a:spLocks noChangeArrowheads="1"/>
              </p:cNvSpPr>
              <p:nvPr/>
            </p:nvSpPr>
            <p:spPr bwMode="auto">
              <a:xfrm>
                <a:off x="975" y="2031"/>
                <a:ext cx="847" cy="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lgn="ctr">
                    <a:solidFill>
                      <a:srgbClr val="000000"/>
                    </a:solidFill>
                    <a:miter lim="800000"/>
                    <a:headEnd/>
                    <a:tailEnd/>
                  </a14:hiddenLine>
                </a:ext>
              </a:extLst>
            </p:spPr>
            <p:txBody>
              <a:bodyPr wrap="none">
                <a:spAutoFit/>
              </a:bodyPr>
              <a:lstStyle/>
              <a:p>
                <a:pPr eaLnBrk="1" hangingPunct="1">
                  <a:defRPr/>
                </a:pPr>
                <a:r>
                  <a:rPr lang="en-US" sz="1600">
                    <a:solidFill>
                      <a:srgbClr val="000000"/>
                    </a:solidFill>
                    <a:latin typeface="Tahoma" pitchFamily="34" charset="0"/>
                  </a:rPr>
                  <a:t>Talent </a:t>
                </a:r>
                <a:br>
                  <a:rPr lang="en-US" sz="1600">
                    <a:solidFill>
                      <a:srgbClr val="000000"/>
                    </a:solidFill>
                    <a:latin typeface="Tahoma" pitchFamily="34" charset="0"/>
                  </a:rPr>
                </a:br>
                <a:r>
                  <a:rPr lang="en-US" sz="1600">
                    <a:solidFill>
                      <a:srgbClr val="000000"/>
                    </a:solidFill>
                    <a:latin typeface="Tahoma" pitchFamily="34" charset="0"/>
                  </a:rPr>
                  <a:t>Management</a:t>
                </a:r>
              </a:p>
            </p:txBody>
          </p:sp>
          <p:pic>
            <p:nvPicPr>
              <p:cNvPr id="65560" name="Picture 21" descr="200136208-001"/>
              <p:cNvPicPr>
                <a:picLocks noChangeAspect="1" noChangeArrowheads="1"/>
              </p:cNvPicPr>
              <p:nvPr/>
            </p:nvPicPr>
            <p:blipFill>
              <a:blip r:embed="rId4">
                <a:extLst>
                  <a:ext uri="{28A0092B-C50C-407E-A947-70E740481C1C}">
                    <a14:useLocalDpi xmlns:a14="http://schemas.microsoft.com/office/drawing/2010/main" val="0"/>
                  </a:ext>
                </a:extLst>
              </a:blip>
              <a:srcRect l="39764" t="23007" r="9541"/>
              <a:stretch>
                <a:fillRect/>
              </a:stretch>
            </p:blipFill>
            <p:spPr bwMode="auto">
              <a:xfrm>
                <a:off x="567" y="2024"/>
                <a:ext cx="296" cy="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32775" name="Rectangle 22"/>
          <p:cNvSpPr>
            <a:spLocks noChangeArrowheads="1"/>
          </p:cNvSpPr>
          <p:nvPr/>
        </p:nvSpPr>
        <p:spPr bwMode="auto">
          <a:xfrm>
            <a:off x="3170238" y="5326063"/>
            <a:ext cx="2773362" cy="12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marL="179388" indent="-179388" eaLnBrk="1" hangingPunct="1">
              <a:spcBef>
                <a:spcPct val="30000"/>
              </a:spcBef>
              <a:buClr>
                <a:srgbClr val="996600"/>
              </a:buClr>
              <a:buFont typeface="Wingdings" pitchFamily="2" charset="2"/>
              <a:buChar char=""/>
              <a:defRPr/>
            </a:pPr>
            <a:r>
              <a:rPr lang="en-US" sz="1200" b="1">
                <a:solidFill>
                  <a:srgbClr val="FFFFFF"/>
                </a:solidFill>
              </a:rPr>
              <a:t>Lean Sigma Roadmaps and Toolkit</a:t>
            </a:r>
          </a:p>
          <a:p>
            <a:pPr marL="179388" indent="-179388" eaLnBrk="1" hangingPunct="1">
              <a:spcBef>
                <a:spcPct val="30000"/>
              </a:spcBef>
              <a:buClr>
                <a:srgbClr val="996600"/>
              </a:buClr>
              <a:buFont typeface="Wingdings" pitchFamily="2" charset="2"/>
              <a:buChar char=""/>
              <a:defRPr/>
            </a:pPr>
            <a:r>
              <a:rPr lang="en-US" sz="1200" b="1">
                <a:solidFill>
                  <a:srgbClr val="FFFFFF"/>
                </a:solidFill>
              </a:rPr>
              <a:t>Compliance Programs (EHS, Quality, etc.)</a:t>
            </a:r>
          </a:p>
          <a:p>
            <a:pPr marL="179388" indent="-179388" eaLnBrk="1" hangingPunct="1">
              <a:spcBef>
                <a:spcPct val="30000"/>
              </a:spcBef>
              <a:buClr>
                <a:srgbClr val="996600"/>
              </a:buClr>
              <a:buFont typeface="Wingdings" pitchFamily="2" charset="2"/>
              <a:buChar char=""/>
              <a:defRPr/>
            </a:pPr>
            <a:r>
              <a:rPr lang="en-US" sz="1200" b="1">
                <a:solidFill>
                  <a:srgbClr val="FFFFFF"/>
                </a:solidFill>
              </a:rPr>
              <a:t>LeanSigma Practitioner Development</a:t>
            </a:r>
          </a:p>
          <a:p>
            <a:pPr marL="179388" indent="-179388" eaLnBrk="1" hangingPunct="1">
              <a:spcBef>
                <a:spcPct val="30000"/>
              </a:spcBef>
              <a:buClr>
                <a:srgbClr val="996600"/>
              </a:buClr>
              <a:buFont typeface="Wingdings" pitchFamily="2" charset="2"/>
              <a:buChar char=""/>
              <a:defRPr/>
            </a:pPr>
            <a:r>
              <a:rPr lang="en-US" sz="1200" b="1">
                <a:solidFill>
                  <a:srgbClr val="FFFFFF"/>
                </a:solidFill>
              </a:rPr>
              <a:t>Balanced Improvement Portfolios </a:t>
            </a:r>
          </a:p>
        </p:txBody>
      </p:sp>
      <p:sp>
        <p:nvSpPr>
          <p:cNvPr id="32776" name="Rectangle 23"/>
          <p:cNvSpPr>
            <a:spLocks noChangeArrowheads="1"/>
          </p:cNvSpPr>
          <p:nvPr/>
        </p:nvSpPr>
        <p:spPr bwMode="auto">
          <a:xfrm>
            <a:off x="6083300" y="5354638"/>
            <a:ext cx="2908300" cy="1274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p>
            <a:pPr marL="179388" indent="-179388" eaLnBrk="1" hangingPunct="1">
              <a:spcBef>
                <a:spcPct val="30000"/>
              </a:spcBef>
              <a:buClr>
                <a:srgbClr val="996600"/>
              </a:buClr>
              <a:buFont typeface="Wingdings" pitchFamily="2" charset="2"/>
              <a:buChar char=""/>
              <a:defRPr/>
            </a:pPr>
            <a:r>
              <a:rPr lang="en-US" sz="1200" b="1">
                <a:solidFill>
                  <a:srgbClr val="FFFFFF"/>
                </a:solidFill>
              </a:rPr>
              <a:t>Standard approach across  the Enterprise</a:t>
            </a:r>
          </a:p>
          <a:p>
            <a:pPr marL="179388" indent="-179388" eaLnBrk="1" hangingPunct="1">
              <a:spcBef>
                <a:spcPct val="30000"/>
              </a:spcBef>
              <a:buClr>
                <a:srgbClr val="996600"/>
              </a:buClr>
              <a:buFont typeface="Wingdings" pitchFamily="2" charset="2"/>
              <a:buChar char=""/>
              <a:defRPr/>
            </a:pPr>
            <a:r>
              <a:rPr lang="en-US" sz="1200" b="1">
                <a:solidFill>
                  <a:srgbClr val="FFFFFF"/>
                </a:solidFill>
              </a:rPr>
              <a:t>Building global quality competitiveness, productivity improvement, process and cost efficiency, compliance and assurance </a:t>
            </a:r>
          </a:p>
          <a:p>
            <a:pPr marL="179388" indent="-179388" eaLnBrk="1" hangingPunct="1">
              <a:spcBef>
                <a:spcPct val="30000"/>
              </a:spcBef>
              <a:buClr>
                <a:srgbClr val="996600"/>
              </a:buClr>
              <a:buFont typeface="Wingdings" pitchFamily="2" charset="2"/>
              <a:buChar char=""/>
              <a:defRPr/>
            </a:pPr>
            <a:r>
              <a:rPr lang="en-US" sz="1200" b="1">
                <a:solidFill>
                  <a:srgbClr val="FFFFFF"/>
                </a:solidFill>
              </a:rPr>
              <a:t>Simplify processes</a:t>
            </a:r>
          </a:p>
          <a:p>
            <a:pPr marL="179388" indent="-179388" eaLnBrk="1" hangingPunct="1">
              <a:spcBef>
                <a:spcPct val="30000"/>
              </a:spcBef>
              <a:buClr>
                <a:srgbClr val="996600"/>
              </a:buClr>
              <a:buFont typeface="Wingdings" pitchFamily="2" charset="2"/>
              <a:buChar char=""/>
              <a:defRPr/>
            </a:pPr>
            <a:r>
              <a:rPr lang="en-US" sz="1200" b="1">
                <a:solidFill>
                  <a:srgbClr val="FFFFFF"/>
                </a:solidFill>
              </a:rPr>
              <a:t>Customer responsive</a:t>
            </a:r>
          </a:p>
        </p:txBody>
      </p:sp>
      <p:grpSp>
        <p:nvGrpSpPr>
          <p:cNvPr id="65545" name="Group 24"/>
          <p:cNvGrpSpPr>
            <a:grpSpLocks/>
          </p:cNvGrpSpPr>
          <p:nvPr/>
        </p:nvGrpSpPr>
        <p:grpSpPr bwMode="auto">
          <a:xfrm>
            <a:off x="900113" y="5483225"/>
            <a:ext cx="2035175" cy="622300"/>
            <a:chOff x="567" y="3612"/>
            <a:chExt cx="1282" cy="392"/>
          </a:xfrm>
        </p:grpSpPr>
        <p:sp>
          <p:nvSpPr>
            <p:cNvPr id="32785" name="Rectangle 25"/>
            <p:cNvSpPr>
              <a:spLocks noChangeArrowheads="1"/>
            </p:cNvSpPr>
            <p:nvPr/>
          </p:nvSpPr>
          <p:spPr bwMode="auto">
            <a:xfrm>
              <a:off x="975" y="3612"/>
              <a:ext cx="874" cy="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lgn="ctr">
                  <a:solidFill>
                    <a:srgbClr val="000000"/>
                  </a:solidFill>
                  <a:miter lim="800000"/>
                  <a:headEnd/>
                  <a:tailEnd/>
                </a14:hiddenLine>
              </a:ext>
            </a:extLst>
          </p:spPr>
          <p:txBody>
            <a:bodyPr wrap="none">
              <a:spAutoFit/>
            </a:bodyPr>
            <a:lstStyle/>
            <a:p>
              <a:pPr eaLnBrk="1" hangingPunct="1">
                <a:defRPr/>
              </a:pPr>
              <a:r>
                <a:rPr lang="en-US" sz="1600" b="1">
                  <a:solidFill>
                    <a:srgbClr val="FFFFFF"/>
                  </a:solidFill>
                  <a:latin typeface="Tahoma" pitchFamily="34" charset="0"/>
                </a:rPr>
                <a:t>Operational</a:t>
              </a:r>
              <a:br>
                <a:rPr lang="en-US" sz="1600" b="1">
                  <a:solidFill>
                    <a:srgbClr val="FFFFFF"/>
                  </a:solidFill>
                  <a:latin typeface="Tahoma" pitchFamily="34" charset="0"/>
                </a:rPr>
              </a:br>
              <a:r>
                <a:rPr lang="en-US" sz="1600" b="1">
                  <a:solidFill>
                    <a:srgbClr val="FFFFFF"/>
                  </a:solidFill>
                  <a:latin typeface="Tahoma" pitchFamily="34" charset="0"/>
                </a:rPr>
                <a:t>Excellence</a:t>
              </a:r>
            </a:p>
          </p:txBody>
        </p:sp>
        <p:pic>
          <p:nvPicPr>
            <p:cNvPr id="65554" name="Picture 26" descr="AA053969"/>
            <p:cNvPicPr>
              <a:picLocks noChangeAspect="1" noChangeArrowheads="1"/>
            </p:cNvPicPr>
            <p:nvPr/>
          </p:nvPicPr>
          <p:blipFill>
            <a:blip r:embed="rId5">
              <a:extLst>
                <a:ext uri="{28A0092B-C50C-407E-A947-70E740481C1C}">
                  <a14:useLocalDpi xmlns:a14="http://schemas.microsoft.com/office/drawing/2010/main" val="0"/>
                </a:ext>
              </a:extLst>
            </a:blip>
            <a:srcRect l="5246" r="19264"/>
            <a:stretch>
              <a:fillRect/>
            </a:stretch>
          </p:blipFill>
          <p:spPr bwMode="auto">
            <a:xfrm>
              <a:off x="567" y="3612"/>
              <a:ext cx="298" cy="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27"/>
          <p:cNvGrpSpPr>
            <a:grpSpLocks/>
          </p:cNvGrpSpPr>
          <p:nvPr/>
        </p:nvGrpSpPr>
        <p:grpSpPr bwMode="auto">
          <a:xfrm>
            <a:off x="0" y="4152900"/>
            <a:ext cx="9144000" cy="962025"/>
            <a:chOff x="0" y="2750"/>
            <a:chExt cx="5760" cy="606"/>
          </a:xfrm>
        </p:grpSpPr>
        <p:sp>
          <p:nvSpPr>
            <p:cNvPr id="32779" name="Line 28"/>
            <p:cNvSpPr>
              <a:spLocks noChangeShapeType="1"/>
            </p:cNvSpPr>
            <p:nvPr/>
          </p:nvSpPr>
          <p:spPr bwMode="auto">
            <a:xfrm flipH="1">
              <a:off x="0" y="3356"/>
              <a:ext cx="5760" cy="0"/>
            </a:xfrm>
            <a:prstGeom prst="line">
              <a:avLst/>
            </a:prstGeom>
            <a:noFill/>
            <a:ln w="381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a:solidFill>
                  <a:srgbClr val="000000"/>
                </a:solidFill>
              </a:endParaRPr>
            </a:p>
          </p:txBody>
        </p:sp>
        <p:grpSp>
          <p:nvGrpSpPr>
            <p:cNvPr id="65548" name="Group 29"/>
            <p:cNvGrpSpPr>
              <a:grpSpLocks/>
            </p:cNvGrpSpPr>
            <p:nvPr/>
          </p:nvGrpSpPr>
          <p:grpSpPr bwMode="auto">
            <a:xfrm>
              <a:off x="567" y="2750"/>
              <a:ext cx="1251" cy="520"/>
              <a:chOff x="567" y="2750"/>
              <a:chExt cx="1251" cy="520"/>
            </a:xfrm>
          </p:grpSpPr>
          <p:sp>
            <p:nvSpPr>
              <p:cNvPr id="32783" name="Rectangle 30"/>
              <p:cNvSpPr>
                <a:spLocks noChangeArrowheads="1"/>
              </p:cNvSpPr>
              <p:nvPr/>
            </p:nvSpPr>
            <p:spPr bwMode="auto">
              <a:xfrm>
                <a:off x="975" y="2750"/>
                <a:ext cx="84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lgn="ctr">
                    <a:solidFill>
                      <a:srgbClr val="000000"/>
                    </a:solidFill>
                    <a:miter lim="800000"/>
                    <a:headEnd/>
                    <a:tailEnd/>
                  </a14:hiddenLine>
                </a:ext>
              </a:extLst>
            </p:spPr>
            <p:txBody>
              <a:bodyPr wrap="none">
                <a:spAutoFit/>
              </a:bodyPr>
              <a:lstStyle/>
              <a:p>
                <a:pPr eaLnBrk="1" hangingPunct="1">
                  <a:defRPr/>
                </a:pPr>
                <a:r>
                  <a:rPr lang="en-US" sz="1600">
                    <a:solidFill>
                      <a:srgbClr val="000000"/>
                    </a:solidFill>
                    <a:latin typeface="Tahoma" pitchFamily="34" charset="0"/>
                  </a:rPr>
                  <a:t>Customer/</a:t>
                </a:r>
                <a:br>
                  <a:rPr lang="en-US" sz="1600">
                    <a:solidFill>
                      <a:srgbClr val="000000"/>
                    </a:solidFill>
                    <a:latin typeface="Tahoma" pitchFamily="34" charset="0"/>
                  </a:rPr>
                </a:br>
                <a:r>
                  <a:rPr lang="en-US" sz="1600">
                    <a:solidFill>
                      <a:srgbClr val="000000"/>
                    </a:solidFill>
                    <a:latin typeface="Tahoma" pitchFamily="34" charset="0"/>
                  </a:rPr>
                  <a:t>Competition/</a:t>
                </a:r>
                <a:br>
                  <a:rPr lang="en-US" sz="1600">
                    <a:solidFill>
                      <a:srgbClr val="000000"/>
                    </a:solidFill>
                    <a:latin typeface="Tahoma" pitchFamily="34" charset="0"/>
                  </a:rPr>
                </a:br>
                <a:r>
                  <a:rPr lang="en-US" sz="1600">
                    <a:solidFill>
                      <a:srgbClr val="000000"/>
                    </a:solidFill>
                    <a:latin typeface="Tahoma" pitchFamily="34" charset="0"/>
                  </a:rPr>
                  <a:t>Capital</a:t>
                </a:r>
              </a:p>
            </p:txBody>
          </p:sp>
          <p:pic>
            <p:nvPicPr>
              <p:cNvPr id="65552" name="Picture 31" descr="dv407004b"/>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7" y="2829"/>
                <a:ext cx="298" cy="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781" name="Rectangle 32"/>
            <p:cNvSpPr>
              <a:spLocks noChangeArrowheads="1"/>
            </p:cNvSpPr>
            <p:nvPr/>
          </p:nvSpPr>
          <p:spPr bwMode="auto">
            <a:xfrm>
              <a:off x="1997" y="2847"/>
              <a:ext cx="1267"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marL="179388" indent="-179388" eaLnBrk="1" hangingPunct="1">
                <a:spcBef>
                  <a:spcPct val="30000"/>
                </a:spcBef>
                <a:buClr>
                  <a:srgbClr val="996600"/>
                </a:buClr>
                <a:buFont typeface="Wingdings" pitchFamily="2" charset="2"/>
                <a:buChar char=""/>
                <a:defRPr/>
              </a:pPr>
              <a:r>
                <a:rPr lang="en-US" sz="1200">
                  <a:solidFill>
                    <a:srgbClr val="000000"/>
                  </a:solidFill>
                </a:rPr>
                <a:t>Business unit/Corporate strategy</a:t>
              </a:r>
            </a:p>
            <a:p>
              <a:pPr marL="179388" indent="-179388" eaLnBrk="1" hangingPunct="1">
                <a:spcBef>
                  <a:spcPct val="30000"/>
                </a:spcBef>
                <a:buClr>
                  <a:srgbClr val="996600"/>
                </a:buClr>
                <a:buFont typeface="Wingdings" pitchFamily="2" charset="2"/>
                <a:buChar char=""/>
                <a:defRPr/>
              </a:pPr>
              <a:r>
                <a:rPr lang="en-US" sz="1200">
                  <a:solidFill>
                    <a:srgbClr val="000000"/>
                  </a:solidFill>
                </a:rPr>
                <a:t>Detailed industry analysis</a:t>
              </a:r>
            </a:p>
            <a:p>
              <a:pPr marL="179388" indent="-179388" eaLnBrk="1" hangingPunct="1">
                <a:spcBef>
                  <a:spcPct val="30000"/>
                </a:spcBef>
                <a:buClr>
                  <a:srgbClr val="996600"/>
                </a:buClr>
                <a:buFont typeface="Wingdings" pitchFamily="2" charset="2"/>
                <a:buChar char=""/>
                <a:defRPr/>
              </a:pPr>
              <a:r>
                <a:rPr lang="en-US" sz="1200">
                  <a:solidFill>
                    <a:srgbClr val="000000"/>
                  </a:solidFill>
                </a:rPr>
                <a:t>Customer value led process</a:t>
              </a:r>
            </a:p>
          </p:txBody>
        </p:sp>
        <p:sp>
          <p:nvSpPr>
            <p:cNvPr id="32782" name="Rectangle 33"/>
            <p:cNvSpPr>
              <a:spLocks noChangeArrowheads="1"/>
            </p:cNvSpPr>
            <p:nvPr/>
          </p:nvSpPr>
          <p:spPr bwMode="auto">
            <a:xfrm>
              <a:off x="3832" y="2847"/>
              <a:ext cx="1132" cy="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spAutoFit/>
            </a:bodyPr>
            <a:lstStyle/>
            <a:p>
              <a:pPr marL="179388" indent="-179388" eaLnBrk="1" hangingPunct="1">
                <a:spcBef>
                  <a:spcPct val="30000"/>
                </a:spcBef>
                <a:buClr>
                  <a:srgbClr val="996600"/>
                </a:buClr>
                <a:buFont typeface="Wingdings" pitchFamily="2" charset="2"/>
                <a:buChar char=""/>
                <a:defRPr/>
              </a:pPr>
              <a:r>
                <a:rPr lang="en-US" sz="1200">
                  <a:solidFill>
                    <a:srgbClr val="000000"/>
                  </a:solidFill>
                </a:rPr>
                <a:t>Longer range growth agenda</a:t>
              </a:r>
            </a:p>
            <a:p>
              <a:pPr marL="179388" indent="-179388" eaLnBrk="1" hangingPunct="1">
                <a:spcBef>
                  <a:spcPct val="30000"/>
                </a:spcBef>
                <a:buClr>
                  <a:srgbClr val="996600"/>
                </a:buClr>
                <a:buFont typeface="Wingdings" pitchFamily="2" charset="2"/>
                <a:buChar char=""/>
                <a:defRPr/>
              </a:pPr>
              <a:r>
                <a:rPr lang="en-US" sz="1200">
                  <a:solidFill>
                    <a:srgbClr val="000000"/>
                  </a:solidFill>
                </a:rPr>
                <a:t>Focused R&amp;D investments</a:t>
              </a:r>
            </a:p>
            <a:p>
              <a:pPr marL="179388" indent="-179388" eaLnBrk="1" hangingPunct="1">
                <a:spcBef>
                  <a:spcPct val="30000"/>
                </a:spcBef>
                <a:buClr>
                  <a:srgbClr val="996600"/>
                </a:buClr>
                <a:buFont typeface="Wingdings" pitchFamily="2" charset="2"/>
                <a:buChar char=""/>
                <a:defRPr/>
              </a:pPr>
              <a:r>
                <a:rPr lang="en-US" sz="1200">
                  <a:solidFill>
                    <a:srgbClr val="000000"/>
                  </a:solidFill>
                </a:rPr>
                <a:t>Capital matched to growth</a:t>
              </a:r>
            </a:p>
          </p:txBody>
        </p:sp>
      </p:grpSp>
    </p:spTree>
    <p:extLst>
      <p:ext uri="{BB962C8B-B14F-4D97-AF65-F5344CB8AC3E}">
        <p14:creationId xmlns:p14="http://schemas.microsoft.com/office/powerpoint/2010/main" val="342083070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nodeType="afterGroup">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nodeType="afterGroup">
                            <p:stCondLst>
                              <p:cond delay="15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nodeType="afterGroup">
                            <p:stCondLst>
                              <p:cond delay="20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Slide Number Placeholder 5"/>
          <p:cNvSpPr txBox="1">
            <a:spLocks noGrp="1"/>
          </p:cNvSpPr>
          <p:nvPr>
            <p:ph type="sldNum" sz="quarter" idx="2"/>
          </p:nvPr>
        </p:nvSpPr>
        <p:spPr>
          <a:xfrm>
            <a:off x="8880556" y="5681902"/>
            <a:ext cx="125684"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57</a:t>
            </a:fld>
            <a:endParaRPr/>
          </a:p>
        </p:txBody>
      </p:sp>
      <p:sp>
        <p:nvSpPr>
          <p:cNvPr id="183" name="TextBox 4"/>
          <p:cNvSpPr txBox="1"/>
          <p:nvPr/>
        </p:nvSpPr>
        <p:spPr>
          <a:xfrm>
            <a:off x="517297" y="3200852"/>
            <a:ext cx="3243365" cy="18440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4289" rIns="34289">
            <a:spAutoFit/>
          </a:bodyPr>
          <a:lstStyle/>
          <a:p>
            <a:pPr defTabSz="342900">
              <a:spcBef>
                <a:spcPts val="450"/>
              </a:spcBef>
              <a:defRPr sz="2400" spc="-100">
                <a:latin typeface="游ゴシック体 ボールド"/>
                <a:ea typeface="游ゴシック体 ボールド"/>
                <a:cs typeface="游ゴシック体 ボールド"/>
                <a:sym typeface="游ゴシック体 ボールド"/>
              </a:defRPr>
            </a:pPr>
            <a:r>
              <a:rPr sz="1800"/>
              <a:t>UHN’s Strategic Priorities </a:t>
            </a:r>
            <a:endParaRPr sz="3600" b="1" spc="-150">
              <a:latin typeface="+mn-lt"/>
              <a:ea typeface="+mn-ea"/>
              <a:cs typeface="+mn-cs"/>
              <a:sym typeface="Helvetica"/>
            </a:endParaRPr>
          </a:p>
          <a:p>
            <a:pPr marL="161925" indent="-161925" defTabSz="342900">
              <a:spcBef>
                <a:spcPts val="450"/>
              </a:spcBef>
              <a:buSzPct val="100000"/>
              <a:buChar char="•"/>
              <a:defRPr sz="2000" spc="-100"/>
            </a:pPr>
            <a:r>
              <a:rPr sz="1500"/>
              <a:t>TeamUHN</a:t>
            </a:r>
            <a:endParaRPr sz="3000" spc="-150">
              <a:latin typeface="+mn-lt"/>
              <a:ea typeface="+mn-ea"/>
              <a:cs typeface="+mn-cs"/>
              <a:sym typeface="Helvetica"/>
            </a:endParaRPr>
          </a:p>
          <a:p>
            <a:pPr marL="161925" indent="-161925" defTabSz="342900">
              <a:spcBef>
                <a:spcPts val="450"/>
              </a:spcBef>
              <a:buSzPct val="100000"/>
              <a:buChar char="•"/>
              <a:defRPr sz="2000" spc="-100"/>
            </a:pPr>
            <a:r>
              <a:rPr sz="1500"/>
              <a:t>Converge care, research &amp; education</a:t>
            </a:r>
            <a:endParaRPr sz="3000" spc="-150">
              <a:latin typeface="+mn-lt"/>
              <a:ea typeface="+mn-ea"/>
              <a:cs typeface="+mn-cs"/>
              <a:sym typeface="Helvetica"/>
            </a:endParaRPr>
          </a:p>
          <a:p>
            <a:pPr marL="161925" indent="-161925" defTabSz="342900">
              <a:spcBef>
                <a:spcPts val="450"/>
              </a:spcBef>
              <a:buSzPct val="100000"/>
              <a:buChar char="•"/>
              <a:defRPr sz="2000" spc="-100"/>
            </a:pPr>
            <a:r>
              <a:rPr sz="1500"/>
              <a:t>Technology &amp; innovation</a:t>
            </a:r>
            <a:endParaRPr sz="3000" spc="-150">
              <a:latin typeface="+mn-lt"/>
              <a:ea typeface="+mn-ea"/>
              <a:cs typeface="+mn-cs"/>
              <a:sym typeface="Helvetica"/>
            </a:endParaRPr>
          </a:p>
          <a:p>
            <a:pPr marL="161925" indent="-161925" defTabSz="342900">
              <a:spcBef>
                <a:spcPts val="450"/>
              </a:spcBef>
              <a:buSzPct val="100000"/>
              <a:buChar char="•"/>
              <a:defRPr sz="2000" spc="-100"/>
            </a:pPr>
            <a:r>
              <a:rPr sz="1500"/>
              <a:t>Canada as a world destination</a:t>
            </a:r>
            <a:endParaRPr sz="3000" spc="-150">
              <a:latin typeface="+mn-lt"/>
              <a:ea typeface="+mn-ea"/>
              <a:cs typeface="+mn-cs"/>
              <a:sym typeface="Helvetica"/>
            </a:endParaRPr>
          </a:p>
          <a:p>
            <a:pPr marL="161925" indent="-161925" defTabSz="342900">
              <a:spcBef>
                <a:spcPts val="450"/>
              </a:spcBef>
              <a:buSzPct val="100000"/>
              <a:buChar char="•"/>
              <a:defRPr sz="2000" spc="-100"/>
            </a:pPr>
            <a:r>
              <a:rPr sz="1500"/>
              <a:t>Invent tomorrow’s care</a:t>
            </a:r>
          </a:p>
        </p:txBody>
      </p:sp>
      <p:sp>
        <p:nvSpPr>
          <p:cNvPr id="184" name="Title 5"/>
          <p:cNvSpPr txBox="1"/>
          <p:nvPr/>
        </p:nvSpPr>
        <p:spPr>
          <a:xfrm>
            <a:off x="517296" y="1235675"/>
            <a:ext cx="7818121" cy="14158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rIns="34289" anchor="ctr">
            <a:normAutofit/>
          </a:bodyPr>
          <a:lstStyle/>
          <a:p>
            <a:pPr defTabSz="514350">
              <a:lnSpc>
                <a:spcPct val="70000"/>
              </a:lnSpc>
              <a:defRPr sz="4800" b="1">
                <a:latin typeface="+mn-lt"/>
                <a:ea typeface="+mn-ea"/>
                <a:cs typeface="+mn-cs"/>
                <a:sym typeface="Helvetica"/>
              </a:defRPr>
            </a:pPr>
            <a:r>
              <a:rPr sz="3600"/>
              <a:t>UHN’s </a:t>
            </a:r>
            <a:br>
              <a:rPr sz="3600"/>
            </a:br>
            <a:r>
              <a:rPr sz="3600"/>
              <a:t>Strategic </a:t>
            </a:r>
            <a:br>
              <a:rPr sz="3600"/>
            </a:br>
            <a:r>
              <a:rPr sz="3600"/>
              <a:t>Priorities</a:t>
            </a:r>
          </a:p>
        </p:txBody>
      </p:sp>
      <p:sp>
        <p:nvSpPr>
          <p:cNvPr id="185" name="Rectangle 12"/>
          <p:cNvSpPr/>
          <p:nvPr/>
        </p:nvSpPr>
        <p:spPr>
          <a:xfrm>
            <a:off x="483005" y="2684150"/>
            <a:ext cx="838202" cy="57152"/>
          </a:xfrm>
          <a:prstGeom prst="rect">
            <a:avLst/>
          </a:prstGeom>
          <a:solidFill>
            <a:schemeClr val="accent2"/>
          </a:solidFill>
          <a:ln w="12700">
            <a:miter lim="400000"/>
          </a:ln>
        </p:spPr>
        <p:txBody>
          <a:bodyPr lIns="34289" rIns="34289"/>
          <a:lstStyle/>
          <a:p>
            <a:pPr>
              <a:defRPr sz="3600">
                <a:latin typeface="Arial"/>
                <a:ea typeface="Arial"/>
                <a:cs typeface="Arial"/>
                <a:sym typeface="Arial"/>
              </a:defRPr>
            </a:pPr>
            <a:endParaRPr sz="2700"/>
          </a:p>
        </p:txBody>
      </p:sp>
      <p:pic>
        <p:nvPicPr>
          <p:cNvPr id="186" name="Picture 2" descr="Picture 2"/>
          <p:cNvPicPr>
            <a:picLocks noChangeAspect="1"/>
          </p:cNvPicPr>
          <p:nvPr/>
        </p:nvPicPr>
        <p:blipFill>
          <a:blip r:embed="rId2"/>
          <a:stretch>
            <a:fillRect/>
          </a:stretch>
        </p:blipFill>
        <p:spPr>
          <a:xfrm>
            <a:off x="4206133" y="1218423"/>
            <a:ext cx="4759468" cy="5248759"/>
          </a:xfrm>
          <a:prstGeom prst="rect">
            <a:avLst/>
          </a:prstGeom>
          <a:ln w="12700">
            <a:miter lim="400000"/>
          </a:ln>
        </p:spPr>
      </p:pic>
      <p:grpSp>
        <p:nvGrpSpPr>
          <p:cNvPr id="189" name="Group"/>
          <p:cNvGrpSpPr/>
          <p:nvPr/>
        </p:nvGrpSpPr>
        <p:grpSpPr>
          <a:xfrm>
            <a:off x="8228389" y="5655479"/>
            <a:ext cx="839564" cy="517987"/>
            <a:chOff x="0" y="0"/>
            <a:chExt cx="1119416" cy="690647"/>
          </a:xfrm>
        </p:grpSpPr>
        <p:sp>
          <p:nvSpPr>
            <p:cNvPr id="187" name="Data &amp; Analytics"/>
            <p:cNvSpPr txBox="1"/>
            <p:nvPr/>
          </p:nvSpPr>
          <p:spPr>
            <a:xfrm>
              <a:off x="325209" y="515794"/>
              <a:ext cx="794208" cy="17485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9050" tIns="19050" rIns="19050" bIns="19050" numCol="1" anchor="ctr">
              <a:spAutoFit/>
            </a:bodyPr>
            <a:lstStyle>
              <a:lvl1pPr algn="ctr" defTabSz="1219168">
                <a:defRPr sz="800" b="1" spc="-32">
                  <a:solidFill>
                    <a:srgbClr val="5E5E5E"/>
                  </a:solidFill>
                  <a:latin typeface="Helvetica Neue"/>
                  <a:ea typeface="Helvetica Neue"/>
                  <a:cs typeface="Helvetica Neue"/>
                  <a:sym typeface="Helvetica Neue"/>
                </a:defRPr>
              </a:lvl1pPr>
            </a:lstStyle>
            <a:p>
              <a:r>
                <a:rPr sz="600"/>
                <a:t>Data &amp; Analytics</a:t>
              </a:r>
            </a:p>
          </p:txBody>
        </p:sp>
        <p:pic>
          <p:nvPicPr>
            <p:cNvPr id="188" name="pasted-image.tiff" descr="pasted-image.tiff"/>
            <p:cNvPicPr>
              <a:picLocks noChangeAspect="1"/>
            </p:cNvPicPr>
            <p:nvPr/>
          </p:nvPicPr>
          <p:blipFill>
            <a:blip r:embed="rId3"/>
            <a:srcRect r="27280"/>
            <a:stretch>
              <a:fillRect/>
            </a:stretch>
          </p:blipFill>
          <p:spPr>
            <a:xfrm>
              <a:off x="0" y="0"/>
              <a:ext cx="733516" cy="229760"/>
            </a:xfrm>
            <a:prstGeom prst="rect">
              <a:avLst/>
            </a:prstGeom>
            <a:ln w="12700" cap="flat">
              <a:noFill/>
              <a:miter lim="400000"/>
            </a:ln>
            <a:effectLst/>
          </p:spPr>
        </p:pic>
      </p:grpSp>
      <p:sp>
        <p:nvSpPr>
          <p:cNvPr id="190" name="Michael Caesar, Chief Data &amp; Analytics Officer, UHN, 2022"/>
          <p:cNvSpPr txBox="1"/>
          <p:nvPr/>
        </p:nvSpPr>
        <p:spPr>
          <a:xfrm>
            <a:off x="253848" y="5824495"/>
            <a:ext cx="1840583" cy="1192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defRPr sz="700"/>
            </a:lvl1pPr>
          </a:lstStyle>
          <a:p>
            <a:r>
              <a:rPr sz="525"/>
              <a:t>Michael Caesar, Chief Data &amp; Analytics Officer, UHN, 2022</a:t>
            </a:r>
          </a:p>
        </p:txBody>
      </p:sp>
    </p:spTree>
    <p:extLst>
      <p:ext uri="{BB962C8B-B14F-4D97-AF65-F5344CB8AC3E}">
        <p14:creationId xmlns:p14="http://schemas.microsoft.com/office/powerpoint/2010/main" val="3756393100"/>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Slide Number Placeholder 5"/>
          <p:cNvSpPr txBox="1">
            <a:spLocks noGrp="1"/>
          </p:cNvSpPr>
          <p:nvPr>
            <p:ph type="sldNum" sz="quarter" idx="2"/>
          </p:nvPr>
        </p:nvSpPr>
        <p:spPr>
          <a:xfrm>
            <a:off x="8880556" y="5681902"/>
            <a:ext cx="125684"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58</a:t>
            </a:fld>
            <a:endParaRPr/>
          </a:p>
        </p:txBody>
      </p:sp>
      <p:sp>
        <p:nvSpPr>
          <p:cNvPr id="221" name="Title 5"/>
          <p:cNvSpPr txBox="1"/>
          <p:nvPr/>
        </p:nvSpPr>
        <p:spPr>
          <a:xfrm>
            <a:off x="517296" y="1178525"/>
            <a:ext cx="2352577" cy="21666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rIns="34289" anchor="ctr">
            <a:normAutofit/>
          </a:bodyPr>
          <a:lstStyle>
            <a:lvl1pPr defTabSz="685800">
              <a:lnSpc>
                <a:spcPct val="70000"/>
              </a:lnSpc>
              <a:defRPr sz="5200" b="1">
                <a:latin typeface="+mn-lt"/>
                <a:ea typeface="+mn-ea"/>
                <a:cs typeface="+mn-cs"/>
                <a:sym typeface="Helvetica"/>
              </a:defRPr>
            </a:lvl1pPr>
          </a:lstStyle>
          <a:p>
            <a:r>
              <a:rPr sz="3900"/>
              <a:t>UHN’s Data &amp; Analytics Strategy</a:t>
            </a:r>
          </a:p>
        </p:txBody>
      </p:sp>
      <p:sp>
        <p:nvSpPr>
          <p:cNvPr id="222" name="Rectangle 12"/>
          <p:cNvSpPr/>
          <p:nvPr/>
        </p:nvSpPr>
        <p:spPr>
          <a:xfrm>
            <a:off x="524075" y="3206101"/>
            <a:ext cx="838201" cy="57152"/>
          </a:xfrm>
          <a:prstGeom prst="rect">
            <a:avLst/>
          </a:prstGeom>
          <a:solidFill>
            <a:schemeClr val="accent2"/>
          </a:solidFill>
          <a:ln w="12700">
            <a:miter lim="400000"/>
          </a:ln>
        </p:spPr>
        <p:txBody>
          <a:bodyPr lIns="34289" rIns="34289"/>
          <a:lstStyle/>
          <a:p>
            <a:pPr>
              <a:defRPr sz="3600">
                <a:latin typeface="Arial"/>
                <a:ea typeface="Arial"/>
                <a:cs typeface="Arial"/>
                <a:sym typeface="Arial"/>
              </a:defRPr>
            </a:pPr>
            <a:endParaRPr sz="2700"/>
          </a:p>
        </p:txBody>
      </p:sp>
      <p:sp>
        <p:nvSpPr>
          <p:cNvPr id="223" name="Delivering value through focused efforts on enabling UHN’s strategic pursuits in care, discovery and learning"/>
          <p:cNvSpPr txBox="1"/>
          <p:nvPr/>
        </p:nvSpPr>
        <p:spPr>
          <a:xfrm>
            <a:off x="474248" y="3613176"/>
            <a:ext cx="2239584" cy="11125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spAutoFit/>
          </a:bodyPr>
          <a:lstStyle>
            <a:lvl1pPr defTabSz="410766">
              <a:lnSpc>
                <a:spcPct val="130000"/>
              </a:lnSpc>
            </a:lvl1pPr>
          </a:lstStyle>
          <a:p>
            <a:r>
              <a:rPr sz="1350"/>
              <a:t>Building UHN’s ability to see, understand and use its data to advance patient care, education and research</a:t>
            </a:r>
          </a:p>
        </p:txBody>
      </p:sp>
      <p:sp>
        <p:nvSpPr>
          <p:cNvPr id="224" name="Shape"/>
          <p:cNvSpPr/>
          <p:nvPr/>
        </p:nvSpPr>
        <p:spPr>
          <a:xfrm>
            <a:off x="3620038" y="2903179"/>
            <a:ext cx="5280879" cy="828545"/>
          </a:xfrm>
          <a:custGeom>
            <a:avLst/>
            <a:gdLst/>
            <a:ahLst/>
            <a:cxnLst>
              <a:cxn ang="0">
                <a:pos x="wd2" y="hd2"/>
              </a:cxn>
              <a:cxn ang="5400000">
                <a:pos x="wd2" y="hd2"/>
              </a:cxn>
              <a:cxn ang="10800000">
                <a:pos x="wd2" y="hd2"/>
              </a:cxn>
              <a:cxn ang="16200000">
                <a:pos x="wd2" y="hd2"/>
              </a:cxn>
            </a:cxnLst>
            <a:rect l="0" t="0" r="r" b="b"/>
            <a:pathLst>
              <a:path w="21589" h="21600" extrusionOk="0">
                <a:moveTo>
                  <a:pt x="0" y="0"/>
                </a:moveTo>
                <a:lnTo>
                  <a:pt x="19835" y="0"/>
                </a:lnTo>
                <a:cubicBezTo>
                  <a:pt x="20809" y="281"/>
                  <a:pt x="21577" y="4953"/>
                  <a:pt x="21589" y="10662"/>
                </a:cubicBezTo>
                <a:cubicBezTo>
                  <a:pt x="21600" y="16472"/>
                  <a:pt x="20826" y="21299"/>
                  <a:pt x="19835" y="21600"/>
                </a:cubicBezTo>
                <a:lnTo>
                  <a:pt x="0" y="21600"/>
                </a:lnTo>
                <a:lnTo>
                  <a:pt x="0" y="0"/>
                </a:lnTo>
                <a:close/>
              </a:path>
            </a:pathLst>
          </a:custGeom>
          <a:gradFill>
            <a:gsLst>
              <a:gs pos="0">
                <a:srgbClr val="100115">
                  <a:alpha val="17300"/>
                </a:srgbClr>
              </a:gs>
              <a:gs pos="100000">
                <a:srgbClr val="5A3171">
                  <a:alpha val="17300"/>
                </a:srgbClr>
              </a:gs>
            </a:gsLst>
          </a:gradFill>
          <a:ln w="12700">
            <a:miter lim="400000"/>
          </a:ln>
        </p:spPr>
        <p:txBody>
          <a:bodyPr lIns="34289" rIns="34289" anchor="ct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pic>
        <p:nvPicPr>
          <p:cNvPr id="225" name="Picture 2" descr="Picture 2"/>
          <p:cNvPicPr>
            <a:picLocks noChangeAspect="1"/>
          </p:cNvPicPr>
          <p:nvPr/>
        </p:nvPicPr>
        <p:blipFill>
          <a:blip r:embed="rId2"/>
          <a:srcRect l="65099" t="27140" r="13746" b="53904"/>
          <a:stretch>
            <a:fillRect/>
          </a:stretch>
        </p:blipFill>
        <p:spPr>
          <a:xfrm>
            <a:off x="3209617" y="2903180"/>
            <a:ext cx="838141" cy="828213"/>
          </a:xfrm>
          <a:custGeom>
            <a:avLst/>
            <a:gdLst/>
            <a:ahLst/>
            <a:cxnLst>
              <a:cxn ang="0">
                <a:pos x="wd2" y="hd2"/>
              </a:cxn>
              <a:cxn ang="5400000">
                <a:pos x="wd2" y="hd2"/>
              </a:cxn>
              <a:cxn ang="10800000">
                <a:pos x="wd2" y="hd2"/>
              </a:cxn>
              <a:cxn ang="16200000">
                <a:pos x="wd2" y="hd2"/>
              </a:cxn>
            </a:cxnLst>
            <a:rect l="0" t="0" r="r" b="b"/>
            <a:pathLst>
              <a:path w="19679" h="20595" extrusionOk="0">
                <a:moveTo>
                  <a:pt x="9842" y="0"/>
                </a:moveTo>
                <a:cubicBezTo>
                  <a:pt x="7325" y="0"/>
                  <a:pt x="4803" y="1001"/>
                  <a:pt x="2882" y="3012"/>
                </a:cubicBezTo>
                <a:cubicBezTo>
                  <a:pt x="-961" y="7035"/>
                  <a:pt x="-961" y="13557"/>
                  <a:pt x="2882" y="17579"/>
                </a:cubicBezTo>
                <a:cubicBezTo>
                  <a:pt x="6724" y="21600"/>
                  <a:pt x="12954" y="21600"/>
                  <a:pt x="16796" y="17579"/>
                </a:cubicBezTo>
                <a:cubicBezTo>
                  <a:pt x="20639" y="13557"/>
                  <a:pt x="20639" y="7035"/>
                  <a:pt x="16796" y="3012"/>
                </a:cubicBezTo>
                <a:cubicBezTo>
                  <a:pt x="14875" y="1001"/>
                  <a:pt x="12360" y="0"/>
                  <a:pt x="9842" y="0"/>
                </a:cubicBezTo>
                <a:close/>
              </a:path>
            </a:pathLst>
          </a:custGeom>
          <a:ln w="12700">
            <a:miter lim="400000"/>
          </a:ln>
        </p:spPr>
      </p:pic>
      <p:sp>
        <p:nvSpPr>
          <p:cNvPr id="226" name="Shape"/>
          <p:cNvSpPr/>
          <p:nvPr/>
        </p:nvSpPr>
        <p:spPr>
          <a:xfrm>
            <a:off x="3644941" y="1056557"/>
            <a:ext cx="5280770" cy="828545"/>
          </a:xfrm>
          <a:custGeom>
            <a:avLst/>
            <a:gdLst/>
            <a:ahLst/>
            <a:cxnLst>
              <a:cxn ang="0">
                <a:pos x="wd2" y="hd2"/>
              </a:cxn>
              <a:cxn ang="5400000">
                <a:pos x="wd2" y="hd2"/>
              </a:cxn>
              <a:cxn ang="10800000">
                <a:pos x="wd2" y="hd2"/>
              </a:cxn>
              <a:cxn ang="16200000">
                <a:pos x="wd2" y="hd2"/>
              </a:cxn>
            </a:cxnLst>
            <a:rect l="0" t="0" r="r" b="b"/>
            <a:pathLst>
              <a:path w="21574" h="21600" extrusionOk="0">
                <a:moveTo>
                  <a:pt x="0" y="0"/>
                </a:moveTo>
                <a:lnTo>
                  <a:pt x="19792" y="0"/>
                </a:lnTo>
                <a:cubicBezTo>
                  <a:pt x="20805" y="212"/>
                  <a:pt x="21600" y="5171"/>
                  <a:pt x="21573" y="11115"/>
                </a:cubicBezTo>
                <a:cubicBezTo>
                  <a:pt x="21548" y="16829"/>
                  <a:pt x="20766" y="21431"/>
                  <a:pt x="19792" y="21600"/>
                </a:cubicBezTo>
                <a:lnTo>
                  <a:pt x="0" y="21600"/>
                </a:lnTo>
                <a:lnTo>
                  <a:pt x="0" y="0"/>
                </a:lnTo>
                <a:close/>
              </a:path>
            </a:pathLst>
          </a:custGeom>
          <a:gradFill>
            <a:gsLst>
              <a:gs pos="0">
                <a:srgbClr val="020812">
                  <a:alpha val="17300"/>
                </a:srgbClr>
              </a:gs>
              <a:gs pos="100000">
                <a:srgbClr val="489FF7">
                  <a:alpha val="17300"/>
                </a:srgbClr>
              </a:gs>
            </a:gsLst>
          </a:gradFill>
          <a:ln w="12700">
            <a:miter lim="400000"/>
          </a:ln>
        </p:spPr>
        <p:txBody>
          <a:bodyPr lIns="34289" rIns="34289" anchor="ct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pic>
        <p:nvPicPr>
          <p:cNvPr id="227" name="Picture 2" descr="Picture 2"/>
          <p:cNvPicPr>
            <a:picLocks noChangeAspect="1"/>
          </p:cNvPicPr>
          <p:nvPr/>
        </p:nvPicPr>
        <p:blipFill>
          <a:blip r:embed="rId2"/>
          <a:srcRect l="52365" t="58120" r="23702" b="20435"/>
          <a:stretch>
            <a:fillRect/>
          </a:stretch>
        </p:blipFill>
        <p:spPr>
          <a:xfrm>
            <a:off x="3233412" y="1056839"/>
            <a:ext cx="838149" cy="828236"/>
          </a:xfrm>
          <a:custGeom>
            <a:avLst/>
            <a:gdLst/>
            <a:ahLst/>
            <a:cxnLst>
              <a:cxn ang="0">
                <a:pos x="wd2" y="hd2"/>
              </a:cxn>
              <a:cxn ang="5400000">
                <a:pos x="wd2" y="hd2"/>
              </a:cxn>
              <a:cxn ang="10800000">
                <a:pos x="wd2" y="hd2"/>
              </a:cxn>
              <a:cxn ang="16200000">
                <a:pos x="wd2" y="hd2"/>
              </a:cxn>
            </a:cxnLst>
            <a:rect l="0" t="0" r="r" b="b"/>
            <a:pathLst>
              <a:path w="19679" h="20595" extrusionOk="0">
                <a:moveTo>
                  <a:pt x="9842" y="0"/>
                </a:moveTo>
                <a:cubicBezTo>
                  <a:pt x="7325" y="0"/>
                  <a:pt x="4803" y="1008"/>
                  <a:pt x="2882" y="3020"/>
                </a:cubicBezTo>
                <a:cubicBezTo>
                  <a:pt x="-961" y="7041"/>
                  <a:pt x="-961" y="13557"/>
                  <a:pt x="2882" y="17578"/>
                </a:cubicBezTo>
                <a:cubicBezTo>
                  <a:pt x="6725" y="21600"/>
                  <a:pt x="12953" y="21600"/>
                  <a:pt x="16796" y="17578"/>
                </a:cubicBezTo>
                <a:cubicBezTo>
                  <a:pt x="20639" y="13557"/>
                  <a:pt x="20639" y="7041"/>
                  <a:pt x="16796" y="3020"/>
                </a:cubicBezTo>
                <a:cubicBezTo>
                  <a:pt x="14875" y="1008"/>
                  <a:pt x="12360" y="0"/>
                  <a:pt x="9842" y="0"/>
                </a:cubicBezTo>
                <a:close/>
              </a:path>
            </a:pathLst>
          </a:custGeom>
          <a:ln w="12700">
            <a:miter lim="400000"/>
          </a:ln>
        </p:spPr>
      </p:pic>
      <p:sp>
        <p:nvSpPr>
          <p:cNvPr id="228" name="Shape"/>
          <p:cNvSpPr/>
          <p:nvPr/>
        </p:nvSpPr>
        <p:spPr>
          <a:xfrm>
            <a:off x="3620038" y="1979890"/>
            <a:ext cx="5280879" cy="828545"/>
          </a:xfrm>
          <a:custGeom>
            <a:avLst/>
            <a:gdLst/>
            <a:ahLst/>
            <a:cxnLst>
              <a:cxn ang="0">
                <a:pos x="wd2" y="hd2"/>
              </a:cxn>
              <a:cxn ang="5400000">
                <a:pos x="wd2" y="hd2"/>
              </a:cxn>
              <a:cxn ang="10800000">
                <a:pos x="wd2" y="hd2"/>
              </a:cxn>
              <a:cxn ang="16200000">
                <a:pos x="wd2" y="hd2"/>
              </a:cxn>
            </a:cxnLst>
            <a:rect l="0" t="0" r="r" b="b"/>
            <a:pathLst>
              <a:path w="21589" h="21600" extrusionOk="0">
                <a:moveTo>
                  <a:pt x="0" y="0"/>
                </a:moveTo>
                <a:lnTo>
                  <a:pt x="19835" y="0"/>
                </a:lnTo>
                <a:cubicBezTo>
                  <a:pt x="20809" y="281"/>
                  <a:pt x="21577" y="4953"/>
                  <a:pt x="21589" y="10662"/>
                </a:cubicBezTo>
                <a:cubicBezTo>
                  <a:pt x="21600" y="16472"/>
                  <a:pt x="20826" y="21299"/>
                  <a:pt x="19835" y="21600"/>
                </a:cubicBezTo>
                <a:lnTo>
                  <a:pt x="0" y="21600"/>
                </a:lnTo>
                <a:lnTo>
                  <a:pt x="0" y="0"/>
                </a:lnTo>
                <a:close/>
              </a:path>
            </a:pathLst>
          </a:custGeom>
          <a:gradFill>
            <a:gsLst>
              <a:gs pos="0">
                <a:srgbClr val="000100">
                  <a:alpha val="17300"/>
                </a:srgbClr>
              </a:gs>
              <a:gs pos="100000">
                <a:srgbClr val="5EA753">
                  <a:alpha val="17300"/>
                </a:srgbClr>
              </a:gs>
            </a:gsLst>
          </a:gradFill>
          <a:ln w="12700">
            <a:miter lim="400000"/>
          </a:ln>
        </p:spPr>
        <p:txBody>
          <a:bodyPr lIns="34289" rIns="34289" anchor="ct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pic>
        <p:nvPicPr>
          <p:cNvPr id="229" name="Picture 2" descr="Picture 2"/>
          <p:cNvPicPr>
            <a:picLocks noChangeAspect="1"/>
          </p:cNvPicPr>
          <p:nvPr/>
        </p:nvPicPr>
        <p:blipFill>
          <a:blip r:embed="rId2"/>
          <a:srcRect l="15726" t="58265" r="61182" b="21044"/>
          <a:stretch>
            <a:fillRect/>
          </a:stretch>
        </p:blipFill>
        <p:spPr>
          <a:xfrm>
            <a:off x="3209597" y="1979765"/>
            <a:ext cx="838150" cy="828236"/>
          </a:xfrm>
          <a:custGeom>
            <a:avLst/>
            <a:gdLst/>
            <a:ahLst/>
            <a:cxnLst>
              <a:cxn ang="0">
                <a:pos x="wd2" y="hd2"/>
              </a:cxn>
              <a:cxn ang="5400000">
                <a:pos x="wd2" y="hd2"/>
              </a:cxn>
              <a:cxn ang="10800000">
                <a:pos x="wd2" y="hd2"/>
              </a:cxn>
              <a:cxn ang="16200000">
                <a:pos x="wd2" y="hd2"/>
              </a:cxn>
            </a:cxnLst>
            <a:rect l="0" t="0" r="r" b="b"/>
            <a:pathLst>
              <a:path w="19679" h="20595" extrusionOk="0">
                <a:moveTo>
                  <a:pt x="9842" y="0"/>
                </a:moveTo>
                <a:cubicBezTo>
                  <a:pt x="7325" y="0"/>
                  <a:pt x="4803" y="1008"/>
                  <a:pt x="2882" y="3020"/>
                </a:cubicBezTo>
                <a:cubicBezTo>
                  <a:pt x="-961" y="7041"/>
                  <a:pt x="-961" y="13557"/>
                  <a:pt x="2882" y="17578"/>
                </a:cubicBezTo>
                <a:cubicBezTo>
                  <a:pt x="6725" y="21600"/>
                  <a:pt x="12953" y="21600"/>
                  <a:pt x="16796" y="17578"/>
                </a:cubicBezTo>
                <a:cubicBezTo>
                  <a:pt x="20639" y="13557"/>
                  <a:pt x="20639" y="7041"/>
                  <a:pt x="16796" y="3020"/>
                </a:cubicBezTo>
                <a:cubicBezTo>
                  <a:pt x="14875" y="1008"/>
                  <a:pt x="12360" y="0"/>
                  <a:pt x="9842" y="0"/>
                </a:cubicBezTo>
                <a:close/>
              </a:path>
            </a:pathLst>
          </a:custGeom>
          <a:ln w="12700">
            <a:miter lim="400000"/>
          </a:ln>
        </p:spPr>
      </p:pic>
      <p:sp>
        <p:nvSpPr>
          <p:cNvPr id="230" name="Shape"/>
          <p:cNvSpPr/>
          <p:nvPr/>
        </p:nvSpPr>
        <p:spPr>
          <a:xfrm>
            <a:off x="3615275" y="3819373"/>
            <a:ext cx="5280879" cy="828544"/>
          </a:xfrm>
          <a:custGeom>
            <a:avLst/>
            <a:gdLst/>
            <a:ahLst/>
            <a:cxnLst>
              <a:cxn ang="0">
                <a:pos x="wd2" y="hd2"/>
              </a:cxn>
              <a:cxn ang="5400000">
                <a:pos x="wd2" y="hd2"/>
              </a:cxn>
              <a:cxn ang="10800000">
                <a:pos x="wd2" y="hd2"/>
              </a:cxn>
              <a:cxn ang="16200000">
                <a:pos x="wd2" y="hd2"/>
              </a:cxn>
            </a:cxnLst>
            <a:rect l="0" t="0" r="r" b="b"/>
            <a:pathLst>
              <a:path w="21589" h="21600" extrusionOk="0">
                <a:moveTo>
                  <a:pt x="0" y="0"/>
                </a:moveTo>
                <a:lnTo>
                  <a:pt x="19835" y="0"/>
                </a:lnTo>
                <a:cubicBezTo>
                  <a:pt x="20809" y="281"/>
                  <a:pt x="21577" y="4953"/>
                  <a:pt x="21589" y="10662"/>
                </a:cubicBezTo>
                <a:cubicBezTo>
                  <a:pt x="21600" y="16472"/>
                  <a:pt x="20826" y="21299"/>
                  <a:pt x="19835" y="21600"/>
                </a:cubicBezTo>
                <a:lnTo>
                  <a:pt x="0" y="21600"/>
                </a:lnTo>
                <a:lnTo>
                  <a:pt x="0" y="0"/>
                </a:lnTo>
                <a:close/>
              </a:path>
            </a:pathLst>
          </a:custGeom>
          <a:gradFill>
            <a:gsLst>
              <a:gs pos="0">
                <a:srgbClr val="020C0D">
                  <a:alpha val="17300"/>
                </a:srgbClr>
              </a:gs>
              <a:gs pos="100000">
                <a:srgbClr val="408F99">
                  <a:alpha val="17300"/>
                </a:srgbClr>
              </a:gs>
            </a:gsLst>
          </a:gradFill>
          <a:ln w="12700">
            <a:miter lim="400000"/>
          </a:ln>
        </p:spPr>
        <p:txBody>
          <a:bodyPr lIns="34289" rIns="34289" anchor="ctr"/>
          <a:lstStyle/>
          <a:p>
            <a:pPr algn="ctr" defTabSz="308075">
              <a:defRPr sz="1500">
                <a:solidFill>
                  <a:srgbClr val="FFFFFF"/>
                </a:solidFill>
                <a:latin typeface="Helvetica Neue Medium"/>
                <a:ea typeface="Helvetica Neue Medium"/>
                <a:cs typeface="Helvetica Neue Medium"/>
                <a:sym typeface="Helvetica Neue Medium"/>
              </a:defRPr>
            </a:pPr>
            <a:endParaRPr sz="1125"/>
          </a:p>
        </p:txBody>
      </p:sp>
      <p:pic>
        <p:nvPicPr>
          <p:cNvPr id="231" name="Picture 2" descr="Picture 2"/>
          <p:cNvPicPr>
            <a:picLocks noChangeAspect="1"/>
          </p:cNvPicPr>
          <p:nvPr/>
        </p:nvPicPr>
        <p:blipFill>
          <a:blip r:embed="rId2"/>
          <a:srcRect l="34262" t="5470" r="42232" b="73467"/>
          <a:stretch>
            <a:fillRect/>
          </a:stretch>
        </p:blipFill>
        <p:spPr>
          <a:xfrm>
            <a:off x="3209514" y="3821668"/>
            <a:ext cx="838431" cy="828536"/>
          </a:xfrm>
          <a:custGeom>
            <a:avLst/>
            <a:gdLst/>
            <a:ahLst/>
            <a:cxnLst>
              <a:cxn ang="0">
                <a:pos x="wd2" y="hd2"/>
              </a:cxn>
              <a:cxn ang="5400000">
                <a:pos x="wd2" y="hd2"/>
              </a:cxn>
              <a:cxn ang="10800000">
                <a:pos x="wd2" y="hd2"/>
              </a:cxn>
              <a:cxn ang="16200000">
                <a:pos x="wd2" y="hd2"/>
              </a:cxn>
            </a:cxnLst>
            <a:rect l="0" t="0" r="r" b="b"/>
            <a:pathLst>
              <a:path w="19679" h="20595" extrusionOk="0">
                <a:moveTo>
                  <a:pt x="9840" y="0"/>
                </a:moveTo>
                <a:cubicBezTo>
                  <a:pt x="7322" y="0"/>
                  <a:pt x="4803" y="1008"/>
                  <a:pt x="2881" y="3019"/>
                </a:cubicBezTo>
                <a:cubicBezTo>
                  <a:pt x="-960" y="7039"/>
                  <a:pt x="-960" y="13558"/>
                  <a:pt x="2881" y="17580"/>
                </a:cubicBezTo>
                <a:cubicBezTo>
                  <a:pt x="6724" y="21600"/>
                  <a:pt x="12956" y="21600"/>
                  <a:pt x="16799" y="17580"/>
                </a:cubicBezTo>
                <a:cubicBezTo>
                  <a:pt x="20640" y="13558"/>
                  <a:pt x="20640" y="7039"/>
                  <a:pt x="16799" y="3019"/>
                </a:cubicBezTo>
                <a:cubicBezTo>
                  <a:pt x="14877" y="1008"/>
                  <a:pt x="12358" y="0"/>
                  <a:pt x="9840" y="0"/>
                </a:cubicBezTo>
                <a:close/>
              </a:path>
            </a:pathLst>
          </a:custGeom>
          <a:ln w="12700">
            <a:miter lim="400000"/>
          </a:ln>
        </p:spPr>
      </p:pic>
      <p:sp>
        <p:nvSpPr>
          <p:cNvPr id="232" name="Strategically aligned enterprise data architecture…"/>
          <p:cNvSpPr txBox="1"/>
          <p:nvPr/>
        </p:nvSpPr>
        <p:spPr>
          <a:xfrm>
            <a:off x="4116909" y="2055809"/>
            <a:ext cx="4368137" cy="6670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nchor="ctr">
            <a:spAutoFit/>
          </a:bodyPr>
          <a:lstStyle/>
          <a:p>
            <a:pPr marL="138113" indent="-138113" defTabSz="342900">
              <a:spcBef>
                <a:spcPts val="450"/>
              </a:spcBef>
              <a:buSzPct val="100000"/>
              <a:buFont typeface="Arial"/>
              <a:buChar char="•"/>
              <a:defRPr sz="1400">
                <a:solidFill>
                  <a:srgbClr val="5E5E5E"/>
                </a:solidFill>
              </a:defRPr>
            </a:pPr>
            <a:r>
              <a:rPr sz="1050"/>
              <a:t>Strategically aligned </a:t>
            </a:r>
            <a:r>
              <a:rPr sz="1050">
                <a:latin typeface="游ゴシック体 ボールド"/>
                <a:ea typeface="游ゴシック体 ボールド"/>
                <a:cs typeface="游ゴシック体 ボールド"/>
                <a:sym typeface="游ゴシック体 ボールド"/>
              </a:rPr>
              <a:t>enterprise data architecture</a:t>
            </a:r>
            <a:r>
              <a:rPr sz="1050"/>
              <a:t> </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Standardized datasets and data management</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Protect and unlock data through balanced infrastructure investment</a:t>
            </a:r>
          </a:p>
        </p:txBody>
      </p:sp>
      <p:sp>
        <p:nvSpPr>
          <p:cNvPr id="233" name="Data-driven decision making enabled across UHN…"/>
          <p:cNvSpPr txBox="1"/>
          <p:nvPr/>
        </p:nvSpPr>
        <p:spPr>
          <a:xfrm>
            <a:off x="4116908" y="1133215"/>
            <a:ext cx="3961953" cy="6670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nchor="ctr">
            <a:spAutoFit/>
          </a:bodyPr>
          <a:lstStyle/>
          <a:p>
            <a:pPr marL="138113" indent="-138113" defTabSz="342900">
              <a:spcBef>
                <a:spcPts val="450"/>
              </a:spcBef>
              <a:buSzPct val="100000"/>
              <a:buFont typeface="Arial"/>
              <a:buChar char="•"/>
              <a:defRPr sz="1400">
                <a:solidFill>
                  <a:srgbClr val="5E5E5E"/>
                </a:solidFill>
              </a:defRPr>
            </a:pPr>
            <a:r>
              <a:rPr sz="1050">
                <a:latin typeface="游ゴシック体 ボールド"/>
                <a:ea typeface="游ゴシック体 ボールド"/>
                <a:cs typeface="游ゴシック体 ボールド"/>
                <a:sym typeface="游ゴシック体 ボールド"/>
              </a:rPr>
              <a:t>Data-driven decision making</a:t>
            </a:r>
            <a:r>
              <a:rPr sz="1050"/>
              <a:t> enabled across UHN</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Liberated data assets for patient care, discovery and learning</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Policies built to support and enable strategic pursuits</a:t>
            </a:r>
          </a:p>
        </p:txBody>
      </p:sp>
      <p:sp>
        <p:nvSpPr>
          <p:cNvPr id="234" name="Improved data literacy across UHN (UHN community at large)…"/>
          <p:cNvSpPr txBox="1"/>
          <p:nvPr/>
        </p:nvSpPr>
        <p:spPr>
          <a:xfrm>
            <a:off x="4116908" y="2983908"/>
            <a:ext cx="4067300" cy="6670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nchor="ctr">
            <a:spAutoFit/>
          </a:bodyPr>
          <a:lstStyle/>
          <a:p>
            <a:pPr marL="138113" indent="-138113" defTabSz="342900">
              <a:spcBef>
                <a:spcPts val="450"/>
              </a:spcBef>
              <a:buSzPct val="100000"/>
              <a:buFont typeface="Arial"/>
              <a:buChar char="•"/>
              <a:defRPr sz="1400">
                <a:solidFill>
                  <a:srgbClr val="5E5E5E"/>
                </a:solidFill>
              </a:defRPr>
            </a:pPr>
            <a:r>
              <a:rPr sz="1050"/>
              <a:t>Improved </a:t>
            </a:r>
            <a:r>
              <a:rPr sz="1050">
                <a:latin typeface="游ゴシック体 ボールド"/>
                <a:ea typeface="游ゴシック体 ボールド"/>
                <a:cs typeface="游ゴシック体 ボールド"/>
                <a:sym typeface="游ゴシック体 ボールド"/>
              </a:rPr>
              <a:t>data literacy across</a:t>
            </a:r>
            <a:r>
              <a:rPr sz="1050"/>
              <a:t> UHN (UHN community at large)</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Transparency through data in all that we do</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Liberated capacity by balancing human-machine automation</a:t>
            </a:r>
          </a:p>
        </p:txBody>
      </p:sp>
      <p:sp>
        <p:nvSpPr>
          <p:cNvPr id="235" name="Empowered Leadership using analytics to drive novel care models…"/>
          <p:cNvSpPr txBox="1"/>
          <p:nvPr/>
        </p:nvSpPr>
        <p:spPr>
          <a:xfrm>
            <a:off x="4116908" y="3900100"/>
            <a:ext cx="4400942" cy="6670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nchor="ctr">
            <a:spAutoFit/>
          </a:bodyPr>
          <a:lstStyle/>
          <a:p>
            <a:pPr marL="138113" indent="-138113" defTabSz="342900">
              <a:spcBef>
                <a:spcPts val="450"/>
              </a:spcBef>
              <a:buSzPct val="100000"/>
              <a:buFont typeface="Arial"/>
              <a:buChar char="•"/>
              <a:defRPr sz="1400">
                <a:solidFill>
                  <a:srgbClr val="5E5E5E"/>
                </a:solidFill>
              </a:defRPr>
            </a:pPr>
            <a:r>
              <a:rPr sz="1050"/>
              <a:t>Empowered Leadership </a:t>
            </a:r>
            <a:r>
              <a:rPr sz="1050">
                <a:latin typeface="游ゴシック体 ボールド"/>
                <a:ea typeface="游ゴシック体 ボールド"/>
                <a:cs typeface="游ゴシック体 ボールド"/>
                <a:sym typeface="游ゴシック体 ボールド"/>
              </a:rPr>
              <a:t>using analytics to drive novel care models</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Supported insight and decision making through predictive analytics</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Empowered staff building innovative solutions using data</a:t>
            </a:r>
          </a:p>
        </p:txBody>
      </p:sp>
      <p:sp>
        <p:nvSpPr>
          <p:cNvPr id="236" name="Shape"/>
          <p:cNvSpPr/>
          <p:nvPr/>
        </p:nvSpPr>
        <p:spPr>
          <a:xfrm>
            <a:off x="3606448" y="4748249"/>
            <a:ext cx="5280879" cy="830680"/>
          </a:xfrm>
          <a:custGeom>
            <a:avLst/>
            <a:gdLst/>
            <a:ahLst/>
            <a:cxnLst>
              <a:cxn ang="0">
                <a:pos x="wd2" y="hd2"/>
              </a:cxn>
              <a:cxn ang="5400000">
                <a:pos x="wd2" y="hd2"/>
              </a:cxn>
              <a:cxn ang="10800000">
                <a:pos x="wd2" y="hd2"/>
              </a:cxn>
              <a:cxn ang="16200000">
                <a:pos x="wd2" y="hd2"/>
              </a:cxn>
            </a:cxnLst>
            <a:rect l="0" t="0" r="r" b="b"/>
            <a:pathLst>
              <a:path w="21589" h="21600" extrusionOk="0">
                <a:moveTo>
                  <a:pt x="0" y="0"/>
                </a:moveTo>
                <a:lnTo>
                  <a:pt x="19835" y="0"/>
                </a:lnTo>
                <a:cubicBezTo>
                  <a:pt x="20809" y="281"/>
                  <a:pt x="21577" y="4953"/>
                  <a:pt x="21589" y="10662"/>
                </a:cubicBezTo>
                <a:cubicBezTo>
                  <a:pt x="21600" y="16472"/>
                  <a:pt x="20826" y="21299"/>
                  <a:pt x="19835" y="21600"/>
                </a:cubicBezTo>
                <a:lnTo>
                  <a:pt x="0" y="21600"/>
                </a:lnTo>
                <a:lnTo>
                  <a:pt x="0" y="0"/>
                </a:lnTo>
                <a:close/>
              </a:path>
            </a:pathLst>
          </a:custGeom>
          <a:gradFill>
            <a:gsLst>
              <a:gs pos="110">
                <a:srgbClr val="CA9E1A">
                  <a:alpha val="17300"/>
                </a:srgbClr>
              </a:gs>
              <a:gs pos="90177">
                <a:srgbClr val="433100">
                  <a:alpha val="17300"/>
                </a:srgbClr>
              </a:gs>
            </a:gsLst>
            <a:lin ang="10800000"/>
          </a:gradFill>
          <a:ln w="12700">
            <a:miter lim="400000"/>
          </a:ln>
        </p:spPr>
        <p:txBody>
          <a:bodyPr lIns="34289" rIns="34289" anchor="ctr"/>
          <a:lstStyle/>
          <a:p>
            <a:pPr algn="ctr" defTabSz="308073">
              <a:defRPr sz="1500">
                <a:solidFill>
                  <a:srgbClr val="6B5117"/>
                </a:solidFill>
                <a:latin typeface="Helvetica Neue Medium"/>
                <a:ea typeface="Helvetica Neue Medium"/>
                <a:cs typeface="Helvetica Neue Medium"/>
                <a:sym typeface="Helvetica Neue Medium"/>
              </a:defRPr>
            </a:pPr>
            <a:endParaRPr sz="1125"/>
          </a:p>
        </p:txBody>
      </p:sp>
      <p:sp>
        <p:nvSpPr>
          <p:cNvPr id="237" name="TextBox 1"/>
          <p:cNvSpPr txBox="1"/>
          <p:nvPr/>
        </p:nvSpPr>
        <p:spPr>
          <a:xfrm>
            <a:off x="4098338" y="4929023"/>
            <a:ext cx="4588451" cy="4413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nchor="ctr">
            <a:spAutoFit/>
          </a:bodyPr>
          <a:lstStyle/>
          <a:p>
            <a:pPr marL="138113" indent="-138113" defTabSz="342900">
              <a:spcBef>
                <a:spcPts val="450"/>
              </a:spcBef>
              <a:buSzPct val="100000"/>
              <a:buFont typeface="Arial"/>
              <a:buChar char="•"/>
              <a:defRPr sz="1400">
                <a:solidFill>
                  <a:srgbClr val="5E5E5E"/>
                </a:solidFill>
              </a:defRPr>
            </a:pPr>
            <a:r>
              <a:rPr sz="1050"/>
              <a:t>Established partnerships supporting learning and development</a:t>
            </a:r>
            <a:endParaRPr sz="2100">
              <a:latin typeface="+mn-lt"/>
              <a:ea typeface="+mn-ea"/>
              <a:cs typeface="+mn-cs"/>
              <a:sym typeface="Helvetica"/>
            </a:endParaRPr>
          </a:p>
          <a:p>
            <a:pPr marL="138113" indent="-138113" defTabSz="342900">
              <a:spcBef>
                <a:spcPts val="450"/>
              </a:spcBef>
              <a:buSzPct val="100000"/>
              <a:buFont typeface="Arial"/>
              <a:buChar char="•"/>
              <a:defRPr sz="1400">
                <a:solidFill>
                  <a:srgbClr val="5E5E5E"/>
                </a:solidFill>
              </a:defRPr>
            </a:pPr>
            <a:r>
              <a:rPr sz="1050"/>
              <a:t>Enabled ethical public-private collaboration in the use of data and insight</a:t>
            </a:r>
          </a:p>
        </p:txBody>
      </p:sp>
      <p:pic>
        <p:nvPicPr>
          <p:cNvPr id="238" name="Picture 2" descr="Picture 2"/>
          <p:cNvPicPr>
            <a:picLocks noChangeAspect="1"/>
          </p:cNvPicPr>
          <p:nvPr/>
        </p:nvPicPr>
        <p:blipFill>
          <a:blip r:embed="rId2"/>
          <a:srcRect l="2780" t="24020" r="70715" b="52230"/>
          <a:stretch>
            <a:fillRect/>
          </a:stretch>
        </p:blipFill>
        <p:spPr>
          <a:xfrm>
            <a:off x="3204753" y="4749690"/>
            <a:ext cx="838430" cy="828536"/>
          </a:xfrm>
          <a:custGeom>
            <a:avLst/>
            <a:gdLst/>
            <a:ahLst/>
            <a:cxnLst>
              <a:cxn ang="0">
                <a:pos x="wd2" y="hd2"/>
              </a:cxn>
              <a:cxn ang="5400000">
                <a:pos x="wd2" y="hd2"/>
              </a:cxn>
              <a:cxn ang="10800000">
                <a:pos x="wd2" y="hd2"/>
              </a:cxn>
              <a:cxn ang="16200000">
                <a:pos x="wd2" y="hd2"/>
              </a:cxn>
            </a:cxnLst>
            <a:rect l="0" t="0" r="r" b="b"/>
            <a:pathLst>
              <a:path w="19679" h="20595" extrusionOk="0">
                <a:moveTo>
                  <a:pt x="9840" y="0"/>
                </a:moveTo>
                <a:cubicBezTo>
                  <a:pt x="7322" y="0"/>
                  <a:pt x="4803" y="1008"/>
                  <a:pt x="2881" y="3019"/>
                </a:cubicBezTo>
                <a:cubicBezTo>
                  <a:pt x="-960" y="7039"/>
                  <a:pt x="-960" y="13558"/>
                  <a:pt x="2881" y="17580"/>
                </a:cubicBezTo>
                <a:cubicBezTo>
                  <a:pt x="6724" y="21600"/>
                  <a:pt x="12956" y="21600"/>
                  <a:pt x="16799" y="17580"/>
                </a:cubicBezTo>
                <a:cubicBezTo>
                  <a:pt x="20640" y="13558"/>
                  <a:pt x="20640" y="7039"/>
                  <a:pt x="16799" y="3019"/>
                </a:cubicBezTo>
                <a:cubicBezTo>
                  <a:pt x="14877" y="1008"/>
                  <a:pt x="12358" y="0"/>
                  <a:pt x="9840" y="0"/>
                </a:cubicBezTo>
                <a:close/>
              </a:path>
            </a:pathLst>
          </a:custGeom>
          <a:ln w="12700">
            <a:miter lim="400000"/>
          </a:ln>
        </p:spPr>
      </p:pic>
      <p:sp>
        <p:nvSpPr>
          <p:cNvPr id="239" name="Michael Caesar, Chief Data &amp; Analytics Officer, UHN, 2022"/>
          <p:cNvSpPr txBox="1"/>
          <p:nvPr/>
        </p:nvSpPr>
        <p:spPr>
          <a:xfrm>
            <a:off x="136980" y="5824495"/>
            <a:ext cx="1779043" cy="1192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defRPr sz="700">
                <a:latin typeface="Helvetica Neue"/>
                <a:ea typeface="Helvetica Neue"/>
                <a:cs typeface="Helvetica Neue"/>
                <a:sym typeface="Helvetica Neue"/>
              </a:defRPr>
            </a:lvl1pPr>
          </a:lstStyle>
          <a:p>
            <a:r>
              <a:rPr sz="525"/>
              <a:t>Michael Caesar, Chief Data &amp; Analytics Officer, UHN, 2022</a:t>
            </a:r>
          </a:p>
        </p:txBody>
      </p:sp>
      <p:grpSp>
        <p:nvGrpSpPr>
          <p:cNvPr id="242" name="Group"/>
          <p:cNvGrpSpPr/>
          <p:nvPr/>
        </p:nvGrpSpPr>
        <p:grpSpPr>
          <a:xfrm>
            <a:off x="8228389" y="5655479"/>
            <a:ext cx="839564" cy="517987"/>
            <a:chOff x="0" y="0"/>
            <a:chExt cx="1119416" cy="690647"/>
          </a:xfrm>
        </p:grpSpPr>
        <p:sp>
          <p:nvSpPr>
            <p:cNvPr id="240" name="Data &amp; Analytics"/>
            <p:cNvSpPr txBox="1"/>
            <p:nvPr/>
          </p:nvSpPr>
          <p:spPr>
            <a:xfrm>
              <a:off x="325209" y="515794"/>
              <a:ext cx="794208" cy="17485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9050" tIns="19050" rIns="19050" bIns="19050" numCol="1" anchor="ctr">
              <a:spAutoFit/>
            </a:bodyPr>
            <a:lstStyle>
              <a:lvl1pPr algn="ctr" defTabSz="1219168">
                <a:defRPr sz="800" b="1" spc="-32">
                  <a:solidFill>
                    <a:srgbClr val="5E5E5E"/>
                  </a:solidFill>
                  <a:latin typeface="Helvetica Neue"/>
                  <a:ea typeface="Helvetica Neue"/>
                  <a:cs typeface="Helvetica Neue"/>
                  <a:sym typeface="Helvetica Neue"/>
                </a:defRPr>
              </a:lvl1pPr>
            </a:lstStyle>
            <a:p>
              <a:r>
                <a:rPr sz="600"/>
                <a:t>Data &amp; Analytics</a:t>
              </a:r>
            </a:p>
          </p:txBody>
        </p:sp>
        <p:pic>
          <p:nvPicPr>
            <p:cNvPr id="241" name="pasted-image.tiff" descr="pasted-image.tiff"/>
            <p:cNvPicPr>
              <a:picLocks noChangeAspect="1"/>
            </p:cNvPicPr>
            <p:nvPr/>
          </p:nvPicPr>
          <p:blipFill>
            <a:blip r:embed="rId3"/>
            <a:srcRect r="27280"/>
            <a:stretch>
              <a:fillRect/>
            </a:stretch>
          </p:blipFill>
          <p:spPr>
            <a:xfrm>
              <a:off x="0" y="0"/>
              <a:ext cx="733516" cy="229760"/>
            </a:xfrm>
            <a:prstGeom prst="rect">
              <a:avLst/>
            </a:prstGeom>
            <a:ln w="12700" cap="flat">
              <a:noFill/>
              <a:miter lim="400000"/>
            </a:ln>
            <a:effectLst/>
          </p:spPr>
        </p:pic>
      </p:grpSp>
    </p:spTree>
    <p:extLst>
      <p:ext uri="{BB962C8B-B14F-4D97-AF65-F5344CB8AC3E}">
        <p14:creationId xmlns:p14="http://schemas.microsoft.com/office/powerpoint/2010/main" val="23949133"/>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Slide Number Placeholder 5"/>
          <p:cNvSpPr txBox="1">
            <a:spLocks noGrp="1"/>
          </p:cNvSpPr>
          <p:nvPr>
            <p:ph type="sldNum" sz="quarter" idx="2"/>
          </p:nvPr>
        </p:nvSpPr>
        <p:spPr>
          <a:xfrm>
            <a:off x="8880556" y="5681902"/>
            <a:ext cx="125684"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59</a:t>
            </a:fld>
            <a:endParaRPr/>
          </a:p>
        </p:txBody>
      </p:sp>
      <p:sp>
        <p:nvSpPr>
          <p:cNvPr id="245" name="Rectangle"/>
          <p:cNvSpPr/>
          <p:nvPr/>
        </p:nvSpPr>
        <p:spPr>
          <a:xfrm>
            <a:off x="5139762" y="2414129"/>
            <a:ext cx="1889777" cy="1624928"/>
          </a:xfrm>
          <a:prstGeom prst="rect">
            <a:avLst/>
          </a:prstGeom>
          <a:solidFill>
            <a:schemeClr val="accent1">
              <a:alpha val="89822"/>
            </a:schemeClr>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246" name="Rectangle"/>
          <p:cNvSpPr/>
          <p:nvPr/>
        </p:nvSpPr>
        <p:spPr>
          <a:xfrm>
            <a:off x="3207655" y="2414129"/>
            <a:ext cx="1889777" cy="1624928"/>
          </a:xfrm>
          <a:prstGeom prst="rect">
            <a:avLst/>
          </a:prstGeom>
          <a:solidFill>
            <a:schemeClr val="accent1">
              <a:alpha val="89822"/>
            </a:schemeClr>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247" name="Rectangle"/>
          <p:cNvSpPr/>
          <p:nvPr/>
        </p:nvSpPr>
        <p:spPr>
          <a:xfrm>
            <a:off x="6447910" y="4117528"/>
            <a:ext cx="2507082" cy="916646"/>
          </a:xfrm>
          <a:prstGeom prst="rect">
            <a:avLst/>
          </a:prstGeom>
          <a:solidFill>
            <a:schemeClr val="accent1">
              <a:alpha val="74690"/>
            </a:schemeClr>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248" name="Rectangle"/>
          <p:cNvSpPr/>
          <p:nvPr/>
        </p:nvSpPr>
        <p:spPr>
          <a:xfrm>
            <a:off x="1275789" y="4117528"/>
            <a:ext cx="2507082" cy="916646"/>
          </a:xfrm>
          <a:prstGeom prst="rect">
            <a:avLst/>
          </a:prstGeom>
          <a:solidFill>
            <a:schemeClr val="accent1">
              <a:alpha val="74690"/>
            </a:schemeClr>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249" name="Rectangle"/>
          <p:cNvSpPr/>
          <p:nvPr/>
        </p:nvSpPr>
        <p:spPr>
          <a:xfrm>
            <a:off x="3861293" y="4114930"/>
            <a:ext cx="2507083" cy="916646"/>
          </a:xfrm>
          <a:prstGeom prst="rect">
            <a:avLst/>
          </a:prstGeom>
          <a:solidFill>
            <a:schemeClr val="accent1">
              <a:alpha val="74690"/>
            </a:schemeClr>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250" name="Rectangle"/>
          <p:cNvSpPr/>
          <p:nvPr/>
        </p:nvSpPr>
        <p:spPr>
          <a:xfrm>
            <a:off x="7071868" y="2414129"/>
            <a:ext cx="1889777" cy="1624928"/>
          </a:xfrm>
          <a:prstGeom prst="rect">
            <a:avLst/>
          </a:prstGeom>
          <a:solidFill>
            <a:schemeClr val="accent1">
              <a:alpha val="89822"/>
            </a:schemeClr>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251" name="Rectangle"/>
          <p:cNvSpPr/>
          <p:nvPr/>
        </p:nvSpPr>
        <p:spPr>
          <a:xfrm>
            <a:off x="1275993" y="2414129"/>
            <a:ext cx="1889777" cy="1624928"/>
          </a:xfrm>
          <a:prstGeom prst="rect">
            <a:avLst/>
          </a:prstGeom>
          <a:solidFill>
            <a:schemeClr val="accent1">
              <a:alpha val="89822"/>
            </a:schemeClr>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pic>
        <p:nvPicPr>
          <p:cNvPr id="252" name="921305.png" descr="921305.png"/>
          <p:cNvPicPr>
            <a:picLocks noChangeAspect="1"/>
          </p:cNvPicPr>
          <p:nvPr/>
        </p:nvPicPr>
        <p:blipFill>
          <a:blip r:embed="rId2">
            <a:alphaModFix amt="10350"/>
          </a:blip>
          <a:stretch>
            <a:fillRect/>
          </a:stretch>
        </p:blipFill>
        <p:spPr>
          <a:xfrm>
            <a:off x="5283340" y="2411268"/>
            <a:ext cx="1596313" cy="1596313"/>
          </a:xfrm>
          <a:prstGeom prst="rect">
            <a:avLst/>
          </a:prstGeom>
          <a:ln w="12700">
            <a:miter lim="400000"/>
          </a:ln>
        </p:spPr>
      </p:pic>
      <p:sp>
        <p:nvSpPr>
          <p:cNvPr id="253" name="Rectangle"/>
          <p:cNvSpPr/>
          <p:nvPr/>
        </p:nvSpPr>
        <p:spPr>
          <a:xfrm>
            <a:off x="1275789" y="5111374"/>
            <a:ext cx="7683966" cy="582932"/>
          </a:xfrm>
          <a:prstGeom prst="rect">
            <a:avLst/>
          </a:prstGeom>
          <a:solidFill>
            <a:srgbClr val="2B6EBA">
              <a:alpha val="64822"/>
            </a:srgbClr>
          </a:solidFill>
          <a:ln w="12700">
            <a:miter lim="400000"/>
          </a:ln>
        </p:spPr>
        <p:txBody>
          <a:bodyPr lIns="34289" rIns="34289" anchor="ctr"/>
          <a:lstStyle/>
          <a:p>
            <a:pPr algn="ctr" defTabSz="309563">
              <a:defRPr sz="1600">
                <a:latin typeface="Helvetica Neue Medium"/>
                <a:ea typeface="Helvetica Neue Medium"/>
                <a:cs typeface="Helvetica Neue Medium"/>
                <a:sym typeface="Helvetica Neue Medium"/>
              </a:defRPr>
            </a:pPr>
            <a:endParaRPr sz="1200"/>
          </a:p>
        </p:txBody>
      </p:sp>
      <p:sp>
        <p:nvSpPr>
          <p:cNvPr id="254" name="Rectangle"/>
          <p:cNvSpPr/>
          <p:nvPr/>
        </p:nvSpPr>
        <p:spPr>
          <a:xfrm>
            <a:off x="1275789" y="1158654"/>
            <a:ext cx="7683966" cy="1184364"/>
          </a:xfrm>
          <a:prstGeom prst="rect">
            <a:avLst/>
          </a:prstGeom>
          <a:solidFill>
            <a:srgbClr val="AA9969"/>
          </a:solidFill>
          <a:ln w="12700">
            <a:miter lim="400000"/>
          </a:ln>
        </p:spPr>
        <p:txBody>
          <a:bodyPr lIns="34289" rIns="34289" anchor="ct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255" name="VISION"/>
          <p:cNvSpPr txBox="1"/>
          <p:nvPr/>
        </p:nvSpPr>
        <p:spPr>
          <a:xfrm>
            <a:off x="227158" y="1423459"/>
            <a:ext cx="687242" cy="1615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defTabSz="412750">
              <a:defRPr sz="900" spc="171">
                <a:latin typeface="游ゴシック体 ボールド"/>
                <a:ea typeface="游ゴシック体 ボールド"/>
                <a:cs typeface="游ゴシック体 ボールド"/>
                <a:sym typeface="游ゴシック体 ボールド"/>
              </a:defRPr>
            </a:lvl1pPr>
          </a:lstStyle>
          <a:p>
            <a:r>
              <a:rPr sz="800" dirty="0"/>
              <a:t>VISION</a:t>
            </a:r>
          </a:p>
        </p:txBody>
      </p:sp>
      <p:sp>
        <p:nvSpPr>
          <p:cNvPr id="256" name="MISSION"/>
          <p:cNvSpPr txBox="1"/>
          <p:nvPr/>
        </p:nvSpPr>
        <p:spPr>
          <a:xfrm>
            <a:off x="227158" y="1893757"/>
            <a:ext cx="788826" cy="16158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defTabSz="412750">
              <a:defRPr sz="900" spc="171">
                <a:latin typeface="游ゴシック体 ボールド"/>
                <a:ea typeface="游ゴシック体 ボールド"/>
                <a:cs typeface="游ゴシック体 ボールド"/>
                <a:sym typeface="游ゴシック体 ボールド"/>
              </a:defRPr>
            </a:lvl1pPr>
          </a:lstStyle>
          <a:p>
            <a:r>
              <a:rPr sz="800" dirty="0"/>
              <a:t>MISSION</a:t>
            </a:r>
          </a:p>
        </p:txBody>
      </p:sp>
      <p:sp>
        <p:nvSpPr>
          <p:cNvPr id="257" name="AREAS OF FOCUS"/>
          <p:cNvSpPr txBox="1"/>
          <p:nvPr/>
        </p:nvSpPr>
        <p:spPr>
          <a:xfrm>
            <a:off x="227159" y="3181429"/>
            <a:ext cx="862986" cy="2846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defTabSz="412750">
              <a:defRPr sz="900" spc="171">
                <a:latin typeface="游ゴシック体 ボールド"/>
                <a:ea typeface="游ゴシック体 ボールド"/>
                <a:cs typeface="游ゴシック体 ボールド"/>
                <a:sym typeface="游ゴシック体 ボールド"/>
              </a:defRPr>
            </a:lvl1pPr>
          </a:lstStyle>
          <a:p>
            <a:r>
              <a:rPr sz="800" dirty="0"/>
              <a:t>AREAS OF FOCUS</a:t>
            </a:r>
          </a:p>
        </p:txBody>
      </p:sp>
      <p:sp>
        <p:nvSpPr>
          <p:cNvPr id="258" name="STRATEGIC UNDERPINNINGS"/>
          <p:cNvSpPr txBox="1"/>
          <p:nvPr/>
        </p:nvSpPr>
        <p:spPr>
          <a:xfrm>
            <a:off x="216205" y="5252324"/>
            <a:ext cx="1053863" cy="2846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defTabSz="412750">
              <a:defRPr sz="900" spc="171">
                <a:latin typeface="游ゴシック体 ボールド"/>
                <a:ea typeface="游ゴシック体 ボールド"/>
                <a:cs typeface="游ゴシック体 ボールド"/>
                <a:sym typeface="游ゴシック体 ボールド"/>
              </a:defRPr>
            </a:lvl1pPr>
          </a:lstStyle>
          <a:p>
            <a:r>
              <a:rPr sz="800" dirty="0"/>
              <a:t>STRATEGIC UNDERPINNINGS</a:t>
            </a:r>
          </a:p>
        </p:txBody>
      </p:sp>
      <p:sp>
        <p:nvSpPr>
          <p:cNvPr id="259" name="ROADMAP &amp; DELIVERABLES"/>
          <p:cNvSpPr txBox="1"/>
          <p:nvPr/>
        </p:nvSpPr>
        <p:spPr>
          <a:xfrm>
            <a:off x="232216" y="4452026"/>
            <a:ext cx="984203" cy="2846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defTabSz="412750">
              <a:defRPr sz="900" spc="171">
                <a:latin typeface="游ゴシック体 ボールド"/>
                <a:ea typeface="游ゴシック体 ボールド"/>
                <a:cs typeface="游ゴシック体 ボールド"/>
                <a:sym typeface="游ゴシック体 ボールド"/>
              </a:defRPr>
            </a:lvl1pPr>
          </a:lstStyle>
          <a:p>
            <a:r>
              <a:rPr sz="800"/>
              <a:t>ROADMAP &amp; DELIVERABLES</a:t>
            </a:r>
          </a:p>
        </p:txBody>
      </p:sp>
      <p:pic>
        <p:nvPicPr>
          <p:cNvPr id="260" name="istockphoto-1166941839-612x612.jpg" descr="istockphoto-1166941839-612x612.jpg"/>
          <p:cNvPicPr>
            <a:picLocks noChangeAspect="1"/>
          </p:cNvPicPr>
          <p:nvPr/>
        </p:nvPicPr>
        <p:blipFill>
          <a:blip r:embed="rId3">
            <a:alphaModFix amt="9756"/>
          </a:blip>
          <a:srcRect l="22606" t="21411" r="22613" b="23733"/>
          <a:stretch>
            <a:fillRect/>
          </a:stretch>
        </p:blipFill>
        <p:spPr>
          <a:xfrm>
            <a:off x="3349211" y="2414122"/>
            <a:ext cx="1598641" cy="1600799"/>
          </a:xfrm>
          <a:custGeom>
            <a:avLst/>
            <a:gdLst/>
            <a:ahLst/>
            <a:cxnLst>
              <a:cxn ang="0">
                <a:pos x="wd2" y="hd2"/>
              </a:cxn>
              <a:cxn ang="5400000">
                <a:pos x="wd2" y="hd2"/>
              </a:cxn>
              <a:cxn ang="10800000">
                <a:pos x="wd2" y="hd2"/>
              </a:cxn>
              <a:cxn ang="16200000">
                <a:pos x="wd2" y="hd2"/>
              </a:cxn>
            </a:cxnLst>
            <a:rect l="0" t="0" r="r" b="b"/>
            <a:pathLst>
              <a:path w="21560" h="21584" extrusionOk="0">
                <a:moveTo>
                  <a:pt x="10772" y="0"/>
                </a:moveTo>
                <a:cubicBezTo>
                  <a:pt x="10761" y="11"/>
                  <a:pt x="10155" y="1145"/>
                  <a:pt x="9424" y="2520"/>
                </a:cubicBezTo>
                <a:lnTo>
                  <a:pt x="8091" y="5021"/>
                </a:lnTo>
                <a:lnTo>
                  <a:pt x="8966" y="5065"/>
                </a:lnTo>
                <a:lnTo>
                  <a:pt x="9837" y="5117"/>
                </a:lnTo>
                <a:lnTo>
                  <a:pt x="9861" y="13349"/>
                </a:lnTo>
                <a:lnTo>
                  <a:pt x="9885" y="21584"/>
                </a:lnTo>
                <a:lnTo>
                  <a:pt x="11680" y="21584"/>
                </a:lnTo>
                <a:lnTo>
                  <a:pt x="11704" y="13349"/>
                </a:lnTo>
                <a:lnTo>
                  <a:pt x="11728" y="5117"/>
                </a:lnTo>
                <a:lnTo>
                  <a:pt x="12603" y="5085"/>
                </a:lnTo>
                <a:cubicBezTo>
                  <a:pt x="13087" y="5070"/>
                  <a:pt x="13471" y="5028"/>
                  <a:pt x="13454" y="4989"/>
                </a:cubicBezTo>
                <a:cubicBezTo>
                  <a:pt x="13354" y="4759"/>
                  <a:pt x="10787" y="-16"/>
                  <a:pt x="10772" y="0"/>
                </a:cubicBezTo>
                <a:close/>
                <a:moveTo>
                  <a:pt x="2" y="5101"/>
                </a:moveTo>
                <a:cubicBezTo>
                  <a:pt x="-20" y="5123"/>
                  <a:pt x="153" y="5753"/>
                  <a:pt x="383" y="6498"/>
                </a:cubicBezTo>
                <a:cubicBezTo>
                  <a:pt x="612" y="7243"/>
                  <a:pt x="982" y="8461"/>
                  <a:pt x="1206" y="9203"/>
                </a:cubicBezTo>
                <a:lnTo>
                  <a:pt x="1616" y="10547"/>
                </a:lnTo>
                <a:lnTo>
                  <a:pt x="2262" y="9909"/>
                </a:lnTo>
                <a:lnTo>
                  <a:pt x="2904" y="9267"/>
                </a:lnTo>
                <a:lnTo>
                  <a:pt x="4554" y="10924"/>
                </a:lnTo>
                <a:lnTo>
                  <a:pt x="6204" y="12578"/>
                </a:lnTo>
                <a:lnTo>
                  <a:pt x="6204" y="17081"/>
                </a:lnTo>
                <a:lnTo>
                  <a:pt x="6204" y="21584"/>
                </a:lnTo>
                <a:lnTo>
                  <a:pt x="7950" y="21584"/>
                </a:lnTo>
                <a:lnTo>
                  <a:pt x="7926" y="16652"/>
                </a:lnTo>
                <a:lnTo>
                  <a:pt x="7906" y="11723"/>
                </a:lnTo>
                <a:lnTo>
                  <a:pt x="6040" y="9861"/>
                </a:lnTo>
                <a:lnTo>
                  <a:pt x="4181" y="7995"/>
                </a:lnTo>
                <a:lnTo>
                  <a:pt x="4819" y="7349"/>
                </a:lnTo>
                <a:lnTo>
                  <a:pt x="5457" y="6702"/>
                </a:lnTo>
                <a:lnTo>
                  <a:pt x="4723" y="6486"/>
                </a:lnTo>
                <a:cubicBezTo>
                  <a:pt x="4318" y="6367"/>
                  <a:pt x="3101" y="5996"/>
                  <a:pt x="2017" y="5663"/>
                </a:cubicBezTo>
                <a:cubicBezTo>
                  <a:pt x="933" y="5331"/>
                  <a:pt x="25" y="5078"/>
                  <a:pt x="2" y="5101"/>
                </a:cubicBezTo>
                <a:close/>
                <a:moveTo>
                  <a:pt x="21559" y="5101"/>
                </a:moveTo>
                <a:cubicBezTo>
                  <a:pt x="21538" y="5079"/>
                  <a:pt x="20305" y="5432"/>
                  <a:pt x="18817" y="5884"/>
                </a:cubicBezTo>
                <a:lnTo>
                  <a:pt x="16108" y="6710"/>
                </a:lnTo>
                <a:lnTo>
                  <a:pt x="16746" y="7349"/>
                </a:lnTo>
                <a:lnTo>
                  <a:pt x="17384" y="7991"/>
                </a:lnTo>
                <a:lnTo>
                  <a:pt x="15477" y="9909"/>
                </a:lnTo>
                <a:lnTo>
                  <a:pt x="13570" y="11823"/>
                </a:lnTo>
                <a:lnTo>
                  <a:pt x="13570" y="16700"/>
                </a:lnTo>
                <a:lnTo>
                  <a:pt x="13570" y="21584"/>
                </a:lnTo>
                <a:lnTo>
                  <a:pt x="15357" y="21584"/>
                </a:lnTo>
                <a:lnTo>
                  <a:pt x="15357" y="17077"/>
                </a:lnTo>
                <a:lnTo>
                  <a:pt x="15357" y="12566"/>
                </a:lnTo>
                <a:lnTo>
                  <a:pt x="17011" y="10916"/>
                </a:lnTo>
                <a:lnTo>
                  <a:pt x="18661" y="9271"/>
                </a:lnTo>
                <a:lnTo>
                  <a:pt x="19307" y="9913"/>
                </a:lnTo>
                <a:lnTo>
                  <a:pt x="19949" y="10551"/>
                </a:lnTo>
                <a:lnTo>
                  <a:pt x="20146" y="9909"/>
                </a:lnTo>
                <a:cubicBezTo>
                  <a:pt x="20253" y="9556"/>
                  <a:pt x="20623" y="8339"/>
                  <a:pt x="20969" y="7204"/>
                </a:cubicBezTo>
                <a:cubicBezTo>
                  <a:pt x="21314" y="6069"/>
                  <a:pt x="21580" y="5122"/>
                  <a:pt x="21559" y="5101"/>
                </a:cubicBezTo>
                <a:close/>
              </a:path>
            </a:pathLst>
          </a:custGeom>
          <a:ln w="12700">
            <a:miter lim="400000"/>
          </a:ln>
        </p:spPr>
      </p:pic>
      <p:pic>
        <p:nvPicPr>
          <p:cNvPr id="261" name="1886188-200.png" descr="1886188-200.png"/>
          <p:cNvPicPr>
            <a:picLocks noChangeAspect="1"/>
          </p:cNvPicPr>
          <p:nvPr/>
        </p:nvPicPr>
        <p:blipFill>
          <a:blip r:embed="rId4">
            <a:alphaModFix amt="10350"/>
          </a:blip>
          <a:stretch>
            <a:fillRect/>
          </a:stretch>
        </p:blipFill>
        <p:spPr>
          <a:xfrm>
            <a:off x="7271511" y="2452353"/>
            <a:ext cx="1654895" cy="1654895"/>
          </a:xfrm>
          <a:prstGeom prst="rect">
            <a:avLst/>
          </a:prstGeom>
          <a:ln w="12700">
            <a:miter lim="400000"/>
          </a:ln>
        </p:spPr>
      </p:pic>
      <p:pic>
        <p:nvPicPr>
          <p:cNvPr id="262" name="935840-200.png" descr="935840-200.png"/>
          <p:cNvPicPr>
            <a:picLocks noChangeAspect="1"/>
          </p:cNvPicPr>
          <p:nvPr/>
        </p:nvPicPr>
        <p:blipFill>
          <a:blip r:embed="rId5">
            <a:alphaModFix amt="20326"/>
          </a:blip>
          <a:stretch>
            <a:fillRect/>
          </a:stretch>
        </p:blipFill>
        <p:spPr>
          <a:xfrm>
            <a:off x="2520638" y="5089430"/>
            <a:ext cx="582962" cy="582962"/>
          </a:xfrm>
          <a:prstGeom prst="rect">
            <a:avLst/>
          </a:prstGeom>
          <a:ln w="12700">
            <a:miter lim="400000"/>
          </a:ln>
        </p:spPr>
      </p:pic>
      <p:pic>
        <p:nvPicPr>
          <p:cNvPr id="263" name="1630963-200.png" descr="1630963-200.png"/>
          <p:cNvPicPr>
            <a:picLocks noChangeAspect="1"/>
          </p:cNvPicPr>
          <p:nvPr/>
        </p:nvPicPr>
        <p:blipFill>
          <a:blip r:embed="rId6">
            <a:alphaModFix amt="19765"/>
          </a:blip>
          <a:stretch>
            <a:fillRect/>
          </a:stretch>
        </p:blipFill>
        <p:spPr>
          <a:xfrm>
            <a:off x="4788267" y="5125348"/>
            <a:ext cx="538976" cy="538976"/>
          </a:xfrm>
          <a:prstGeom prst="rect">
            <a:avLst/>
          </a:prstGeom>
          <a:ln w="12700">
            <a:miter lim="400000"/>
          </a:ln>
        </p:spPr>
      </p:pic>
      <p:pic>
        <p:nvPicPr>
          <p:cNvPr id="264" name="1178583-200.png" descr="1178583-200.png"/>
          <p:cNvPicPr>
            <a:picLocks noChangeAspect="1"/>
          </p:cNvPicPr>
          <p:nvPr/>
        </p:nvPicPr>
        <p:blipFill>
          <a:blip r:embed="rId7">
            <a:alphaModFix amt="20436"/>
          </a:blip>
          <a:stretch>
            <a:fillRect/>
          </a:stretch>
        </p:blipFill>
        <p:spPr>
          <a:xfrm>
            <a:off x="6417135" y="5103356"/>
            <a:ext cx="583004" cy="583004"/>
          </a:xfrm>
          <a:prstGeom prst="rect">
            <a:avLst/>
          </a:prstGeom>
          <a:ln w="12700">
            <a:miter lim="400000"/>
          </a:ln>
        </p:spPr>
      </p:pic>
      <p:pic>
        <p:nvPicPr>
          <p:cNvPr id="265" name="1361408-200.png" descr="1361408-200.png"/>
          <p:cNvPicPr>
            <a:picLocks noChangeAspect="1"/>
          </p:cNvPicPr>
          <p:nvPr/>
        </p:nvPicPr>
        <p:blipFill>
          <a:blip r:embed="rId8">
            <a:alphaModFix amt="20329"/>
          </a:blip>
          <a:stretch>
            <a:fillRect/>
          </a:stretch>
        </p:blipFill>
        <p:spPr>
          <a:xfrm>
            <a:off x="8321077" y="5153926"/>
            <a:ext cx="481821" cy="481821"/>
          </a:xfrm>
          <a:prstGeom prst="rect">
            <a:avLst/>
          </a:prstGeom>
          <a:ln w="12700">
            <a:miter lim="400000"/>
          </a:ln>
        </p:spPr>
      </p:pic>
      <p:pic>
        <p:nvPicPr>
          <p:cNvPr id="266" name="232487-200.png" descr="232487-200.png"/>
          <p:cNvPicPr>
            <a:picLocks noChangeAspect="1"/>
          </p:cNvPicPr>
          <p:nvPr/>
        </p:nvPicPr>
        <p:blipFill>
          <a:blip r:embed="rId9">
            <a:alphaModFix amt="20000"/>
          </a:blip>
          <a:stretch>
            <a:fillRect/>
          </a:stretch>
        </p:blipFill>
        <p:spPr>
          <a:xfrm>
            <a:off x="1186398" y="4074044"/>
            <a:ext cx="1016226" cy="1016226"/>
          </a:xfrm>
          <a:prstGeom prst="rect">
            <a:avLst/>
          </a:prstGeom>
          <a:ln w="12700">
            <a:miter lim="400000"/>
          </a:ln>
        </p:spPr>
      </p:pic>
      <p:pic>
        <p:nvPicPr>
          <p:cNvPr id="267" name="2532351.png" descr="2532351.png"/>
          <p:cNvPicPr>
            <a:picLocks noChangeAspect="1"/>
          </p:cNvPicPr>
          <p:nvPr/>
        </p:nvPicPr>
        <p:blipFill>
          <a:blip r:embed="rId10">
            <a:alphaModFix amt="20000"/>
          </a:blip>
          <a:stretch>
            <a:fillRect/>
          </a:stretch>
        </p:blipFill>
        <p:spPr>
          <a:xfrm>
            <a:off x="3845072" y="4085888"/>
            <a:ext cx="984203" cy="984203"/>
          </a:xfrm>
          <a:prstGeom prst="rect">
            <a:avLst/>
          </a:prstGeom>
          <a:ln w="12700">
            <a:miter lim="400000"/>
          </a:ln>
        </p:spPr>
      </p:pic>
      <p:sp>
        <p:nvSpPr>
          <p:cNvPr id="268" name="Analytics &amp; Insight"/>
          <p:cNvSpPr txBox="1"/>
          <p:nvPr/>
        </p:nvSpPr>
        <p:spPr>
          <a:xfrm>
            <a:off x="4246529" y="4235730"/>
            <a:ext cx="1761537" cy="1760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defTabSz="228600">
              <a:lnSpc>
                <a:spcPct val="70000"/>
              </a:lnSpc>
              <a:defRPr sz="1600" b="1">
                <a:solidFill>
                  <a:srgbClr val="FFFFFF"/>
                </a:solidFill>
                <a:uFill>
                  <a:solidFill>
                    <a:srgbClr val="0078D4"/>
                  </a:solidFill>
                </a:uFill>
                <a:latin typeface="+mj-lt"/>
                <a:ea typeface="+mj-ea"/>
                <a:cs typeface="+mj-cs"/>
                <a:sym typeface="Calibri"/>
              </a:defRPr>
            </a:lvl1pPr>
          </a:lstStyle>
          <a:p>
            <a:r>
              <a:rPr sz="1200"/>
              <a:t>Analytics &amp; Insight</a:t>
            </a:r>
          </a:p>
        </p:txBody>
      </p:sp>
      <p:sp>
        <p:nvSpPr>
          <p:cNvPr id="269" name="Decision Intelligence"/>
          <p:cNvSpPr txBox="1"/>
          <p:nvPr/>
        </p:nvSpPr>
        <p:spPr>
          <a:xfrm>
            <a:off x="1481395" y="4235730"/>
            <a:ext cx="2095871" cy="17607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defTabSz="228600">
              <a:lnSpc>
                <a:spcPct val="70000"/>
              </a:lnSpc>
              <a:defRPr sz="1600" b="1">
                <a:solidFill>
                  <a:srgbClr val="FFFFFF"/>
                </a:solidFill>
                <a:uFill>
                  <a:solidFill>
                    <a:srgbClr val="0078D4"/>
                  </a:solidFill>
                </a:uFill>
                <a:latin typeface="+mj-lt"/>
                <a:ea typeface="+mj-ea"/>
                <a:cs typeface="+mj-cs"/>
                <a:sym typeface="Calibri"/>
              </a:defRPr>
            </a:lvl1pPr>
          </a:lstStyle>
          <a:p>
            <a:r>
              <a:rPr sz="1200"/>
              <a:t>Decision Intelligence</a:t>
            </a:r>
          </a:p>
        </p:txBody>
      </p:sp>
      <p:pic>
        <p:nvPicPr>
          <p:cNvPr id="270" name="3094933.png" descr="3094933.png"/>
          <p:cNvPicPr>
            <a:picLocks noChangeAspect="1"/>
          </p:cNvPicPr>
          <p:nvPr/>
        </p:nvPicPr>
        <p:blipFill>
          <a:blip r:embed="rId11">
            <a:alphaModFix amt="19995"/>
          </a:blip>
          <a:stretch>
            <a:fillRect/>
          </a:stretch>
        </p:blipFill>
        <p:spPr>
          <a:xfrm>
            <a:off x="6452673" y="4100171"/>
            <a:ext cx="917183" cy="917184"/>
          </a:xfrm>
          <a:prstGeom prst="rect">
            <a:avLst/>
          </a:prstGeom>
          <a:ln w="12700">
            <a:miter lim="400000"/>
          </a:ln>
        </p:spPr>
      </p:pic>
      <p:sp>
        <p:nvSpPr>
          <p:cNvPr id="271" name="Performance Management Systems"/>
          <p:cNvSpPr txBox="1"/>
          <p:nvPr/>
        </p:nvSpPr>
        <p:spPr>
          <a:xfrm>
            <a:off x="6658278" y="4175869"/>
            <a:ext cx="2049775" cy="3376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p>
            <a:pPr algn="ctr" defTabSz="171450">
              <a:lnSpc>
                <a:spcPct val="80000"/>
              </a:lnSpc>
              <a:defRPr sz="1600" b="1" spc="-132">
                <a:solidFill>
                  <a:srgbClr val="FFFFFF"/>
                </a:solidFill>
                <a:uFill>
                  <a:solidFill>
                    <a:srgbClr val="0078D4"/>
                  </a:solidFill>
                </a:uFill>
                <a:latin typeface="+mj-lt"/>
                <a:ea typeface="+mj-ea"/>
                <a:cs typeface="+mj-cs"/>
                <a:sym typeface="Calibri"/>
              </a:defRPr>
            </a:pPr>
            <a:r>
              <a:rPr sz="1200"/>
              <a:t>P</a:t>
            </a:r>
            <a:r>
              <a:rPr sz="1200" spc="0"/>
              <a:t>erformance Management Systems</a:t>
            </a:r>
          </a:p>
        </p:txBody>
      </p:sp>
      <p:sp>
        <p:nvSpPr>
          <p:cNvPr id="272" name="Standard work supporting data exploration, benchmarking, KPI, registries, and improvement"/>
          <p:cNvSpPr txBox="1"/>
          <p:nvPr/>
        </p:nvSpPr>
        <p:spPr>
          <a:xfrm>
            <a:off x="6517508" y="4584649"/>
            <a:ext cx="2402028" cy="2628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defTabSz="228600">
              <a:lnSpc>
                <a:spcPct val="80000"/>
              </a:lnSpc>
              <a:spcBef>
                <a:spcPts val="700"/>
              </a:spcBef>
              <a:defRPr sz="1200">
                <a:solidFill>
                  <a:srgbClr val="FFFFFF"/>
                </a:solidFill>
                <a:uFill>
                  <a:solidFill>
                    <a:srgbClr val="0078D4"/>
                  </a:solidFill>
                </a:uFill>
                <a:latin typeface="+mj-lt"/>
                <a:ea typeface="+mj-ea"/>
                <a:cs typeface="+mj-cs"/>
                <a:sym typeface="Calibri"/>
              </a:defRPr>
            </a:lvl1pPr>
          </a:lstStyle>
          <a:p>
            <a:r>
              <a:rPr sz="900"/>
              <a:t>Standard work supporting data exploration, benchmarking, KPI, registries, and improvement</a:t>
            </a:r>
          </a:p>
        </p:txBody>
      </p:sp>
      <p:sp>
        <p:nvSpPr>
          <p:cNvPr id="273" name="Surface improvement opportunities and automate solutions through analytics, modelling, simulation &amp; optimizing"/>
          <p:cNvSpPr txBox="1"/>
          <p:nvPr/>
        </p:nvSpPr>
        <p:spPr>
          <a:xfrm>
            <a:off x="3976559" y="4587016"/>
            <a:ext cx="2366312" cy="3736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defTabSz="228600">
              <a:lnSpc>
                <a:spcPct val="80000"/>
              </a:lnSpc>
              <a:spcBef>
                <a:spcPts val="700"/>
              </a:spcBef>
              <a:defRPr sz="1200">
                <a:solidFill>
                  <a:srgbClr val="FFFFFF"/>
                </a:solidFill>
                <a:uFill>
                  <a:solidFill>
                    <a:srgbClr val="0078D4"/>
                  </a:solidFill>
                </a:uFill>
                <a:latin typeface="+mj-lt"/>
                <a:ea typeface="+mj-ea"/>
                <a:cs typeface="+mj-cs"/>
                <a:sym typeface="Calibri"/>
              </a:defRPr>
            </a:lvl1pPr>
          </a:lstStyle>
          <a:p>
            <a:r>
              <a:rPr sz="900"/>
              <a:t>Surface improvement opportunities and automate solutions through analytics, modelling, simulation &amp; optimizing</a:t>
            </a:r>
          </a:p>
        </p:txBody>
      </p:sp>
      <p:sp>
        <p:nvSpPr>
          <p:cNvPr id="274" name="Dashboards &amp; scorecards through visualization, storytelling tools &amp; automation"/>
          <p:cNvSpPr txBox="1"/>
          <p:nvPr/>
        </p:nvSpPr>
        <p:spPr>
          <a:xfrm>
            <a:off x="1341698" y="4584649"/>
            <a:ext cx="2351411" cy="26282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defTabSz="228600">
              <a:lnSpc>
                <a:spcPct val="80000"/>
              </a:lnSpc>
              <a:spcBef>
                <a:spcPts val="700"/>
              </a:spcBef>
              <a:defRPr sz="1200">
                <a:solidFill>
                  <a:srgbClr val="FFFFFF"/>
                </a:solidFill>
                <a:uFill>
                  <a:solidFill>
                    <a:srgbClr val="0078D4"/>
                  </a:solidFill>
                </a:uFill>
                <a:latin typeface="+mj-lt"/>
                <a:ea typeface="+mj-ea"/>
                <a:cs typeface="+mj-cs"/>
                <a:sym typeface="Calibri"/>
              </a:defRPr>
            </a:lvl1pPr>
          </a:lstStyle>
          <a:p>
            <a:r>
              <a:rPr sz="900"/>
              <a:t>Dashboards &amp; scorecards through visualization, storytelling tools &amp; automation  </a:t>
            </a:r>
          </a:p>
        </p:txBody>
      </p:sp>
      <p:pic>
        <p:nvPicPr>
          <p:cNvPr id="275" name="3314608.png" descr="3314608.png"/>
          <p:cNvPicPr>
            <a:picLocks noChangeAspect="1"/>
          </p:cNvPicPr>
          <p:nvPr/>
        </p:nvPicPr>
        <p:blipFill>
          <a:blip r:embed="rId12">
            <a:alphaModFix amt="18415"/>
          </a:blip>
          <a:stretch>
            <a:fillRect/>
          </a:stretch>
        </p:blipFill>
        <p:spPr>
          <a:xfrm>
            <a:off x="1203717" y="1154629"/>
            <a:ext cx="1192342" cy="1192343"/>
          </a:xfrm>
          <a:prstGeom prst="rect">
            <a:avLst/>
          </a:prstGeom>
          <a:ln w="12700">
            <a:miter lim="400000"/>
          </a:ln>
        </p:spPr>
      </p:pic>
      <p:sp>
        <p:nvSpPr>
          <p:cNvPr id="276" name="Enabling Insight"/>
          <p:cNvSpPr txBox="1"/>
          <p:nvPr/>
        </p:nvSpPr>
        <p:spPr>
          <a:xfrm>
            <a:off x="2583792" y="1282788"/>
            <a:ext cx="2807590" cy="4078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defTabSz="412750">
              <a:defRPr sz="3200" b="1" spc="228">
                <a:solidFill>
                  <a:srgbClr val="FFFFFF"/>
                </a:solidFill>
                <a:latin typeface="Avenir Next Regular"/>
                <a:ea typeface="Avenir Next Regular"/>
                <a:cs typeface="Avenir Next Regular"/>
                <a:sym typeface="Avenir Next Regular"/>
              </a:defRPr>
            </a:lvl1pPr>
          </a:lstStyle>
          <a:p>
            <a:r>
              <a:rPr sz="2400"/>
              <a:t>Enabling Insight</a:t>
            </a:r>
          </a:p>
        </p:txBody>
      </p:sp>
      <p:sp>
        <p:nvSpPr>
          <p:cNvPr id="277" name="To build UHN’s ability to see, understand and use its data to advance patient care, education, and research"/>
          <p:cNvSpPr txBox="1"/>
          <p:nvPr/>
        </p:nvSpPr>
        <p:spPr>
          <a:xfrm>
            <a:off x="2577501" y="1770731"/>
            <a:ext cx="4960507" cy="3053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p>
            <a:pPr defTabSz="309563">
              <a:lnSpc>
                <a:spcPct val="70000"/>
              </a:lnSpc>
              <a:defRPr sz="1600" b="1" spc="-144">
                <a:solidFill>
                  <a:srgbClr val="FFFFFF"/>
                </a:solidFill>
                <a:latin typeface="Avenir Next Regular"/>
                <a:ea typeface="Avenir Next Regular"/>
                <a:cs typeface="Avenir Next Regular"/>
                <a:sym typeface="Avenir Next Regular"/>
              </a:defRPr>
            </a:pPr>
            <a:r>
              <a:rPr sz="1200"/>
              <a:t>T</a:t>
            </a:r>
            <a:r>
              <a:rPr sz="1200" spc="60"/>
              <a:t>o build UHN’s ability to see, understand and use its data to advance patient care, education, and research </a:t>
            </a:r>
          </a:p>
        </p:txBody>
      </p:sp>
      <p:sp>
        <p:nvSpPr>
          <p:cNvPr id="278" name="Build Data Operations"/>
          <p:cNvSpPr txBox="1"/>
          <p:nvPr/>
        </p:nvSpPr>
        <p:spPr>
          <a:xfrm>
            <a:off x="7229669" y="5233525"/>
            <a:ext cx="1234699" cy="3214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defTabSz="228600">
              <a:lnSpc>
                <a:spcPct val="80000"/>
              </a:lnSpc>
              <a:defRPr sz="1500" b="1" u="sng">
                <a:solidFill>
                  <a:srgbClr val="FFFFFF"/>
                </a:solidFill>
                <a:uFill>
                  <a:solidFill>
                    <a:srgbClr val="0078D4"/>
                  </a:solidFill>
                </a:uFill>
                <a:latin typeface="+mj-lt"/>
                <a:ea typeface="+mj-ea"/>
                <a:cs typeface="+mj-cs"/>
                <a:sym typeface="Calibri"/>
              </a:defRPr>
            </a:lvl1pPr>
          </a:lstStyle>
          <a:p>
            <a:r>
              <a:rPr sz="1125"/>
              <a:t>Build Data Operations</a:t>
            </a:r>
          </a:p>
        </p:txBody>
      </p:sp>
      <p:sp>
        <p:nvSpPr>
          <p:cNvPr id="279" name="Data &amp; Analytics Literacy"/>
          <p:cNvSpPr txBox="1"/>
          <p:nvPr/>
        </p:nvSpPr>
        <p:spPr>
          <a:xfrm>
            <a:off x="5564174" y="5248470"/>
            <a:ext cx="1130514" cy="3214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defTabSz="228600">
              <a:lnSpc>
                <a:spcPct val="80000"/>
              </a:lnSpc>
              <a:spcBef>
                <a:spcPts val="400"/>
              </a:spcBef>
              <a:defRPr sz="1500" b="1">
                <a:solidFill>
                  <a:srgbClr val="FFFFFF"/>
                </a:solidFill>
                <a:uFill>
                  <a:solidFill>
                    <a:srgbClr val="0078D4"/>
                  </a:solidFill>
                </a:uFill>
                <a:latin typeface="+mj-lt"/>
                <a:ea typeface="+mj-ea"/>
                <a:cs typeface="+mj-cs"/>
                <a:sym typeface="Calibri"/>
              </a:defRPr>
            </a:lvl1pPr>
          </a:lstStyle>
          <a:p>
            <a:r>
              <a:rPr sz="1125"/>
              <a:t>Data &amp; Analytics Literacy</a:t>
            </a:r>
          </a:p>
        </p:txBody>
      </p:sp>
      <p:sp>
        <p:nvSpPr>
          <p:cNvPr id="280" name="Data &amp; Information Governance"/>
          <p:cNvSpPr txBox="1"/>
          <p:nvPr/>
        </p:nvSpPr>
        <p:spPr>
          <a:xfrm>
            <a:off x="3380699" y="5233525"/>
            <a:ext cx="1716734" cy="3214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gn="ctr" defTabSz="228600">
              <a:lnSpc>
                <a:spcPct val="80000"/>
              </a:lnSpc>
              <a:defRPr sz="1500" b="1">
                <a:solidFill>
                  <a:srgbClr val="FFFFFF"/>
                </a:solidFill>
                <a:uFill>
                  <a:solidFill>
                    <a:srgbClr val="0078D4"/>
                  </a:solidFill>
                </a:uFill>
                <a:latin typeface="+mj-lt"/>
                <a:ea typeface="+mj-ea"/>
                <a:cs typeface="+mj-cs"/>
                <a:sym typeface="Calibri"/>
              </a:defRPr>
            </a:lvl1pPr>
          </a:lstStyle>
          <a:p>
            <a:r>
              <a:rPr sz="1125"/>
              <a:t>Data &amp; Information Governance</a:t>
            </a:r>
          </a:p>
        </p:txBody>
      </p:sp>
      <p:sp>
        <p:nvSpPr>
          <p:cNvPr id="281" name="Unified Data Framework"/>
          <p:cNvSpPr txBox="1"/>
          <p:nvPr/>
        </p:nvSpPr>
        <p:spPr>
          <a:xfrm>
            <a:off x="1684981" y="5219895"/>
            <a:ext cx="1071797" cy="3214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p>
            <a:pPr algn="ctr" defTabSz="171450">
              <a:lnSpc>
                <a:spcPct val="80000"/>
              </a:lnSpc>
              <a:defRPr sz="1500" b="1" u="sng">
                <a:solidFill>
                  <a:srgbClr val="FFFFFF"/>
                </a:solidFill>
                <a:uFill>
                  <a:solidFill>
                    <a:srgbClr val="0078D4"/>
                  </a:solidFill>
                </a:uFill>
                <a:latin typeface="+mj-lt"/>
                <a:ea typeface="+mj-ea"/>
                <a:cs typeface="+mj-cs"/>
                <a:sym typeface="Calibri"/>
              </a:defRPr>
            </a:pPr>
            <a:r>
              <a:rPr sz="1125"/>
              <a:t>Unified Data Framework</a:t>
            </a:r>
            <a:r>
              <a:rPr sz="1125" b="0"/>
              <a:t> </a:t>
            </a:r>
          </a:p>
        </p:txBody>
      </p:sp>
      <p:pic>
        <p:nvPicPr>
          <p:cNvPr id="282" name="Medicine_healthcare_medical_protection-512.png" descr="Medicine_healthcare_medical_protection-512.png"/>
          <p:cNvPicPr>
            <a:picLocks noChangeAspect="1"/>
          </p:cNvPicPr>
          <p:nvPr/>
        </p:nvPicPr>
        <p:blipFill>
          <a:blip r:embed="rId13">
            <a:alphaModFix amt="16689"/>
          </a:blip>
          <a:srcRect l="3443" t="6590" r="3455" b="6585"/>
          <a:stretch>
            <a:fillRect/>
          </a:stretch>
        </p:blipFill>
        <p:spPr>
          <a:xfrm>
            <a:off x="1342466" y="2452321"/>
            <a:ext cx="1716521" cy="1600796"/>
          </a:xfrm>
          <a:custGeom>
            <a:avLst/>
            <a:gdLst/>
            <a:ahLst/>
            <a:cxnLst>
              <a:cxn ang="0">
                <a:pos x="wd2" y="hd2"/>
              </a:cxn>
              <a:cxn ang="5400000">
                <a:pos x="wd2" y="hd2"/>
              </a:cxn>
              <a:cxn ang="10800000">
                <a:pos x="wd2" y="hd2"/>
              </a:cxn>
              <a:cxn ang="16200000">
                <a:pos x="wd2" y="hd2"/>
              </a:cxn>
            </a:cxnLst>
            <a:rect l="0" t="0" r="r" b="b"/>
            <a:pathLst>
              <a:path w="21554" h="21600" extrusionOk="0">
                <a:moveTo>
                  <a:pt x="9085" y="0"/>
                </a:moveTo>
                <a:lnTo>
                  <a:pt x="7444" y="719"/>
                </a:lnTo>
                <a:cubicBezTo>
                  <a:pt x="6542" y="1116"/>
                  <a:pt x="5752" y="1504"/>
                  <a:pt x="5688" y="1582"/>
                </a:cubicBezTo>
                <a:cubicBezTo>
                  <a:pt x="5214" y="2161"/>
                  <a:pt x="5530" y="3283"/>
                  <a:pt x="6267" y="3643"/>
                </a:cubicBezTo>
                <a:cubicBezTo>
                  <a:pt x="6654" y="3832"/>
                  <a:pt x="7340" y="3817"/>
                  <a:pt x="8121" y="3599"/>
                </a:cubicBezTo>
                <a:cubicBezTo>
                  <a:pt x="9198" y="3298"/>
                  <a:pt x="9401" y="3144"/>
                  <a:pt x="9216" y="2775"/>
                </a:cubicBezTo>
                <a:cubicBezTo>
                  <a:pt x="9122" y="2585"/>
                  <a:pt x="8906" y="2606"/>
                  <a:pt x="8068" y="2876"/>
                </a:cubicBezTo>
                <a:cubicBezTo>
                  <a:pt x="7264" y="3136"/>
                  <a:pt x="6654" y="3135"/>
                  <a:pt x="6372" y="2880"/>
                </a:cubicBezTo>
                <a:cubicBezTo>
                  <a:pt x="6136" y="2666"/>
                  <a:pt x="6029" y="2253"/>
                  <a:pt x="6173" y="2105"/>
                </a:cubicBezTo>
                <a:cubicBezTo>
                  <a:pt x="6255" y="2021"/>
                  <a:pt x="6793" y="1773"/>
                  <a:pt x="8790" y="892"/>
                </a:cubicBezTo>
                <a:lnTo>
                  <a:pt x="9384" y="631"/>
                </a:lnTo>
                <a:lnTo>
                  <a:pt x="11541" y="659"/>
                </a:lnTo>
                <a:cubicBezTo>
                  <a:pt x="14113" y="694"/>
                  <a:pt x="13883" y="635"/>
                  <a:pt x="16067" y="1771"/>
                </a:cubicBezTo>
                <a:cubicBezTo>
                  <a:pt x="17602" y="2570"/>
                  <a:pt x="18124" y="2788"/>
                  <a:pt x="18799" y="2916"/>
                </a:cubicBezTo>
                <a:cubicBezTo>
                  <a:pt x="19360" y="3023"/>
                  <a:pt x="21377" y="3018"/>
                  <a:pt x="21479" y="2908"/>
                </a:cubicBezTo>
                <a:cubicBezTo>
                  <a:pt x="21531" y="2852"/>
                  <a:pt x="21555" y="2737"/>
                  <a:pt x="21554" y="2627"/>
                </a:cubicBezTo>
                <a:cubicBezTo>
                  <a:pt x="21554" y="2517"/>
                  <a:pt x="21529" y="2411"/>
                  <a:pt x="21476" y="2374"/>
                </a:cubicBezTo>
                <a:cubicBezTo>
                  <a:pt x="21430" y="2342"/>
                  <a:pt x="20797" y="2299"/>
                  <a:pt x="20066" y="2277"/>
                </a:cubicBezTo>
                <a:cubicBezTo>
                  <a:pt x="18803" y="2240"/>
                  <a:pt x="18712" y="2227"/>
                  <a:pt x="18175" y="2020"/>
                </a:cubicBezTo>
                <a:cubicBezTo>
                  <a:pt x="17865" y="1901"/>
                  <a:pt x="16924" y="1449"/>
                  <a:pt x="16086" y="1012"/>
                </a:cubicBezTo>
                <a:cubicBezTo>
                  <a:pt x="15138" y="519"/>
                  <a:pt x="14397" y="176"/>
                  <a:pt x="14120" y="108"/>
                </a:cubicBezTo>
                <a:cubicBezTo>
                  <a:pt x="13766" y="22"/>
                  <a:pt x="13197" y="0"/>
                  <a:pt x="11376" y="0"/>
                </a:cubicBezTo>
                <a:lnTo>
                  <a:pt x="9085" y="0"/>
                </a:lnTo>
                <a:close/>
                <a:moveTo>
                  <a:pt x="10393" y="1835"/>
                </a:moveTo>
                <a:cubicBezTo>
                  <a:pt x="10129" y="1899"/>
                  <a:pt x="9932" y="2970"/>
                  <a:pt x="10076" y="3542"/>
                </a:cubicBezTo>
                <a:cubicBezTo>
                  <a:pt x="10189" y="3990"/>
                  <a:pt x="10539" y="4488"/>
                  <a:pt x="10946" y="4783"/>
                </a:cubicBezTo>
                <a:cubicBezTo>
                  <a:pt x="11146" y="4929"/>
                  <a:pt x="11839" y="5286"/>
                  <a:pt x="12490" y="5579"/>
                </a:cubicBezTo>
                <a:cubicBezTo>
                  <a:pt x="13531" y="6048"/>
                  <a:pt x="13693" y="6143"/>
                  <a:pt x="13810" y="6354"/>
                </a:cubicBezTo>
                <a:cubicBezTo>
                  <a:pt x="14222" y="7096"/>
                  <a:pt x="15067" y="7711"/>
                  <a:pt x="15955" y="7916"/>
                </a:cubicBezTo>
                <a:cubicBezTo>
                  <a:pt x="16413" y="8022"/>
                  <a:pt x="17566" y="7947"/>
                  <a:pt x="18044" y="7780"/>
                </a:cubicBezTo>
                <a:cubicBezTo>
                  <a:pt x="18429" y="7646"/>
                  <a:pt x="18628" y="7632"/>
                  <a:pt x="19939" y="7631"/>
                </a:cubicBezTo>
                <a:cubicBezTo>
                  <a:pt x="21342" y="7630"/>
                  <a:pt x="21552" y="7620"/>
                  <a:pt x="21554" y="7354"/>
                </a:cubicBezTo>
                <a:cubicBezTo>
                  <a:pt x="21555" y="7316"/>
                  <a:pt x="21552" y="7270"/>
                  <a:pt x="21547" y="7221"/>
                </a:cubicBezTo>
                <a:lnTo>
                  <a:pt x="21528" y="7021"/>
                </a:lnTo>
                <a:lnTo>
                  <a:pt x="19898" y="7001"/>
                </a:lnTo>
                <a:cubicBezTo>
                  <a:pt x="18410" y="6983"/>
                  <a:pt x="18231" y="6996"/>
                  <a:pt x="17745" y="7137"/>
                </a:cubicBezTo>
                <a:cubicBezTo>
                  <a:pt x="17313" y="7261"/>
                  <a:pt x="17095" y="7280"/>
                  <a:pt x="16583" y="7250"/>
                </a:cubicBezTo>
                <a:cubicBezTo>
                  <a:pt x="15555" y="7191"/>
                  <a:pt x="14924" y="6825"/>
                  <a:pt x="14430" y="6008"/>
                </a:cubicBezTo>
                <a:lnTo>
                  <a:pt x="14161" y="5571"/>
                </a:lnTo>
                <a:lnTo>
                  <a:pt x="13099" y="5093"/>
                </a:lnTo>
                <a:cubicBezTo>
                  <a:pt x="12515" y="4830"/>
                  <a:pt x="11874" y="4527"/>
                  <a:pt x="11672" y="4418"/>
                </a:cubicBezTo>
                <a:cubicBezTo>
                  <a:pt x="11219" y="4174"/>
                  <a:pt x="10769" y="3666"/>
                  <a:pt x="10711" y="3334"/>
                </a:cubicBezTo>
                <a:cubicBezTo>
                  <a:pt x="10651" y="2989"/>
                  <a:pt x="10693" y="2668"/>
                  <a:pt x="10797" y="2691"/>
                </a:cubicBezTo>
                <a:cubicBezTo>
                  <a:pt x="10845" y="2702"/>
                  <a:pt x="11708" y="3079"/>
                  <a:pt x="12714" y="3530"/>
                </a:cubicBezTo>
                <a:cubicBezTo>
                  <a:pt x="13722" y="3980"/>
                  <a:pt x="14600" y="4346"/>
                  <a:pt x="14665" y="4346"/>
                </a:cubicBezTo>
                <a:cubicBezTo>
                  <a:pt x="14801" y="4346"/>
                  <a:pt x="14991" y="4166"/>
                  <a:pt x="14991" y="4036"/>
                </a:cubicBezTo>
                <a:cubicBezTo>
                  <a:pt x="14991" y="3815"/>
                  <a:pt x="14707" y="3654"/>
                  <a:pt x="12935" y="2864"/>
                </a:cubicBezTo>
                <a:cubicBezTo>
                  <a:pt x="10623" y="1833"/>
                  <a:pt x="10540" y="1799"/>
                  <a:pt x="10393" y="1835"/>
                </a:cubicBezTo>
                <a:close/>
                <a:moveTo>
                  <a:pt x="6147" y="4607"/>
                </a:moveTo>
                <a:cubicBezTo>
                  <a:pt x="6102" y="4603"/>
                  <a:pt x="6063" y="4605"/>
                  <a:pt x="6035" y="4615"/>
                </a:cubicBezTo>
                <a:cubicBezTo>
                  <a:pt x="5775" y="4710"/>
                  <a:pt x="5677" y="5138"/>
                  <a:pt x="5886" y="5269"/>
                </a:cubicBezTo>
                <a:cubicBezTo>
                  <a:pt x="6169" y="5446"/>
                  <a:pt x="6431" y="5290"/>
                  <a:pt x="6431" y="4948"/>
                </a:cubicBezTo>
                <a:cubicBezTo>
                  <a:pt x="6431" y="4754"/>
                  <a:pt x="6401" y="4686"/>
                  <a:pt x="6286" y="4639"/>
                </a:cubicBezTo>
                <a:cubicBezTo>
                  <a:pt x="6245" y="4623"/>
                  <a:pt x="6192" y="4611"/>
                  <a:pt x="6147" y="4607"/>
                </a:cubicBezTo>
                <a:close/>
                <a:moveTo>
                  <a:pt x="4921" y="5812"/>
                </a:moveTo>
                <a:cubicBezTo>
                  <a:pt x="4897" y="5816"/>
                  <a:pt x="4875" y="5824"/>
                  <a:pt x="4854" y="5836"/>
                </a:cubicBezTo>
                <a:cubicBezTo>
                  <a:pt x="4509" y="6035"/>
                  <a:pt x="3736" y="7662"/>
                  <a:pt x="3471" y="8748"/>
                </a:cubicBezTo>
                <a:cubicBezTo>
                  <a:pt x="3194" y="9881"/>
                  <a:pt x="3183" y="12087"/>
                  <a:pt x="3452" y="12627"/>
                </a:cubicBezTo>
                <a:cubicBezTo>
                  <a:pt x="3614" y="12953"/>
                  <a:pt x="4087" y="12684"/>
                  <a:pt x="4017" y="12306"/>
                </a:cubicBezTo>
                <a:cubicBezTo>
                  <a:pt x="3655" y="10358"/>
                  <a:pt x="4029" y="8304"/>
                  <a:pt x="5033" y="6715"/>
                </a:cubicBezTo>
                <a:cubicBezTo>
                  <a:pt x="5183" y="6477"/>
                  <a:pt x="5306" y="6216"/>
                  <a:pt x="5306" y="6137"/>
                </a:cubicBezTo>
                <a:cubicBezTo>
                  <a:pt x="5306" y="5956"/>
                  <a:pt x="5087" y="5786"/>
                  <a:pt x="4921" y="5812"/>
                </a:cubicBezTo>
                <a:close/>
                <a:moveTo>
                  <a:pt x="10778" y="6976"/>
                </a:moveTo>
                <a:cubicBezTo>
                  <a:pt x="10127" y="6976"/>
                  <a:pt x="9478" y="7010"/>
                  <a:pt x="9440" y="7073"/>
                </a:cubicBezTo>
                <a:cubicBezTo>
                  <a:pt x="9410" y="7122"/>
                  <a:pt x="9372" y="7629"/>
                  <a:pt x="9354" y="8197"/>
                </a:cubicBezTo>
                <a:lnTo>
                  <a:pt x="9317" y="9230"/>
                </a:lnTo>
                <a:lnTo>
                  <a:pt x="8356" y="9270"/>
                </a:lnTo>
                <a:cubicBezTo>
                  <a:pt x="7827" y="9289"/>
                  <a:pt x="7356" y="9326"/>
                  <a:pt x="7310" y="9358"/>
                </a:cubicBezTo>
                <a:cubicBezTo>
                  <a:pt x="7249" y="9401"/>
                  <a:pt x="7227" y="9773"/>
                  <a:pt x="7227" y="10800"/>
                </a:cubicBezTo>
                <a:cubicBezTo>
                  <a:pt x="7227" y="11827"/>
                  <a:pt x="7249" y="12199"/>
                  <a:pt x="7310" y="12242"/>
                </a:cubicBezTo>
                <a:cubicBezTo>
                  <a:pt x="7356" y="12274"/>
                  <a:pt x="7827" y="12311"/>
                  <a:pt x="8356" y="12330"/>
                </a:cubicBezTo>
                <a:lnTo>
                  <a:pt x="9317" y="12370"/>
                </a:lnTo>
                <a:lnTo>
                  <a:pt x="9354" y="13403"/>
                </a:lnTo>
                <a:cubicBezTo>
                  <a:pt x="9372" y="13971"/>
                  <a:pt x="9410" y="14474"/>
                  <a:pt x="9440" y="14523"/>
                </a:cubicBezTo>
                <a:cubicBezTo>
                  <a:pt x="9480" y="14589"/>
                  <a:pt x="9822" y="14616"/>
                  <a:pt x="10778" y="14616"/>
                </a:cubicBezTo>
                <a:cubicBezTo>
                  <a:pt x="11733" y="14616"/>
                  <a:pt x="12076" y="14589"/>
                  <a:pt x="12116" y="14523"/>
                </a:cubicBezTo>
                <a:cubicBezTo>
                  <a:pt x="12146" y="14474"/>
                  <a:pt x="12184" y="13971"/>
                  <a:pt x="12202" y="13403"/>
                </a:cubicBezTo>
                <a:lnTo>
                  <a:pt x="12240" y="12370"/>
                </a:lnTo>
                <a:lnTo>
                  <a:pt x="13200" y="12330"/>
                </a:lnTo>
                <a:cubicBezTo>
                  <a:pt x="13729" y="12311"/>
                  <a:pt x="14201" y="12274"/>
                  <a:pt x="14247" y="12242"/>
                </a:cubicBezTo>
                <a:cubicBezTo>
                  <a:pt x="14308" y="12199"/>
                  <a:pt x="14329" y="11827"/>
                  <a:pt x="14329" y="10800"/>
                </a:cubicBezTo>
                <a:cubicBezTo>
                  <a:pt x="14329" y="9773"/>
                  <a:pt x="14308" y="9401"/>
                  <a:pt x="14247" y="9358"/>
                </a:cubicBezTo>
                <a:cubicBezTo>
                  <a:pt x="14201" y="9326"/>
                  <a:pt x="13729" y="9289"/>
                  <a:pt x="13200" y="9270"/>
                </a:cubicBezTo>
                <a:lnTo>
                  <a:pt x="12240" y="9230"/>
                </a:lnTo>
                <a:lnTo>
                  <a:pt x="12202" y="8197"/>
                </a:lnTo>
                <a:cubicBezTo>
                  <a:pt x="12184" y="7629"/>
                  <a:pt x="12146" y="7122"/>
                  <a:pt x="12116" y="7073"/>
                </a:cubicBezTo>
                <a:cubicBezTo>
                  <a:pt x="12078" y="7010"/>
                  <a:pt x="11428" y="6976"/>
                  <a:pt x="10778" y="6976"/>
                </a:cubicBezTo>
                <a:close/>
                <a:moveTo>
                  <a:pt x="10049" y="7663"/>
                </a:moveTo>
                <a:lnTo>
                  <a:pt x="10778" y="7663"/>
                </a:lnTo>
                <a:lnTo>
                  <a:pt x="11507" y="7663"/>
                </a:lnTo>
                <a:lnTo>
                  <a:pt x="11526" y="8744"/>
                </a:lnTo>
                <a:cubicBezTo>
                  <a:pt x="11539" y="9521"/>
                  <a:pt x="11568" y="9841"/>
                  <a:pt x="11630" y="9896"/>
                </a:cubicBezTo>
                <a:cubicBezTo>
                  <a:pt x="11680" y="9941"/>
                  <a:pt x="12127" y="9985"/>
                  <a:pt x="12707" y="9997"/>
                </a:cubicBezTo>
                <a:lnTo>
                  <a:pt x="13697" y="10017"/>
                </a:lnTo>
                <a:lnTo>
                  <a:pt x="13697" y="10800"/>
                </a:lnTo>
                <a:lnTo>
                  <a:pt x="13697" y="11583"/>
                </a:lnTo>
                <a:lnTo>
                  <a:pt x="12692" y="11603"/>
                </a:lnTo>
                <a:cubicBezTo>
                  <a:pt x="11970" y="11617"/>
                  <a:pt x="11670" y="11650"/>
                  <a:pt x="11619" y="11716"/>
                </a:cubicBezTo>
                <a:cubicBezTo>
                  <a:pt x="11577" y="11770"/>
                  <a:pt x="11537" y="12249"/>
                  <a:pt x="11526" y="12872"/>
                </a:cubicBezTo>
                <a:lnTo>
                  <a:pt x="11507" y="13937"/>
                </a:lnTo>
                <a:lnTo>
                  <a:pt x="10808" y="13957"/>
                </a:lnTo>
                <a:cubicBezTo>
                  <a:pt x="10424" y="13968"/>
                  <a:pt x="10089" y="13952"/>
                  <a:pt x="10064" y="13925"/>
                </a:cubicBezTo>
                <a:cubicBezTo>
                  <a:pt x="10038" y="13898"/>
                  <a:pt x="10016" y="13405"/>
                  <a:pt x="10016" y="12828"/>
                </a:cubicBezTo>
                <a:cubicBezTo>
                  <a:pt x="10016" y="12047"/>
                  <a:pt x="9992" y="11762"/>
                  <a:pt x="9926" y="11704"/>
                </a:cubicBezTo>
                <a:cubicBezTo>
                  <a:pt x="9874" y="11657"/>
                  <a:pt x="9442" y="11615"/>
                  <a:pt x="8850" y="11603"/>
                </a:cubicBezTo>
                <a:lnTo>
                  <a:pt x="7859" y="11583"/>
                </a:lnTo>
                <a:lnTo>
                  <a:pt x="7859" y="10800"/>
                </a:lnTo>
                <a:lnTo>
                  <a:pt x="7859" y="10017"/>
                </a:lnTo>
                <a:lnTo>
                  <a:pt x="8850" y="9997"/>
                </a:lnTo>
                <a:cubicBezTo>
                  <a:pt x="9430" y="9985"/>
                  <a:pt x="9876" y="9941"/>
                  <a:pt x="9926" y="9896"/>
                </a:cubicBezTo>
                <a:cubicBezTo>
                  <a:pt x="9988" y="9841"/>
                  <a:pt x="10018" y="9521"/>
                  <a:pt x="10031" y="8744"/>
                </a:cubicBezTo>
                <a:lnTo>
                  <a:pt x="10049" y="7663"/>
                </a:lnTo>
                <a:close/>
                <a:moveTo>
                  <a:pt x="17857" y="8872"/>
                </a:moveTo>
                <a:cubicBezTo>
                  <a:pt x="17812" y="8867"/>
                  <a:pt x="17770" y="8875"/>
                  <a:pt x="17719" y="8904"/>
                </a:cubicBezTo>
                <a:cubicBezTo>
                  <a:pt x="17583" y="8982"/>
                  <a:pt x="17479" y="9222"/>
                  <a:pt x="17536" y="9322"/>
                </a:cubicBezTo>
                <a:cubicBezTo>
                  <a:pt x="17554" y="9353"/>
                  <a:pt x="17600" y="9696"/>
                  <a:pt x="17641" y="10085"/>
                </a:cubicBezTo>
                <a:cubicBezTo>
                  <a:pt x="17809" y="11710"/>
                  <a:pt x="17388" y="13517"/>
                  <a:pt x="16523" y="14885"/>
                </a:cubicBezTo>
                <a:cubicBezTo>
                  <a:pt x="16230" y="15349"/>
                  <a:pt x="16179" y="15631"/>
                  <a:pt x="16366" y="15748"/>
                </a:cubicBezTo>
                <a:cubicBezTo>
                  <a:pt x="16604" y="15897"/>
                  <a:pt x="16736" y="15815"/>
                  <a:pt x="17039" y="15334"/>
                </a:cubicBezTo>
                <a:cubicBezTo>
                  <a:pt x="17874" y="14011"/>
                  <a:pt x="18306" y="12477"/>
                  <a:pt x="18306" y="10828"/>
                </a:cubicBezTo>
                <a:cubicBezTo>
                  <a:pt x="18306" y="9683"/>
                  <a:pt x="18212" y="9081"/>
                  <a:pt x="18007" y="8936"/>
                </a:cubicBezTo>
                <a:cubicBezTo>
                  <a:pt x="17949" y="8895"/>
                  <a:pt x="17901" y="8877"/>
                  <a:pt x="17857" y="8872"/>
                </a:cubicBezTo>
                <a:close/>
                <a:moveTo>
                  <a:pt x="4809" y="13660"/>
                </a:moveTo>
                <a:cubicBezTo>
                  <a:pt x="4096" y="13659"/>
                  <a:pt x="3872" y="13686"/>
                  <a:pt x="3516" y="13816"/>
                </a:cubicBezTo>
                <a:cubicBezTo>
                  <a:pt x="3124" y="13957"/>
                  <a:pt x="2949" y="13967"/>
                  <a:pt x="1625" y="13969"/>
                </a:cubicBezTo>
                <a:cubicBezTo>
                  <a:pt x="823" y="13970"/>
                  <a:pt x="126" y="14001"/>
                  <a:pt x="77" y="14033"/>
                </a:cubicBezTo>
                <a:cubicBezTo>
                  <a:pt x="24" y="14069"/>
                  <a:pt x="-3" y="14192"/>
                  <a:pt x="10" y="14338"/>
                </a:cubicBezTo>
                <a:lnTo>
                  <a:pt x="32" y="14579"/>
                </a:lnTo>
                <a:lnTo>
                  <a:pt x="1670" y="14599"/>
                </a:lnTo>
                <a:cubicBezTo>
                  <a:pt x="3143" y="14616"/>
                  <a:pt x="3358" y="14601"/>
                  <a:pt x="3793" y="14471"/>
                </a:cubicBezTo>
                <a:cubicBezTo>
                  <a:pt x="4599" y="14231"/>
                  <a:pt x="5479" y="14293"/>
                  <a:pt x="6155" y="14632"/>
                </a:cubicBezTo>
                <a:cubicBezTo>
                  <a:pt x="6525" y="14818"/>
                  <a:pt x="7092" y="15401"/>
                  <a:pt x="7250" y="15764"/>
                </a:cubicBezTo>
                <a:cubicBezTo>
                  <a:pt x="7355" y="16005"/>
                  <a:pt x="7430" y="16053"/>
                  <a:pt x="8438" y="16503"/>
                </a:cubicBezTo>
                <a:cubicBezTo>
                  <a:pt x="9033" y="16768"/>
                  <a:pt x="9683" y="17073"/>
                  <a:pt x="9885" y="17182"/>
                </a:cubicBezTo>
                <a:cubicBezTo>
                  <a:pt x="10338" y="17426"/>
                  <a:pt x="10791" y="17934"/>
                  <a:pt x="10849" y="18266"/>
                </a:cubicBezTo>
                <a:cubicBezTo>
                  <a:pt x="10907" y="18600"/>
                  <a:pt x="10862" y="18930"/>
                  <a:pt x="10763" y="18909"/>
                </a:cubicBezTo>
                <a:cubicBezTo>
                  <a:pt x="10719" y="18899"/>
                  <a:pt x="9857" y="18522"/>
                  <a:pt x="8846" y="18070"/>
                </a:cubicBezTo>
                <a:cubicBezTo>
                  <a:pt x="7834" y="17619"/>
                  <a:pt x="6950" y="17254"/>
                  <a:pt x="6887" y="17254"/>
                </a:cubicBezTo>
                <a:cubicBezTo>
                  <a:pt x="6754" y="17254"/>
                  <a:pt x="6566" y="17436"/>
                  <a:pt x="6566" y="17564"/>
                </a:cubicBezTo>
                <a:cubicBezTo>
                  <a:pt x="6566" y="17786"/>
                  <a:pt x="6864" y="17950"/>
                  <a:pt x="8790" y="18809"/>
                </a:cubicBezTo>
                <a:cubicBezTo>
                  <a:pt x="9921" y="19314"/>
                  <a:pt x="10891" y="19743"/>
                  <a:pt x="10946" y="19761"/>
                </a:cubicBezTo>
                <a:cubicBezTo>
                  <a:pt x="11254" y="19865"/>
                  <a:pt x="11455" y="19514"/>
                  <a:pt x="11518" y="18781"/>
                </a:cubicBezTo>
                <a:cubicBezTo>
                  <a:pt x="11564" y="18253"/>
                  <a:pt x="11472" y="17866"/>
                  <a:pt x="11193" y="17423"/>
                </a:cubicBezTo>
                <a:cubicBezTo>
                  <a:pt x="10888" y="16938"/>
                  <a:pt x="10413" y="16629"/>
                  <a:pt x="9063" y="16021"/>
                </a:cubicBezTo>
                <a:cubicBezTo>
                  <a:pt x="8022" y="15552"/>
                  <a:pt x="7864" y="15457"/>
                  <a:pt x="7747" y="15246"/>
                </a:cubicBezTo>
                <a:cubicBezTo>
                  <a:pt x="7420" y="14656"/>
                  <a:pt x="6824" y="14146"/>
                  <a:pt x="6117" y="13848"/>
                </a:cubicBezTo>
                <a:cubicBezTo>
                  <a:pt x="5714" y="13678"/>
                  <a:pt x="5584" y="13661"/>
                  <a:pt x="4809" y="13660"/>
                </a:cubicBezTo>
                <a:close/>
                <a:moveTo>
                  <a:pt x="15529" y="16322"/>
                </a:moveTo>
                <a:cubicBezTo>
                  <a:pt x="15300" y="16322"/>
                  <a:pt x="15189" y="16447"/>
                  <a:pt x="15189" y="16700"/>
                </a:cubicBezTo>
                <a:cubicBezTo>
                  <a:pt x="15189" y="16844"/>
                  <a:pt x="15235" y="16918"/>
                  <a:pt x="15342" y="16961"/>
                </a:cubicBezTo>
                <a:cubicBezTo>
                  <a:pt x="15549" y="17044"/>
                  <a:pt x="15741" y="16949"/>
                  <a:pt x="15813" y="16732"/>
                </a:cubicBezTo>
                <a:cubicBezTo>
                  <a:pt x="15891" y="16497"/>
                  <a:pt x="15773" y="16322"/>
                  <a:pt x="15529" y="16322"/>
                </a:cubicBezTo>
                <a:close/>
                <a:moveTo>
                  <a:pt x="14632" y="17813"/>
                </a:moveTo>
                <a:cubicBezTo>
                  <a:pt x="14201" y="17806"/>
                  <a:pt x="13653" y="17920"/>
                  <a:pt x="12950" y="18154"/>
                </a:cubicBezTo>
                <a:cubicBezTo>
                  <a:pt x="12339" y="18356"/>
                  <a:pt x="12205" y="18498"/>
                  <a:pt x="12333" y="18801"/>
                </a:cubicBezTo>
                <a:cubicBezTo>
                  <a:pt x="12398" y="18953"/>
                  <a:pt x="12442" y="18972"/>
                  <a:pt x="12655" y="18945"/>
                </a:cubicBezTo>
                <a:cubicBezTo>
                  <a:pt x="12790" y="18928"/>
                  <a:pt x="13169" y="18828"/>
                  <a:pt x="13492" y="18724"/>
                </a:cubicBezTo>
                <a:cubicBezTo>
                  <a:pt x="13885" y="18597"/>
                  <a:pt x="14229" y="18531"/>
                  <a:pt x="14538" y="18531"/>
                </a:cubicBezTo>
                <a:cubicBezTo>
                  <a:pt x="14958" y="18531"/>
                  <a:pt x="15019" y="18550"/>
                  <a:pt x="15192" y="18736"/>
                </a:cubicBezTo>
                <a:cubicBezTo>
                  <a:pt x="15410" y="18971"/>
                  <a:pt x="15506" y="19285"/>
                  <a:pt x="15409" y="19451"/>
                </a:cubicBezTo>
                <a:cubicBezTo>
                  <a:pt x="15372" y="19514"/>
                  <a:pt x="14644" y="19881"/>
                  <a:pt x="13791" y="20263"/>
                </a:cubicBezTo>
                <a:lnTo>
                  <a:pt x="12240" y="20957"/>
                </a:lnTo>
                <a:lnTo>
                  <a:pt x="10049" y="20933"/>
                </a:lnTo>
                <a:cubicBezTo>
                  <a:pt x="7441" y="20907"/>
                  <a:pt x="7687" y="20972"/>
                  <a:pt x="5489" y="19829"/>
                </a:cubicBezTo>
                <a:cubicBezTo>
                  <a:pt x="3954" y="19030"/>
                  <a:pt x="3432" y="18808"/>
                  <a:pt x="2757" y="18680"/>
                </a:cubicBezTo>
                <a:cubicBezTo>
                  <a:pt x="2196" y="18573"/>
                  <a:pt x="183" y="18582"/>
                  <a:pt x="81" y="18692"/>
                </a:cubicBezTo>
                <a:cubicBezTo>
                  <a:pt x="-45" y="18827"/>
                  <a:pt x="-20" y="19159"/>
                  <a:pt x="126" y="19242"/>
                </a:cubicBezTo>
                <a:cubicBezTo>
                  <a:pt x="200" y="19285"/>
                  <a:pt x="732" y="19319"/>
                  <a:pt x="1378" y="19319"/>
                </a:cubicBezTo>
                <a:cubicBezTo>
                  <a:pt x="2897" y="19319"/>
                  <a:pt x="3118" y="19384"/>
                  <a:pt x="5273" y="20491"/>
                </a:cubicBezTo>
                <a:cubicBezTo>
                  <a:pt x="6221" y="20979"/>
                  <a:pt x="7178" y="21427"/>
                  <a:pt x="7396" y="21484"/>
                </a:cubicBezTo>
                <a:cubicBezTo>
                  <a:pt x="7703" y="21563"/>
                  <a:pt x="8334" y="21587"/>
                  <a:pt x="10135" y="21592"/>
                </a:cubicBezTo>
                <a:lnTo>
                  <a:pt x="12475" y="21600"/>
                </a:lnTo>
                <a:lnTo>
                  <a:pt x="14116" y="20881"/>
                </a:lnTo>
                <a:cubicBezTo>
                  <a:pt x="15017" y="20485"/>
                  <a:pt x="15806" y="20092"/>
                  <a:pt x="15869" y="20014"/>
                </a:cubicBezTo>
                <a:cubicBezTo>
                  <a:pt x="16342" y="19433"/>
                  <a:pt x="16027" y="18317"/>
                  <a:pt x="15290" y="17957"/>
                </a:cubicBezTo>
                <a:cubicBezTo>
                  <a:pt x="15108" y="17868"/>
                  <a:pt x="14891" y="17818"/>
                  <a:pt x="14632" y="17813"/>
                </a:cubicBezTo>
                <a:close/>
              </a:path>
            </a:pathLst>
          </a:custGeom>
          <a:ln w="12700">
            <a:miter lim="400000"/>
          </a:ln>
        </p:spPr>
      </p:pic>
      <p:sp>
        <p:nvSpPr>
          <p:cNvPr id="283" name="Quality &amp; Safety"/>
          <p:cNvSpPr txBox="1"/>
          <p:nvPr/>
        </p:nvSpPr>
        <p:spPr>
          <a:xfrm>
            <a:off x="1575517" y="2613196"/>
            <a:ext cx="1354238" cy="1993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80000"/>
              </a:lnSpc>
              <a:defRPr sz="1700" b="1" spc="104">
                <a:solidFill>
                  <a:srgbClr val="FFFFFF"/>
                </a:solidFill>
                <a:latin typeface="Avenir Next Regular"/>
                <a:ea typeface="Avenir Next Regular"/>
                <a:cs typeface="Avenir Next Regular"/>
                <a:sym typeface="Avenir Next Regular"/>
              </a:defRPr>
            </a:lvl1pPr>
          </a:lstStyle>
          <a:p>
            <a:r>
              <a:rPr sz="1275"/>
              <a:t>Quality &amp; Safety</a:t>
            </a:r>
          </a:p>
        </p:txBody>
      </p:sp>
      <p:sp>
        <p:nvSpPr>
          <p:cNvPr id="284" name="TeamUHN &amp; Workforce"/>
          <p:cNvSpPr txBox="1"/>
          <p:nvPr/>
        </p:nvSpPr>
        <p:spPr>
          <a:xfrm>
            <a:off x="7451499" y="2534713"/>
            <a:ext cx="1130514" cy="3563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80000"/>
              </a:lnSpc>
              <a:defRPr sz="1700" b="1" spc="104">
                <a:solidFill>
                  <a:srgbClr val="FFFFFF"/>
                </a:solidFill>
                <a:latin typeface="Avenir Next Regular"/>
                <a:ea typeface="Avenir Next Regular"/>
                <a:cs typeface="Avenir Next Regular"/>
                <a:sym typeface="Avenir Next Regular"/>
              </a:defRPr>
            </a:lvl1pPr>
          </a:lstStyle>
          <a:p>
            <a:r>
              <a:rPr sz="1275"/>
              <a:t>TeamUHN &amp; Workforce</a:t>
            </a:r>
          </a:p>
        </p:txBody>
      </p:sp>
      <p:sp>
        <p:nvSpPr>
          <p:cNvPr id="285" name="Care Equity &amp; Models of Care"/>
          <p:cNvSpPr txBox="1"/>
          <p:nvPr/>
        </p:nvSpPr>
        <p:spPr>
          <a:xfrm>
            <a:off x="5419758" y="2534713"/>
            <a:ext cx="1482855" cy="3563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80000"/>
              </a:lnSpc>
              <a:defRPr sz="1700" b="1" spc="104">
                <a:solidFill>
                  <a:srgbClr val="FFFFFF"/>
                </a:solidFill>
                <a:latin typeface="Avenir Next Regular"/>
                <a:ea typeface="Avenir Next Regular"/>
                <a:cs typeface="Avenir Next Regular"/>
                <a:sym typeface="Avenir Next Regular"/>
              </a:defRPr>
            </a:lvl1pPr>
          </a:lstStyle>
          <a:p>
            <a:r>
              <a:rPr sz="1275"/>
              <a:t>Care Equity &amp; Models of Care</a:t>
            </a:r>
          </a:p>
        </p:txBody>
      </p:sp>
      <p:sp>
        <p:nvSpPr>
          <p:cNvPr id="286" name="Care Variation &amp; Utilization"/>
          <p:cNvSpPr txBox="1"/>
          <p:nvPr/>
        </p:nvSpPr>
        <p:spPr>
          <a:xfrm>
            <a:off x="3254943" y="2534713"/>
            <a:ext cx="1880993" cy="35631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80000"/>
              </a:lnSpc>
              <a:defRPr sz="1700" b="1" spc="104">
                <a:solidFill>
                  <a:srgbClr val="FFFFFF"/>
                </a:solidFill>
                <a:latin typeface="Avenir Next Regular"/>
                <a:ea typeface="Avenir Next Regular"/>
                <a:cs typeface="Avenir Next Regular"/>
                <a:sym typeface="Avenir Next Regular"/>
              </a:defRPr>
            </a:lvl1pPr>
          </a:lstStyle>
          <a:p>
            <a:r>
              <a:rPr sz="1275"/>
              <a:t>Care Variation &amp; Utilization</a:t>
            </a:r>
          </a:p>
        </p:txBody>
      </p:sp>
      <p:sp>
        <p:nvSpPr>
          <p:cNvPr id="287" name="To increase understanding and measurement of care quality and patient harm across UHN and enable focused efforts of improvement"/>
          <p:cNvSpPr txBox="1"/>
          <p:nvPr/>
        </p:nvSpPr>
        <p:spPr>
          <a:xfrm>
            <a:off x="1455108" y="3104217"/>
            <a:ext cx="1631825" cy="7227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ctr" defTabSz="171450">
              <a:lnSpc>
                <a:spcPct val="90000"/>
              </a:lnSpc>
              <a:defRPr sz="1300">
                <a:solidFill>
                  <a:srgbClr val="FFFFFF"/>
                </a:solidFill>
                <a:latin typeface="+mj-lt"/>
                <a:ea typeface="+mj-ea"/>
                <a:cs typeface="+mj-cs"/>
                <a:sym typeface="Calibri"/>
              </a:defRPr>
            </a:pPr>
            <a:r>
              <a:rPr sz="975"/>
              <a:t>To increase </a:t>
            </a:r>
            <a:r>
              <a:rPr sz="975" b="1"/>
              <a:t>understanding and measurement</a:t>
            </a:r>
            <a:r>
              <a:rPr sz="975"/>
              <a:t> of care quality and patient harm across UHN and </a:t>
            </a:r>
            <a:r>
              <a:rPr sz="975" b="1"/>
              <a:t>enable focused efforts of improvement</a:t>
            </a:r>
            <a:r>
              <a:rPr sz="975"/>
              <a:t> </a:t>
            </a:r>
          </a:p>
        </p:txBody>
      </p:sp>
      <p:sp>
        <p:nvSpPr>
          <p:cNvPr id="288" name="To enable visibility of resource utilization and care variation, identify opportunities for improvement and partner to build efficiencies and eliminate waste"/>
          <p:cNvSpPr txBox="1"/>
          <p:nvPr/>
        </p:nvSpPr>
        <p:spPr>
          <a:xfrm>
            <a:off x="3309840" y="3084853"/>
            <a:ext cx="1677511" cy="86263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ctr" defTabSz="171450">
              <a:lnSpc>
                <a:spcPct val="90000"/>
              </a:lnSpc>
              <a:defRPr sz="1300">
                <a:solidFill>
                  <a:srgbClr val="FFFFFF"/>
                </a:solidFill>
                <a:latin typeface="+mj-lt"/>
                <a:ea typeface="+mj-ea"/>
                <a:cs typeface="+mj-cs"/>
                <a:sym typeface="Calibri"/>
              </a:defRPr>
            </a:pPr>
            <a:r>
              <a:rPr sz="975"/>
              <a:t>To enable visibility of </a:t>
            </a:r>
            <a:r>
              <a:rPr sz="975" b="1"/>
              <a:t>resource utilization and care variation</a:t>
            </a:r>
            <a:r>
              <a:rPr sz="975"/>
              <a:t>, identify opportunities for improvement and </a:t>
            </a:r>
            <a:r>
              <a:rPr sz="975" b="1"/>
              <a:t>partner to build efficiencies and eliminate waste</a:t>
            </a:r>
          </a:p>
        </p:txBody>
      </p:sp>
      <p:sp>
        <p:nvSpPr>
          <p:cNvPr id="289" name="To enable better visibility into UHN marginalized populations and identify and evaluate new models of care"/>
          <p:cNvSpPr txBox="1"/>
          <p:nvPr/>
        </p:nvSpPr>
        <p:spPr>
          <a:xfrm>
            <a:off x="5309805" y="3163054"/>
            <a:ext cx="1639252" cy="5828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ctr" defTabSz="171450">
              <a:lnSpc>
                <a:spcPct val="90000"/>
              </a:lnSpc>
              <a:defRPr sz="1300">
                <a:solidFill>
                  <a:srgbClr val="FFFFFF"/>
                </a:solidFill>
                <a:latin typeface="+mj-lt"/>
                <a:ea typeface="+mj-ea"/>
                <a:cs typeface="+mj-cs"/>
                <a:sym typeface="Calibri"/>
              </a:defRPr>
            </a:pPr>
            <a:r>
              <a:rPr sz="975"/>
              <a:t>To enable better </a:t>
            </a:r>
            <a:r>
              <a:rPr sz="975" b="1"/>
              <a:t>visibility into UHN marginalized populations </a:t>
            </a:r>
            <a:r>
              <a:rPr sz="975"/>
              <a:t>and </a:t>
            </a:r>
            <a:r>
              <a:rPr sz="975" b="1"/>
              <a:t>identify and evaluate new models of care</a:t>
            </a:r>
            <a:r>
              <a:rPr sz="975"/>
              <a:t> </a:t>
            </a:r>
          </a:p>
        </p:txBody>
      </p:sp>
      <p:sp>
        <p:nvSpPr>
          <p:cNvPr id="290" name="To increase UHN’s insight and enable planning of its workforce, its well-being, and its future"/>
          <p:cNvSpPr txBox="1"/>
          <p:nvPr/>
        </p:nvSpPr>
        <p:spPr>
          <a:xfrm>
            <a:off x="7311678" y="3150985"/>
            <a:ext cx="1410156" cy="5828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ctr" defTabSz="171450">
              <a:lnSpc>
                <a:spcPct val="90000"/>
              </a:lnSpc>
              <a:defRPr sz="1300">
                <a:solidFill>
                  <a:srgbClr val="FFFFFF"/>
                </a:solidFill>
                <a:latin typeface="+mj-lt"/>
                <a:ea typeface="+mj-ea"/>
                <a:cs typeface="+mj-cs"/>
                <a:sym typeface="Calibri"/>
              </a:defRPr>
            </a:pPr>
            <a:r>
              <a:rPr sz="975"/>
              <a:t>To increase UHN’s insight and enable planning of its </a:t>
            </a:r>
            <a:r>
              <a:rPr sz="975" b="1"/>
              <a:t>workforce</a:t>
            </a:r>
            <a:r>
              <a:rPr sz="975"/>
              <a:t>, its </a:t>
            </a:r>
            <a:r>
              <a:rPr sz="975" b="1"/>
              <a:t>well-being,</a:t>
            </a:r>
            <a:r>
              <a:rPr sz="975"/>
              <a:t> and its </a:t>
            </a:r>
            <a:r>
              <a:rPr sz="975" b="1"/>
              <a:t>future</a:t>
            </a:r>
            <a:r>
              <a:rPr sz="975"/>
              <a:t> </a:t>
            </a:r>
          </a:p>
        </p:txBody>
      </p:sp>
      <p:sp>
        <p:nvSpPr>
          <p:cNvPr id="291" name="Care, Admin, Research &amp; Education"/>
          <p:cNvSpPr txBox="1"/>
          <p:nvPr/>
        </p:nvSpPr>
        <p:spPr>
          <a:xfrm>
            <a:off x="3561946" y="5534737"/>
            <a:ext cx="1354238" cy="1165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228600">
              <a:lnSpc>
                <a:spcPct val="80000"/>
              </a:lnSpc>
              <a:spcBef>
                <a:spcPts val="700"/>
              </a:spcBef>
              <a:defRPr sz="800">
                <a:solidFill>
                  <a:srgbClr val="FFFFFF"/>
                </a:solidFill>
                <a:uFill>
                  <a:solidFill>
                    <a:srgbClr val="0078D4"/>
                  </a:solidFill>
                </a:uFill>
                <a:latin typeface="+mj-lt"/>
                <a:ea typeface="+mj-ea"/>
                <a:cs typeface="+mj-cs"/>
                <a:sym typeface="Calibri"/>
              </a:defRPr>
            </a:lvl1pPr>
          </a:lstStyle>
          <a:p>
            <a:r>
              <a:rPr sz="600"/>
              <a:t>Care, Admin, Research &amp; Education</a:t>
            </a:r>
          </a:p>
        </p:txBody>
      </p:sp>
      <p:sp>
        <p:nvSpPr>
          <p:cNvPr id="292" name="Care, Admin, Research &amp; Education"/>
          <p:cNvSpPr txBox="1"/>
          <p:nvPr/>
        </p:nvSpPr>
        <p:spPr>
          <a:xfrm>
            <a:off x="1575517" y="5534737"/>
            <a:ext cx="1354238" cy="1165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228600">
              <a:lnSpc>
                <a:spcPct val="80000"/>
              </a:lnSpc>
              <a:spcBef>
                <a:spcPts val="700"/>
              </a:spcBef>
              <a:defRPr sz="800">
                <a:solidFill>
                  <a:srgbClr val="FFFFFF"/>
                </a:solidFill>
                <a:uFill>
                  <a:solidFill>
                    <a:srgbClr val="0078D4"/>
                  </a:solidFill>
                </a:uFill>
                <a:latin typeface="+mj-lt"/>
                <a:ea typeface="+mj-ea"/>
                <a:cs typeface="+mj-cs"/>
                <a:sym typeface="Calibri"/>
              </a:defRPr>
            </a:lvl1pPr>
          </a:lstStyle>
          <a:p>
            <a:r>
              <a:rPr sz="600"/>
              <a:t>Care, Admin, Research &amp; Education</a:t>
            </a:r>
          </a:p>
        </p:txBody>
      </p:sp>
    </p:spTree>
    <p:extLst>
      <p:ext uri="{BB962C8B-B14F-4D97-AF65-F5344CB8AC3E}">
        <p14:creationId xmlns:p14="http://schemas.microsoft.com/office/powerpoint/2010/main" val="1081180001"/>
      </p:ext>
    </p:extLst>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6" name="Slide Number Placeholder 5"/>
          <p:cNvSpPr txBox="1">
            <a:spLocks noGrp="1"/>
          </p:cNvSpPr>
          <p:nvPr>
            <p:ph type="sldNum" sz="quarter" idx="2"/>
          </p:nvPr>
        </p:nvSpPr>
        <p:spPr>
          <a:xfrm>
            <a:off x="8832979" y="5681902"/>
            <a:ext cx="173261"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60</a:t>
            </a:fld>
            <a:endParaRPr/>
          </a:p>
        </p:txBody>
      </p:sp>
      <p:sp>
        <p:nvSpPr>
          <p:cNvPr id="487" name="Title 5"/>
          <p:cNvSpPr txBox="1"/>
          <p:nvPr/>
        </p:nvSpPr>
        <p:spPr>
          <a:xfrm>
            <a:off x="512533" y="1235675"/>
            <a:ext cx="8455809" cy="13419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rIns="34289">
            <a:normAutofit/>
          </a:bodyPr>
          <a:lstStyle>
            <a:lvl1pPr defTabSz="685800">
              <a:lnSpc>
                <a:spcPct val="70000"/>
              </a:lnSpc>
              <a:defRPr sz="4800" b="1">
                <a:latin typeface="+mn-lt"/>
                <a:ea typeface="+mn-ea"/>
                <a:cs typeface="+mn-cs"/>
                <a:sym typeface="Helvetica"/>
              </a:defRPr>
            </a:lvl1pPr>
          </a:lstStyle>
          <a:p>
            <a:r>
              <a:rPr sz="3600"/>
              <a:t>Operating Model for Advanced Analytics in Healthcare - OMIX-H</a:t>
            </a:r>
          </a:p>
        </p:txBody>
      </p:sp>
      <p:sp>
        <p:nvSpPr>
          <p:cNvPr id="488" name="Rectangle 12"/>
          <p:cNvSpPr/>
          <p:nvPr/>
        </p:nvSpPr>
        <p:spPr>
          <a:xfrm>
            <a:off x="544164" y="2239582"/>
            <a:ext cx="838201" cy="57152"/>
          </a:xfrm>
          <a:prstGeom prst="rect">
            <a:avLst/>
          </a:prstGeom>
          <a:solidFill>
            <a:schemeClr val="accent2"/>
          </a:solidFill>
          <a:ln w="12700">
            <a:miter lim="400000"/>
          </a:ln>
        </p:spPr>
        <p:txBody>
          <a:bodyPr lIns="34289" rIns="34289"/>
          <a:lstStyle/>
          <a:p>
            <a:pPr>
              <a:defRPr sz="3600">
                <a:latin typeface="Arial"/>
                <a:ea typeface="Arial"/>
                <a:cs typeface="Arial"/>
                <a:sym typeface="Arial"/>
              </a:defRPr>
            </a:pPr>
            <a:endParaRPr sz="2700"/>
          </a:p>
        </p:txBody>
      </p:sp>
      <p:grpSp>
        <p:nvGrpSpPr>
          <p:cNvPr id="501" name="Group"/>
          <p:cNvGrpSpPr/>
          <p:nvPr/>
        </p:nvGrpSpPr>
        <p:grpSpPr>
          <a:xfrm>
            <a:off x="4265354" y="2767720"/>
            <a:ext cx="4297955" cy="2353600"/>
            <a:chOff x="0" y="0"/>
            <a:chExt cx="5730606" cy="3138131"/>
          </a:xfrm>
        </p:grpSpPr>
        <p:sp>
          <p:nvSpPr>
            <p:cNvPr id="489" name="Shape"/>
            <p:cNvSpPr/>
            <p:nvPr/>
          </p:nvSpPr>
          <p:spPr>
            <a:xfrm>
              <a:off x="0" y="800372"/>
              <a:ext cx="5730607" cy="2337760"/>
            </a:xfrm>
            <a:custGeom>
              <a:avLst/>
              <a:gdLst/>
              <a:ahLst/>
              <a:cxnLst>
                <a:cxn ang="0">
                  <a:pos x="wd2" y="hd2"/>
                </a:cxn>
                <a:cxn ang="5400000">
                  <a:pos x="wd2" y="hd2"/>
                </a:cxn>
                <a:cxn ang="10800000">
                  <a:pos x="wd2" y="hd2"/>
                </a:cxn>
                <a:cxn ang="16200000">
                  <a:pos x="wd2" y="hd2"/>
                </a:cxn>
              </a:cxnLst>
              <a:rect l="0" t="0" r="r" b="b"/>
              <a:pathLst>
                <a:path w="21600" h="21600" extrusionOk="0">
                  <a:moveTo>
                    <a:pt x="2387" y="0"/>
                  </a:moveTo>
                  <a:lnTo>
                    <a:pt x="19100" y="67"/>
                  </a:lnTo>
                  <a:lnTo>
                    <a:pt x="21600" y="21600"/>
                  </a:lnTo>
                  <a:lnTo>
                    <a:pt x="0" y="21600"/>
                  </a:lnTo>
                  <a:lnTo>
                    <a:pt x="2387" y="0"/>
                  </a:lnTo>
                  <a:close/>
                </a:path>
              </a:pathLst>
            </a:custGeom>
            <a:solidFill>
              <a:srgbClr val="D5D5D5"/>
            </a:solidFill>
            <a:ln w="12700" cap="flat">
              <a:noFill/>
              <a:miter lim="400000"/>
            </a:ln>
            <a:effectLst/>
          </p:spPr>
          <p:txBody>
            <a:bodyPr wrap="square" lIns="34289" tIns="34289" rIns="34289" bIns="34289" numCol="1" anchor="ctr">
              <a:noAutofit/>
            </a:bodyP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490" name="Data Technology &amp; Operations"/>
            <p:cNvSpPr txBox="1"/>
            <p:nvPr/>
          </p:nvSpPr>
          <p:spPr>
            <a:xfrm>
              <a:off x="1461785" y="2742306"/>
              <a:ext cx="2807035" cy="23688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ctr" defTabSz="412750">
                <a:defRPr sz="1200" b="1">
                  <a:latin typeface="Helvetica Neue"/>
                  <a:ea typeface="Helvetica Neue"/>
                  <a:cs typeface="Helvetica Neue"/>
                  <a:sym typeface="Helvetica Neue"/>
                </a:defRPr>
              </a:lvl1pPr>
            </a:lstStyle>
            <a:p>
              <a:r>
                <a:rPr sz="900"/>
                <a:t>Data Technology &amp; Operations</a:t>
              </a:r>
            </a:p>
          </p:txBody>
        </p:sp>
        <p:sp>
          <p:nvSpPr>
            <p:cNvPr id="491" name="Shape"/>
            <p:cNvSpPr/>
            <p:nvPr/>
          </p:nvSpPr>
          <p:spPr>
            <a:xfrm>
              <a:off x="465039" y="458633"/>
              <a:ext cx="4800528" cy="2096122"/>
            </a:xfrm>
            <a:custGeom>
              <a:avLst/>
              <a:gdLst/>
              <a:ahLst/>
              <a:cxnLst>
                <a:cxn ang="0">
                  <a:pos x="wd2" y="hd2"/>
                </a:cxn>
                <a:cxn ang="5400000">
                  <a:pos x="wd2" y="hd2"/>
                </a:cxn>
                <a:cxn ang="10800000">
                  <a:pos x="wd2" y="hd2"/>
                </a:cxn>
                <a:cxn ang="16200000">
                  <a:pos x="wd2" y="hd2"/>
                </a:cxn>
              </a:cxnLst>
              <a:rect l="0" t="0" r="r" b="b"/>
              <a:pathLst>
                <a:path w="21600" h="21600" extrusionOk="0">
                  <a:moveTo>
                    <a:pt x="2387" y="0"/>
                  </a:moveTo>
                  <a:lnTo>
                    <a:pt x="19100" y="67"/>
                  </a:lnTo>
                  <a:lnTo>
                    <a:pt x="21600" y="21600"/>
                  </a:lnTo>
                  <a:lnTo>
                    <a:pt x="0" y="21600"/>
                  </a:lnTo>
                  <a:lnTo>
                    <a:pt x="2387" y="0"/>
                  </a:lnTo>
                  <a:close/>
                </a:path>
              </a:pathLst>
            </a:custGeom>
            <a:solidFill>
              <a:srgbClr val="929292"/>
            </a:solidFill>
            <a:ln w="12700" cap="flat">
              <a:noFill/>
              <a:miter lim="400000"/>
            </a:ln>
            <a:effectLst/>
          </p:spPr>
          <p:txBody>
            <a:bodyPr wrap="square" lIns="34289" tIns="34289" rIns="34289" bIns="34289" numCol="1" anchor="ctr">
              <a:noAutofit/>
            </a:bodyP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492" name="Data &amp; Information Governance"/>
            <p:cNvSpPr txBox="1"/>
            <p:nvPr/>
          </p:nvSpPr>
          <p:spPr>
            <a:xfrm>
              <a:off x="1479448" y="2185716"/>
              <a:ext cx="2771711" cy="23688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ctr" defTabSz="412750">
                <a:defRPr sz="1200" b="1">
                  <a:latin typeface="Helvetica Neue"/>
                  <a:ea typeface="Helvetica Neue"/>
                  <a:cs typeface="Helvetica Neue"/>
                  <a:sym typeface="Helvetica Neue"/>
                </a:defRPr>
              </a:lvl1pPr>
            </a:lstStyle>
            <a:p>
              <a:r>
                <a:rPr sz="900"/>
                <a:t>Data &amp; Information Governance</a:t>
              </a:r>
            </a:p>
          </p:txBody>
        </p:sp>
        <p:sp>
          <p:nvSpPr>
            <p:cNvPr id="493" name="Shape"/>
            <p:cNvSpPr/>
            <p:nvPr/>
          </p:nvSpPr>
          <p:spPr>
            <a:xfrm>
              <a:off x="988145" y="305429"/>
              <a:ext cx="3754315" cy="1682718"/>
            </a:xfrm>
            <a:custGeom>
              <a:avLst/>
              <a:gdLst/>
              <a:ahLst/>
              <a:cxnLst>
                <a:cxn ang="0">
                  <a:pos x="wd2" y="hd2"/>
                </a:cxn>
                <a:cxn ang="5400000">
                  <a:pos x="wd2" y="hd2"/>
                </a:cxn>
                <a:cxn ang="10800000">
                  <a:pos x="wd2" y="hd2"/>
                </a:cxn>
                <a:cxn ang="16200000">
                  <a:pos x="wd2" y="hd2"/>
                </a:cxn>
              </a:cxnLst>
              <a:rect l="0" t="0" r="r" b="b"/>
              <a:pathLst>
                <a:path w="21600" h="21600" extrusionOk="0">
                  <a:moveTo>
                    <a:pt x="2387" y="0"/>
                  </a:moveTo>
                  <a:lnTo>
                    <a:pt x="19100" y="67"/>
                  </a:lnTo>
                  <a:lnTo>
                    <a:pt x="21600" y="21600"/>
                  </a:lnTo>
                  <a:lnTo>
                    <a:pt x="0" y="21600"/>
                  </a:lnTo>
                  <a:lnTo>
                    <a:pt x="2387" y="0"/>
                  </a:lnTo>
                  <a:close/>
                </a:path>
              </a:pathLst>
            </a:custGeom>
            <a:solidFill>
              <a:srgbClr val="5E5E5E"/>
            </a:solidFill>
            <a:ln w="12700" cap="flat">
              <a:noFill/>
              <a:miter lim="400000"/>
            </a:ln>
            <a:effectLst/>
          </p:spPr>
          <p:txBody>
            <a:bodyPr wrap="square" lIns="34289" tIns="34289" rIns="34289" bIns="34289" numCol="1" anchor="ctr">
              <a:noAutofit/>
            </a:bodyP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494" name="Change &amp; Automation"/>
            <p:cNvSpPr txBox="1"/>
            <p:nvPr/>
          </p:nvSpPr>
          <p:spPr>
            <a:xfrm>
              <a:off x="1161425" y="1446260"/>
              <a:ext cx="1012054" cy="42738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ctr" defTabSz="412750">
                <a:defRPr sz="1200" b="1">
                  <a:solidFill>
                    <a:srgbClr val="D5D5D5"/>
                  </a:solidFill>
                  <a:latin typeface="Helvetica Neue"/>
                  <a:ea typeface="Helvetica Neue"/>
                  <a:cs typeface="Helvetica Neue"/>
                  <a:sym typeface="Helvetica Neue"/>
                </a:defRPr>
              </a:lvl1pPr>
            </a:lstStyle>
            <a:p>
              <a:r>
                <a:rPr sz="900"/>
                <a:t>Change &amp; Automation</a:t>
              </a:r>
            </a:p>
          </p:txBody>
        </p:sp>
        <p:sp>
          <p:nvSpPr>
            <p:cNvPr id="495" name="Advanced Analytics &amp; Insight"/>
            <p:cNvSpPr txBox="1"/>
            <p:nvPr/>
          </p:nvSpPr>
          <p:spPr>
            <a:xfrm>
              <a:off x="2333959" y="1337672"/>
              <a:ext cx="1062688" cy="61788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ctr" defTabSz="412750">
                <a:defRPr sz="1200" b="1">
                  <a:solidFill>
                    <a:srgbClr val="D5D5D5"/>
                  </a:solidFill>
                  <a:latin typeface="Helvetica Neue"/>
                  <a:ea typeface="Helvetica Neue"/>
                  <a:cs typeface="Helvetica Neue"/>
                  <a:sym typeface="Helvetica Neue"/>
                </a:defRPr>
              </a:lvl1pPr>
            </a:lstStyle>
            <a:p>
              <a:r>
                <a:rPr sz="900"/>
                <a:t>Advanced Analytics &amp; Insight</a:t>
              </a:r>
            </a:p>
          </p:txBody>
        </p:sp>
        <p:sp>
          <p:nvSpPr>
            <p:cNvPr id="496" name="Analytics Literacy"/>
            <p:cNvSpPr txBox="1"/>
            <p:nvPr/>
          </p:nvSpPr>
          <p:spPr>
            <a:xfrm>
              <a:off x="3531062" y="1446260"/>
              <a:ext cx="1062688" cy="427381"/>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ctr" defTabSz="412750">
                <a:defRPr sz="1200" b="1">
                  <a:solidFill>
                    <a:srgbClr val="D5D5D5"/>
                  </a:solidFill>
                  <a:latin typeface="Helvetica Neue"/>
                  <a:ea typeface="Helvetica Neue"/>
                  <a:cs typeface="Helvetica Neue"/>
                  <a:sym typeface="Helvetica Neue"/>
                </a:defRPr>
              </a:lvl1pPr>
            </a:lstStyle>
            <a:p>
              <a:r>
                <a:rPr sz="900"/>
                <a:t>Analytics Literacy</a:t>
              </a:r>
            </a:p>
          </p:txBody>
        </p:sp>
        <p:sp>
          <p:nvSpPr>
            <p:cNvPr id="497" name="Line"/>
            <p:cNvSpPr/>
            <p:nvPr/>
          </p:nvSpPr>
          <p:spPr>
            <a:xfrm flipV="1">
              <a:off x="2244293" y="289830"/>
              <a:ext cx="136239" cy="1681976"/>
            </a:xfrm>
            <a:prstGeom prst="line">
              <a:avLst/>
            </a:prstGeom>
            <a:noFill/>
            <a:ln w="25400" cap="flat">
              <a:solidFill>
                <a:srgbClr val="D5D5D5"/>
              </a:solidFill>
              <a:custDash>
                <a:ds d="200000" sp="200000"/>
              </a:custDash>
              <a:miter lim="400000"/>
            </a:ln>
            <a:effectLst/>
          </p:spPr>
          <p:txBody>
            <a:bodyPr wrap="square" lIns="34289" tIns="34289" rIns="34289" bIns="34289" numCol="1" anchor="t">
              <a:noAutofit/>
            </a:bodyPr>
            <a:lstStyle/>
            <a:p>
              <a:endParaRPr sz="1350"/>
            </a:p>
          </p:txBody>
        </p:sp>
        <p:sp>
          <p:nvSpPr>
            <p:cNvPr id="498" name="Line"/>
            <p:cNvSpPr/>
            <p:nvPr/>
          </p:nvSpPr>
          <p:spPr>
            <a:xfrm flipH="1" flipV="1">
              <a:off x="3347877" y="321770"/>
              <a:ext cx="144432" cy="1650036"/>
            </a:xfrm>
            <a:prstGeom prst="line">
              <a:avLst/>
            </a:prstGeom>
            <a:noFill/>
            <a:ln w="25400" cap="flat">
              <a:solidFill>
                <a:srgbClr val="D5D5D5"/>
              </a:solidFill>
              <a:custDash>
                <a:ds d="200000" sp="200000"/>
              </a:custDash>
              <a:miter lim="400000"/>
            </a:ln>
            <a:effectLst/>
          </p:spPr>
          <p:txBody>
            <a:bodyPr wrap="square" lIns="34289" tIns="34289" rIns="34289" bIns="34289" numCol="1" anchor="t">
              <a:noAutofit/>
            </a:bodyPr>
            <a:lstStyle/>
            <a:p>
              <a:endParaRPr sz="1350"/>
            </a:p>
          </p:txBody>
        </p:sp>
        <p:sp>
          <p:nvSpPr>
            <p:cNvPr id="499" name="Shape"/>
            <p:cNvSpPr/>
            <p:nvPr/>
          </p:nvSpPr>
          <p:spPr>
            <a:xfrm>
              <a:off x="1461785" y="0"/>
              <a:ext cx="2807036" cy="1338931"/>
            </a:xfrm>
            <a:custGeom>
              <a:avLst/>
              <a:gdLst/>
              <a:ahLst/>
              <a:cxnLst>
                <a:cxn ang="0">
                  <a:pos x="wd2" y="hd2"/>
                </a:cxn>
                <a:cxn ang="5400000">
                  <a:pos x="wd2" y="hd2"/>
                </a:cxn>
                <a:cxn ang="10800000">
                  <a:pos x="wd2" y="hd2"/>
                </a:cxn>
                <a:cxn ang="16200000">
                  <a:pos x="wd2" y="hd2"/>
                </a:cxn>
              </a:cxnLst>
              <a:rect l="0" t="0" r="r" b="b"/>
              <a:pathLst>
                <a:path w="21600" h="21600" extrusionOk="0">
                  <a:moveTo>
                    <a:pt x="2387" y="0"/>
                  </a:moveTo>
                  <a:lnTo>
                    <a:pt x="19100" y="67"/>
                  </a:lnTo>
                  <a:lnTo>
                    <a:pt x="21600" y="21600"/>
                  </a:lnTo>
                  <a:lnTo>
                    <a:pt x="0" y="21600"/>
                  </a:lnTo>
                  <a:lnTo>
                    <a:pt x="2387" y="0"/>
                  </a:lnTo>
                  <a:close/>
                </a:path>
              </a:pathLst>
            </a:custGeom>
            <a:solidFill>
              <a:srgbClr val="000000"/>
            </a:solidFill>
            <a:ln w="12700" cap="flat">
              <a:noFill/>
              <a:miter lim="400000"/>
            </a:ln>
            <a:effectLst/>
          </p:spPr>
          <p:txBody>
            <a:bodyPr wrap="square" lIns="34289" tIns="34289" rIns="34289" bIns="34289" numCol="1" anchor="ctr">
              <a:noAutofit/>
            </a:bodyPr>
            <a:lstStyle/>
            <a:p>
              <a:pPr algn="ctr" defTabSz="309563">
                <a:defRPr sz="1600">
                  <a:solidFill>
                    <a:srgbClr val="FFFFFF"/>
                  </a:solidFill>
                  <a:latin typeface="Helvetica Neue Medium"/>
                  <a:ea typeface="Helvetica Neue Medium"/>
                  <a:cs typeface="Helvetica Neue Medium"/>
                  <a:sym typeface="Helvetica Neue Medium"/>
                </a:defRPr>
              </a:pPr>
              <a:endParaRPr sz="1200"/>
            </a:p>
          </p:txBody>
        </p:sp>
        <p:sp>
          <p:nvSpPr>
            <p:cNvPr id="500" name="Strategy &amp; Relationship Management"/>
            <p:cNvSpPr txBox="1"/>
            <p:nvPr/>
          </p:nvSpPr>
          <p:spPr>
            <a:xfrm>
              <a:off x="1910810" y="775274"/>
              <a:ext cx="1908985" cy="42738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numCol="1" anchor="ctr">
              <a:spAutoFit/>
            </a:bodyPr>
            <a:lstStyle>
              <a:lvl1pPr algn="ctr" defTabSz="412750">
                <a:defRPr sz="1200" b="1">
                  <a:solidFill>
                    <a:srgbClr val="D5D5D5"/>
                  </a:solidFill>
                  <a:latin typeface="Helvetica Neue"/>
                  <a:ea typeface="Helvetica Neue"/>
                  <a:cs typeface="Helvetica Neue"/>
                  <a:sym typeface="Helvetica Neue"/>
                </a:defRPr>
              </a:lvl1pPr>
            </a:lstStyle>
            <a:p>
              <a:r>
                <a:rPr sz="900"/>
                <a:t>Strategy &amp; Relationship Management</a:t>
              </a:r>
            </a:p>
          </p:txBody>
        </p:sp>
      </p:grpSp>
      <p:sp>
        <p:nvSpPr>
          <p:cNvPr id="502" name="Establish a centre of gravity…"/>
          <p:cNvSpPr txBox="1"/>
          <p:nvPr/>
        </p:nvSpPr>
        <p:spPr>
          <a:xfrm>
            <a:off x="774917" y="2749173"/>
            <a:ext cx="3769953" cy="1695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6789" tIns="26789" rIns="26789" bIns="26789">
            <a:spAutoFit/>
          </a:bodyPr>
          <a:lstStyle/>
          <a:p>
            <a:pPr marL="176213" indent="-176213" defTabSz="308075">
              <a:spcBef>
                <a:spcPts val="525"/>
              </a:spcBef>
              <a:buSzPct val="100000"/>
              <a:buChar char="•"/>
              <a:defRPr sz="2000"/>
            </a:pPr>
            <a:r>
              <a:rPr sz="1500"/>
              <a:t>Establish a centre of gravity</a:t>
            </a:r>
            <a:endParaRPr sz="3300"/>
          </a:p>
          <a:p>
            <a:pPr marL="176213" indent="-176213" defTabSz="308075">
              <a:spcBef>
                <a:spcPts val="525"/>
              </a:spcBef>
              <a:buSzPct val="100000"/>
              <a:buChar char="•"/>
              <a:defRPr sz="2000"/>
            </a:pPr>
            <a:r>
              <a:rPr sz="1500"/>
              <a:t>Create clear multi-directional connection (North &amp; South, East &amp; West)</a:t>
            </a:r>
            <a:endParaRPr sz="3300"/>
          </a:p>
          <a:p>
            <a:pPr marL="176213" indent="-176213" defTabSz="308075">
              <a:spcBef>
                <a:spcPts val="525"/>
              </a:spcBef>
              <a:buSzPct val="100000"/>
              <a:buChar char="•"/>
              <a:defRPr sz="2000"/>
            </a:pPr>
            <a:r>
              <a:rPr sz="1500"/>
              <a:t>Develop capability and capacity</a:t>
            </a:r>
            <a:endParaRPr sz="3300"/>
          </a:p>
          <a:p>
            <a:pPr marL="176213" indent="-176213" defTabSz="308075">
              <a:spcBef>
                <a:spcPts val="525"/>
              </a:spcBef>
              <a:buSzPct val="100000"/>
              <a:buChar char="•"/>
              <a:defRPr sz="2000"/>
            </a:pPr>
            <a:r>
              <a:rPr sz="1500"/>
              <a:t>Governance and oversight</a:t>
            </a:r>
            <a:endParaRPr sz="3300"/>
          </a:p>
          <a:p>
            <a:pPr marL="176213" indent="-176213" defTabSz="308075">
              <a:spcBef>
                <a:spcPts val="525"/>
              </a:spcBef>
              <a:buSzPct val="100000"/>
              <a:buChar char="•"/>
              <a:defRPr sz="2000"/>
            </a:pPr>
            <a:r>
              <a:rPr sz="1500"/>
              <a:t>Strategic pull and operational responsiveness </a:t>
            </a:r>
          </a:p>
        </p:txBody>
      </p:sp>
      <p:sp>
        <p:nvSpPr>
          <p:cNvPr id="503" name="Rectangle 1"/>
          <p:cNvSpPr txBox="1"/>
          <p:nvPr/>
        </p:nvSpPr>
        <p:spPr>
          <a:xfrm>
            <a:off x="265722" y="5787062"/>
            <a:ext cx="5100943" cy="1384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7144" tIns="17144" rIns="17144" bIns="17144">
            <a:spAutoFit/>
          </a:bodyPr>
          <a:lstStyle>
            <a:lvl1pPr defTabSz="410764">
              <a:defRPr sz="900"/>
            </a:lvl1pPr>
          </a:lstStyle>
          <a:p>
            <a:r>
              <a:rPr sz="675"/>
              <a:t>Caesar, et al. 2020. Connecting Data to Value: An Operating Model for Healthcare Advanced Analytics - Healthcare Quarterly</a:t>
            </a:r>
          </a:p>
        </p:txBody>
      </p:sp>
      <p:grpSp>
        <p:nvGrpSpPr>
          <p:cNvPr id="506" name="Group"/>
          <p:cNvGrpSpPr/>
          <p:nvPr/>
        </p:nvGrpSpPr>
        <p:grpSpPr>
          <a:xfrm>
            <a:off x="8228389" y="5655479"/>
            <a:ext cx="839564" cy="517987"/>
            <a:chOff x="0" y="0"/>
            <a:chExt cx="1119416" cy="690647"/>
          </a:xfrm>
        </p:grpSpPr>
        <p:sp>
          <p:nvSpPr>
            <p:cNvPr id="504" name="Data &amp; Analytics"/>
            <p:cNvSpPr txBox="1"/>
            <p:nvPr/>
          </p:nvSpPr>
          <p:spPr>
            <a:xfrm>
              <a:off x="325209" y="515794"/>
              <a:ext cx="794208" cy="17485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9050" tIns="19050" rIns="19050" bIns="19050" numCol="1" anchor="ctr">
              <a:spAutoFit/>
            </a:bodyPr>
            <a:lstStyle>
              <a:lvl1pPr algn="ctr" defTabSz="1219168">
                <a:defRPr sz="800" b="1" spc="-32">
                  <a:solidFill>
                    <a:srgbClr val="5E5E5E"/>
                  </a:solidFill>
                  <a:latin typeface="Helvetica Neue"/>
                  <a:ea typeface="Helvetica Neue"/>
                  <a:cs typeface="Helvetica Neue"/>
                  <a:sym typeface="Helvetica Neue"/>
                </a:defRPr>
              </a:lvl1pPr>
            </a:lstStyle>
            <a:p>
              <a:r>
                <a:rPr sz="600"/>
                <a:t>Data &amp; Analytics</a:t>
              </a:r>
            </a:p>
          </p:txBody>
        </p:sp>
        <p:pic>
          <p:nvPicPr>
            <p:cNvPr id="505" name="pasted-image.tiff" descr="pasted-image.tiff"/>
            <p:cNvPicPr>
              <a:picLocks noChangeAspect="1"/>
            </p:cNvPicPr>
            <p:nvPr/>
          </p:nvPicPr>
          <p:blipFill>
            <a:blip r:embed="rId2"/>
            <a:srcRect r="27280"/>
            <a:stretch>
              <a:fillRect/>
            </a:stretch>
          </p:blipFill>
          <p:spPr>
            <a:xfrm>
              <a:off x="0" y="0"/>
              <a:ext cx="733516" cy="229760"/>
            </a:xfrm>
            <a:prstGeom prst="rect">
              <a:avLst/>
            </a:prstGeom>
            <a:ln w="12700" cap="flat">
              <a:noFill/>
              <a:miter lim="400000"/>
            </a:ln>
            <a:effectLst/>
          </p:spPr>
        </p:pic>
      </p:grpSp>
    </p:spTree>
    <p:extLst>
      <p:ext uri="{BB962C8B-B14F-4D97-AF65-F5344CB8AC3E}">
        <p14:creationId xmlns:p14="http://schemas.microsoft.com/office/powerpoint/2010/main" val="1600348266"/>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93607EE-295A-D310-3A2D-7B71D40307A0}"/>
              </a:ext>
            </a:extLst>
          </p:cNvPr>
          <p:cNvSpPr>
            <a:spLocks noGrp="1"/>
          </p:cNvSpPr>
          <p:nvPr>
            <p:ph type="sldNum" sz="quarter" idx="12"/>
          </p:nvPr>
        </p:nvSpPr>
        <p:spPr/>
        <p:txBody>
          <a:bodyPr/>
          <a:lstStyle/>
          <a:p>
            <a:fld id="{602F7A02-EF0D-4D82-9BFD-3DDF074AABBD}" type="slidenum">
              <a:rPr lang="en-CA" smtClean="0"/>
              <a:t>7</a:t>
            </a:fld>
            <a:endParaRPr lang="en-CA" dirty="0"/>
          </a:p>
        </p:txBody>
      </p:sp>
      <p:sp>
        <p:nvSpPr>
          <p:cNvPr id="5" name="Rectangle 4">
            <a:extLst>
              <a:ext uri="{FF2B5EF4-FFF2-40B4-BE49-F238E27FC236}">
                <a16:creationId xmlns:a16="http://schemas.microsoft.com/office/drawing/2014/main" id="{742FD463-1B60-1AB5-29D4-A31612D0FCF6}"/>
              </a:ext>
            </a:extLst>
          </p:cNvPr>
          <p:cNvSpPr/>
          <p:nvPr/>
        </p:nvSpPr>
        <p:spPr>
          <a:xfrm>
            <a:off x="0" y="533400"/>
            <a:ext cx="9144000" cy="830434"/>
          </a:xfrm>
          <a:prstGeom prst="rect">
            <a:avLst/>
          </a:prstGeom>
          <a:solidFill>
            <a:srgbClr val="10344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dirty="0"/>
              <a:t>Visit The Poirier Group’s Website to access shorter versions of these Webinars (snippets)</a:t>
            </a:r>
            <a:endParaRPr lang="en-CA" sz="2100" dirty="0"/>
          </a:p>
        </p:txBody>
      </p:sp>
      <p:sp>
        <p:nvSpPr>
          <p:cNvPr id="10" name="TextBox 9">
            <a:extLst>
              <a:ext uri="{FF2B5EF4-FFF2-40B4-BE49-F238E27FC236}">
                <a16:creationId xmlns:a16="http://schemas.microsoft.com/office/drawing/2014/main" id="{B930EA69-E8A1-478A-E6AE-66C173EA535A}"/>
              </a:ext>
            </a:extLst>
          </p:cNvPr>
          <p:cNvSpPr txBox="1"/>
          <p:nvPr/>
        </p:nvSpPr>
        <p:spPr>
          <a:xfrm>
            <a:off x="762000" y="2438400"/>
            <a:ext cx="2115280" cy="492443"/>
          </a:xfrm>
          <a:prstGeom prst="rect">
            <a:avLst/>
          </a:prstGeom>
          <a:noFill/>
        </p:spPr>
        <p:txBody>
          <a:bodyPr wrap="square">
            <a:spAutoFit/>
          </a:bodyPr>
          <a:lstStyle/>
          <a:p>
            <a:r>
              <a:rPr lang="en-US" b="1" dirty="0">
                <a:solidFill>
                  <a:schemeClr val="accent2"/>
                </a:solidFill>
                <a:hlinkClick r:id="rId2">
                  <a:extLst>
                    <a:ext uri="{A12FA001-AC4F-418D-AE19-62706E023703}">
                      <ahyp:hlinkClr xmlns:ahyp="http://schemas.microsoft.com/office/drawing/2018/hyperlinkcolor" val="tx"/>
                    </a:ext>
                  </a:extLst>
                </a:hlinkClick>
              </a:rPr>
              <a:t>https://www.thepoiriergroup.com/perspectives/</a:t>
            </a:r>
            <a:r>
              <a:rPr lang="en-US" b="1" dirty="0">
                <a:solidFill>
                  <a:schemeClr val="accent2"/>
                </a:solidFill>
              </a:rPr>
              <a:t> </a:t>
            </a:r>
          </a:p>
        </p:txBody>
      </p:sp>
      <p:pic>
        <p:nvPicPr>
          <p:cNvPr id="7" name="Picture 6" descr="A screenshot of a website&#10;&#10;Description automatically generated">
            <a:extLst>
              <a:ext uri="{FF2B5EF4-FFF2-40B4-BE49-F238E27FC236}">
                <a16:creationId xmlns:a16="http://schemas.microsoft.com/office/drawing/2014/main" id="{FF0EC748-67DE-9520-E193-A5409F3211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76600" y="1379366"/>
            <a:ext cx="5784119" cy="5478634"/>
          </a:xfrm>
          <a:prstGeom prst="rect">
            <a:avLst/>
          </a:prstGeom>
        </p:spPr>
      </p:pic>
      <p:sp>
        <p:nvSpPr>
          <p:cNvPr id="11" name="TextBox 10">
            <a:extLst>
              <a:ext uri="{FF2B5EF4-FFF2-40B4-BE49-F238E27FC236}">
                <a16:creationId xmlns:a16="http://schemas.microsoft.com/office/drawing/2014/main" id="{EEA5A7D6-AD30-9184-7DBD-15CD9DADA3B3}"/>
              </a:ext>
            </a:extLst>
          </p:cNvPr>
          <p:cNvSpPr txBox="1"/>
          <p:nvPr/>
        </p:nvSpPr>
        <p:spPr>
          <a:xfrm>
            <a:off x="533400" y="5181600"/>
            <a:ext cx="2115280" cy="892552"/>
          </a:xfrm>
          <a:prstGeom prst="rect">
            <a:avLst/>
          </a:prstGeom>
          <a:noFill/>
        </p:spPr>
        <p:txBody>
          <a:bodyPr wrap="square">
            <a:spAutoFit/>
          </a:bodyPr>
          <a:lstStyle/>
          <a:p>
            <a:endParaRPr lang="en-US" dirty="0">
              <a:hlinkClick r:id="rId4"/>
            </a:endParaRPr>
          </a:p>
          <a:p>
            <a:r>
              <a:rPr lang="en-US" dirty="0">
                <a:hlinkClick r:id="rId4"/>
              </a:rPr>
              <a:t>https://www.youtube.com/channel/UCixxhLPZrwdK-DdKYqYZm1A</a:t>
            </a:r>
            <a:r>
              <a:rPr lang="en-US" dirty="0"/>
              <a:t> </a:t>
            </a:r>
          </a:p>
        </p:txBody>
      </p:sp>
      <p:sp>
        <p:nvSpPr>
          <p:cNvPr id="12" name="Rectangle: Rounded Corners 11">
            <a:extLst>
              <a:ext uri="{FF2B5EF4-FFF2-40B4-BE49-F238E27FC236}">
                <a16:creationId xmlns:a16="http://schemas.microsoft.com/office/drawing/2014/main" id="{2202A7D2-2E1F-CD97-D267-11506200F835}"/>
              </a:ext>
            </a:extLst>
          </p:cNvPr>
          <p:cNvSpPr/>
          <p:nvPr/>
        </p:nvSpPr>
        <p:spPr>
          <a:xfrm>
            <a:off x="304800" y="4191000"/>
            <a:ext cx="2572480" cy="1143000"/>
          </a:xfrm>
          <a:prstGeom prst="round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Or go to the TPG YouTube Channel for the short and longer version.  </a:t>
            </a:r>
          </a:p>
        </p:txBody>
      </p:sp>
    </p:spTree>
    <p:extLst>
      <p:ext uri="{BB962C8B-B14F-4D97-AF65-F5344CB8AC3E}">
        <p14:creationId xmlns:p14="http://schemas.microsoft.com/office/powerpoint/2010/main" val="41620835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8" name="Slide Number Placeholder 5"/>
          <p:cNvSpPr txBox="1">
            <a:spLocks noGrp="1"/>
          </p:cNvSpPr>
          <p:nvPr>
            <p:ph type="sldNum" sz="quarter" idx="2"/>
          </p:nvPr>
        </p:nvSpPr>
        <p:spPr>
          <a:xfrm>
            <a:off x="8832979" y="5681902"/>
            <a:ext cx="173261"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61</a:t>
            </a:fld>
            <a:endParaRPr/>
          </a:p>
        </p:txBody>
      </p:sp>
      <p:sp>
        <p:nvSpPr>
          <p:cNvPr id="509" name="Title 1"/>
          <p:cNvSpPr txBox="1">
            <a:spLocks noGrp="1"/>
          </p:cNvSpPr>
          <p:nvPr>
            <p:ph type="title"/>
          </p:nvPr>
        </p:nvSpPr>
        <p:spPr>
          <a:xfrm>
            <a:off x="501522" y="1029858"/>
            <a:ext cx="8428317" cy="419347"/>
          </a:xfrm>
          <a:prstGeom prst="rect">
            <a:avLst/>
          </a:prstGeom>
        </p:spPr>
        <p:txBody>
          <a:bodyPr>
            <a:normAutofit fontScale="90000"/>
          </a:bodyPr>
          <a:lstStyle>
            <a:lvl1pPr defTabSz="452628">
              <a:defRPr sz="3168" b="1">
                <a:latin typeface="+mn-lt"/>
                <a:ea typeface="+mn-ea"/>
                <a:cs typeface="+mn-cs"/>
                <a:sym typeface="Helvetica"/>
              </a:defRPr>
            </a:lvl1pPr>
          </a:lstStyle>
          <a:p>
            <a:r>
              <a:t>OMIX-H Components</a:t>
            </a:r>
          </a:p>
        </p:txBody>
      </p:sp>
      <p:sp>
        <p:nvSpPr>
          <p:cNvPr id="510" name="Managing the flow of data and information required to develop analytics solutions"/>
          <p:cNvSpPr txBox="1"/>
          <p:nvPr/>
        </p:nvSpPr>
        <p:spPr>
          <a:xfrm>
            <a:off x="467843" y="3257543"/>
            <a:ext cx="2538387" cy="2561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70000"/>
              </a:lnSpc>
              <a:defRPr sz="1100"/>
            </a:lvl1pPr>
          </a:lstStyle>
          <a:p>
            <a:r>
              <a:rPr sz="1000" dirty="0"/>
              <a:t>Managing the flow of data and information required to develop analytics solutions</a:t>
            </a:r>
          </a:p>
        </p:txBody>
      </p:sp>
      <p:sp>
        <p:nvSpPr>
          <p:cNvPr id="511" name="Serve in organizing efforts to manage, protect and enable value from enterprise data assets"/>
          <p:cNvSpPr txBox="1"/>
          <p:nvPr/>
        </p:nvSpPr>
        <p:spPr>
          <a:xfrm>
            <a:off x="3302623" y="3203682"/>
            <a:ext cx="2558669" cy="3638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70000"/>
              </a:lnSpc>
              <a:defRPr sz="1100"/>
            </a:lvl1pPr>
          </a:lstStyle>
          <a:p>
            <a:r>
              <a:rPr sz="1000" dirty="0"/>
              <a:t>Serve in organizing efforts to manage, protect and enable value from enterprise data assets</a:t>
            </a:r>
          </a:p>
        </p:txBody>
      </p:sp>
      <p:sp>
        <p:nvSpPr>
          <p:cNvPr id="512" name="Rectangle 1"/>
          <p:cNvSpPr txBox="1"/>
          <p:nvPr/>
        </p:nvSpPr>
        <p:spPr>
          <a:xfrm>
            <a:off x="546539" y="6237281"/>
            <a:ext cx="5100943" cy="1384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7144" tIns="17144" rIns="17144" bIns="17144">
            <a:spAutoFit/>
          </a:bodyPr>
          <a:lstStyle>
            <a:lvl1pPr defTabSz="410764">
              <a:defRPr sz="900"/>
            </a:lvl1pPr>
          </a:lstStyle>
          <a:p>
            <a:r>
              <a:rPr sz="675" dirty="0"/>
              <a:t>Caesar, et al. 2020. Connecting Data to Value: An Operating Model for Healthcare Advanced Analytics - Healthcare Quarterly</a:t>
            </a:r>
          </a:p>
        </p:txBody>
      </p:sp>
      <p:sp>
        <p:nvSpPr>
          <p:cNvPr id="513" name="Coordinate the implementation of advanced analytics solutions to ensure that human and AI systems can work together, interact and communicate with each other"/>
          <p:cNvSpPr txBox="1"/>
          <p:nvPr/>
        </p:nvSpPr>
        <p:spPr>
          <a:xfrm>
            <a:off x="6215497" y="3211661"/>
            <a:ext cx="2594524" cy="47699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70000"/>
              </a:lnSpc>
              <a:defRPr sz="1100"/>
            </a:lvl1pPr>
          </a:lstStyle>
          <a:p>
            <a:r>
              <a:rPr sz="1050" dirty="0"/>
              <a:t>Coordinate</a:t>
            </a:r>
            <a:r>
              <a:rPr sz="1000" dirty="0"/>
              <a:t> the implementation of advanced analytics solutions to ensure human and AI systems can work, interact and communicate with each other</a:t>
            </a:r>
          </a:p>
        </p:txBody>
      </p:sp>
      <p:sp>
        <p:nvSpPr>
          <p:cNvPr id="514" name="Enable explorations insight generation and problem solving using data"/>
          <p:cNvSpPr txBox="1"/>
          <p:nvPr/>
        </p:nvSpPr>
        <p:spPr>
          <a:xfrm>
            <a:off x="530098" y="5255415"/>
            <a:ext cx="2566913" cy="25616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70000"/>
              </a:lnSpc>
              <a:defRPr sz="1100"/>
            </a:lvl1pPr>
          </a:lstStyle>
          <a:p>
            <a:r>
              <a:rPr sz="1000" dirty="0"/>
              <a:t>Enable explorations insight generation and problem solving using data</a:t>
            </a:r>
          </a:p>
        </p:txBody>
      </p:sp>
      <p:sp>
        <p:nvSpPr>
          <p:cNvPr id="515" name="Advance the organizations capabilities in understanding data, its collection, management and application"/>
          <p:cNvSpPr txBox="1"/>
          <p:nvPr/>
        </p:nvSpPr>
        <p:spPr>
          <a:xfrm>
            <a:off x="3463750" y="5266087"/>
            <a:ext cx="2515814" cy="3638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70000"/>
              </a:lnSpc>
              <a:defRPr sz="1100"/>
            </a:lvl1pPr>
          </a:lstStyle>
          <a:p>
            <a:r>
              <a:rPr sz="1000" dirty="0"/>
              <a:t>Advance the organizations capabilities in understanding data, its collection, management and application</a:t>
            </a:r>
          </a:p>
        </p:txBody>
      </p:sp>
      <p:sp>
        <p:nvSpPr>
          <p:cNvPr id="516" name="Stimulate, surface and shape the organization’s needs across all domains of the organization"/>
          <p:cNvSpPr txBox="1"/>
          <p:nvPr/>
        </p:nvSpPr>
        <p:spPr>
          <a:xfrm>
            <a:off x="6430634" y="5201554"/>
            <a:ext cx="2515815" cy="3638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lvl1pPr algn="ctr" defTabSz="412750">
              <a:lnSpc>
                <a:spcPct val="70000"/>
              </a:lnSpc>
              <a:defRPr sz="1100"/>
            </a:lvl1pPr>
          </a:lstStyle>
          <a:p>
            <a:r>
              <a:rPr sz="1000" dirty="0"/>
              <a:t>Stimulate, surface and shape the organization’s needs across all domains of the organization</a:t>
            </a:r>
          </a:p>
        </p:txBody>
      </p:sp>
      <p:pic>
        <p:nvPicPr>
          <p:cNvPr id="517" name="Picture 90" descr="Picture 90"/>
          <p:cNvPicPr>
            <a:picLocks noChangeAspect="1"/>
          </p:cNvPicPr>
          <p:nvPr/>
        </p:nvPicPr>
        <p:blipFill>
          <a:blip r:embed="rId2"/>
          <a:stretch>
            <a:fillRect/>
          </a:stretch>
        </p:blipFill>
        <p:spPr>
          <a:xfrm>
            <a:off x="467830" y="1800573"/>
            <a:ext cx="2538388" cy="1399325"/>
          </a:xfrm>
          <a:prstGeom prst="rect">
            <a:avLst/>
          </a:prstGeom>
          <a:ln w="12700">
            <a:miter lim="400000"/>
          </a:ln>
        </p:spPr>
      </p:pic>
      <p:pic>
        <p:nvPicPr>
          <p:cNvPr id="518" name="Picture 91" descr="Picture 91"/>
          <p:cNvPicPr>
            <a:picLocks noChangeAspect="1"/>
          </p:cNvPicPr>
          <p:nvPr/>
        </p:nvPicPr>
        <p:blipFill>
          <a:blip r:embed="rId3"/>
          <a:stretch>
            <a:fillRect/>
          </a:stretch>
        </p:blipFill>
        <p:spPr>
          <a:xfrm>
            <a:off x="3327040" y="1797193"/>
            <a:ext cx="2558669" cy="1406085"/>
          </a:xfrm>
          <a:prstGeom prst="rect">
            <a:avLst/>
          </a:prstGeom>
          <a:ln w="12700">
            <a:miter lim="400000"/>
          </a:ln>
        </p:spPr>
      </p:pic>
      <p:pic>
        <p:nvPicPr>
          <p:cNvPr id="519" name="Picture 92" descr="Picture 92"/>
          <p:cNvPicPr>
            <a:picLocks noChangeAspect="1"/>
          </p:cNvPicPr>
          <p:nvPr/>
        </p:nvPicPr>
        <p:blipFill>
          <a:blip r:embed="rId4"/>
          <a:stretch>
            <a:fillRect/>
          </a:stretch>
        </p:blipFill>
        <p:spPr>
          <a:xfrm>
            <a:off x="6230389" y="1797193"/>
            <a:ext cx="2558669" cy="1406085"/>
          </a:xfrm>
          <a:prstGeom prst="rect">
            <a:avLst/>
          </a:prstGeom>
          <a:ln w="12700">
            <a:miter lim="400000"/>
          </a:ln>
        </p:spPr>
      </p:pic>
      <p:pic>
        <p:nvPicPr>
          <p:cNvPr id="520" name="Picture 93" descr="Picture 93"/>
          <p:cNvPicPr>
            <a:picLocks noChangeAspect="1"/>
          </p:cNvPicPr>
          <p:nvPr/>
        </p:nvPicPr>
        <p:blipFill>
          <a:blip r:embed="rId5"/>
          <a:stretch>
            <a:fillRect/>
          </a:stretch>
        </p:blipFill>
        <p:spPr>
          <a:xfrm>
            <a:off x="6409416" y="3789737"/>
            <a:ext cx="2558668" cy="1409465"/>
          </a:xfrm>
          <a:prstGeom prst="rect">
            <a:avLst/>
          </a:prstGeom>
          <a:ln w="12700">
            <a:miter lim="400000"/>
          </a:ln>
        </p:spPr>
      </p:pic>
      <p:pic>
        <p:nvPicPr>
          <p:cNvPr id="521" name="Picture 94" descr="Picture 94"/>
          <p:cNvPicPr>
            <a:picLocks noChangeAspect="1"/>
          </p:cNvPicPr>
          <p:nvPr/>
        </p:nvPicPr>
        <p:blipFill>
          <a:blip r:embed="rId6"/>
          <a:stretch>
            <a:fillRect/>
          </a:stretch>
        </p:blipFill>
        <p:spPr>
          <a:xfrm>
            <a:off x="3459591" y="3798881"/>
            <a:ext cx="2558669" cy="1406085"/>
          </a:xfrm>
          <a:prstGeom prst="rect">
            <a:avLst/>
          </a:prstGeom>
          <a:ln w="12700">
            <a:miter lim="400000"/>
          </a:ln>
        </p:spPr>
      </p:pic>
      <p:pic>
        <p:nvPicPr>
          <p:cNvPr id="522" name="Picture 95" descr="Picture 95"/>
          <p:cNvPicPr>
            <a:picLocks noChangeAspect="1"/>
          </p:cNvPicPr>
          <p:nvPr/>
        </p:nvPicPr>
        <p:blipFill>
          <a:blip r:embed="rId7"/>
          <a:stretch>
            <a:fillRect/>
          </a:stretch>
        </p:blipFill>
        <p:spPr>
          <a:xfrm>
            <a:off x="509768" y="3798881"/>
            <a:ext cx="2558668" cy="1406085"/>
          </a:xfrm>
          <a:prstGeom prst="rect">
            <a:avLst/>
          </a:prstGeom>
          <a:ln w="12700">
            <a:miter lim="400000"/>
          </a:ln>
        </p:spPr>
      </p:pic>
      <p:grpSp>
        <p:nvGrpSpPr>
          <p:cNvPr id="525" name="Group"/>
          <p:cNvGrpSpPr/>
          <p:nvPr/>
        </p:nvGrpSpPr>
        <p:grpSpPr>
          <a:xfrm>
            <a:off x="7391400" y="5857790"/>
            <a:ext cx="839564" cy="517987"/>
            <a:chOff x="0" y="0"/>
            <a:chExt cx="1119416" cy="690647"/>
          </a:xfrm>
        </p:grpSpPr>
        <p:sp>
          <p:nvSpPr>
            <p:cNvPr id="523" name="Data &amp; Analytics"/>
            <p:cNvSpPr txBox="1"/>
            <p:nvPr/>
          </p:nvSpPr>
          <p:spPr>
            <a:xfrm>
              <a:off x="325209" y="515794"/>
              <a:ext cx="794208" cy="17485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9050" tIns="19050" rIns="19050" bIns="19050" numCol="1" anchor="ctr">
              <a:spAutoFit/>
            </a:bodyPr>
            <a:lstStyle>
              <a:lvl1pPr algn="ctr" defTabSz="1219168">
                <a:defRPr sz="800" b="1" spc="-32">
                  <a:solidFill>
                    <a:srgbClr val="5E5E5E"/>
                  </a:solidFill>
                  <a:latin typeface="Helvetica Neue"/>
                  <a:ea typeface="Helvetica Neue"/>
                  <a:cs typeface="Helvetica Neue"/>
                  <a:sym typeface="Helvetica Neue"/>
                </a:defRPr>
              </a:lvl1pPr>
            </a:lstStyle>
            <a:p>
              <a:r>
                <a:rPr sz="600"/>
                <a:t>Data &amp; Analytics</a:t>
              </a:r>
            </a:p>
          </p:txBody>
        </p:sp>
        <p:pic>
          <p:nvPicPr>
            <p:cNvPr id="524" name="pasted-image.tiff" descr="pasted-image.tiff"/>
            <p:cNvPicPr>
              <a:picLocks noChangeAspect="1"/>
            </p:cNvPicPr>
            <p:nvPr/>
          </p:nvPicPr>
          <p:blipFill>
            <a:blip r:embed="rId8"/>
            <a:srcRect r="27280"/>
            <a:stretch>
              <a:fillRect/>
            </a:stretch>
          </p:blipFill>
          <p:spPr>
            <a:xfrm>
              <a:off x="0" y="0"/>
              <a:ext cx="733516" cy="229760"/>
            </a:xfrm>
            <a:prstGeom prst="rect">
              <a:avLst/>
            </a:prstGeom>
            <a:ln w="12700" cap="flat">
              <a:noFill/>
              <a:miter lim="400000"/>
            </a:ln>
            <a:effectLst/>
          </p:spPr>
        </p:pic>
      </p:grpSp>
    </p:spTree>
    <p:extLst>
      <p:ext uri="{BB962C8B-B14F-4D97-AF65-F5344CB8AC3E}">
        <p14:creationId xmlns:p14="http://schemas.microsoft.com/office/powerpoint/2010/main" val="719694049"/>
      </p:ext>
    </p:extLst>
  </p:cSld>
  <p:clrMapOvr>
    <a:masterClrMapping/>
  </p:clrMapOvr>
  <p:transition spd="med"/>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7" name="Slide Number Placeholder 5"/>
          <p:cNvSpPr txBox="1">
            <a:spLocks noGrp="1"/>
          </p:cNvSpPr>
          <p:nvPr>
            <p:ph type="sldNum" sz="quarter" idx="2"/>
          </p:nvPr>
        </p:nvSpPr>
        <p:spPr>
          <a:xfrm>
            <a:off x="8832979" y="5681902"/>
            <a:ext cx="173261" cy="15906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p>
            <a:fld id="{86CB4B4D-7CA3-9044-876B-883B54F8677D}" type="slidenum">
              <a:rPr/>
              <a:t>62</a:t>
            </a:fld>
            <a:endParaRPr/>
          </a:p>
        </p:txBody>
      </p:sp>
      <p:sp>
        <p:nvSpPr>
          <p:cNvPr id="528" name="Title 1"/>
          <p:cNvSpPr txBox="1">
            <a:spLocks noGrp="1"/>
          </p:cNvSpPr>
          <p:nvPr>
            <p:ph type="title"/>
          </p:nvPr>
        </p:nvSpPr>
        <p:spPr>
          <a:xfrm>
            <a:off x="501522" y="1027378"/>
            <a:ext cx="8428317" cy="421827"/>
          </a:xfrm>
          <a:prstGeom prst="rect">
            <a:avLst/>
          </a:prstGeom>
        </p:spPr>
        <p:txBody>
          <a:bodyPr>
            <a:normAutofit fontScale="90000"/>
          </a:bodyPr>
          <a:lstStyle>
            <a:lvl1pPr defTabSz="452628">
              <a:defRPr sz="3168" b="1">
                <a:latin typeface="+mn-lt"/>
                <a:ea typeface="+mn-ea"/>
                <a:cs typeface="+mn-cs"/>
                <a:sym typeface="Helvetica"/>
              </a:defRPr>
            </a:lvl1pPr>
          </a:lstStyle>
          <a:p>
            <a:r>
              <a:t>OMIX-H Interactions</a:t>
            </a:r>
          </a:p>
        </p:txBody>
      </p:sp>
      <p:sp>
        <p:nvSpPr>
          <p:cNvPr id="529" name="Managing the flow of data and information required to develop analytics solutions"/>
          <p:cNvSpPr txBox="1"/>
          <p:nvPr/>
        </p:nvSpPr>
        <p:spPr>
          <a:xfrm>
            <a:off x="332397" y="2232300"/>
            <a:ext cx="1708975" cy="53091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ctr" defTabSz="309563">
              <a:lnSpc>
                <a:spcPct val="80000"/>
              </a:lnSpc>
              <a:defRPr sz="1100">
                <a:solidFill>
                  <a:schemeClr val="accent1"/>
                </a:solidFill>
                <a:latin typeface="游ゴシック体 ボールド"/>
                <a:ea typeface="游ゴシック体 ボールド"/>
                <a:cs typeface="游ゴシック体 ボールド"/>
                <a:sym typeface="游ゴシック体 ボールド"/>
              </a:defRPr>
            </a:pPr>
            <a:r>
              <a:rPr sz="1000" dirty="0"/>
              <a:t>PRIORITIZATION &amp; INVESTMENT</a:t>
            </a:r>
          </a:p>
          <a:p>
            <a:pPr algn="ctr" defTabSz="309563">
              <a:lnSpc>
                <a:spcPct val="80000"/>
              </a:lnSpc>
              <a:defRPr sz="1100"/>
            </a:pPr>
            <a:endParaRPr sz="1000" dirty="0"/>
          </a:p>
          <a:p>
            <a:pPr algn="ctr" defTabSz="309563">
              <a:lnSpc>
                <a:spcPct val="80000"/>
              </a:lnSpc>
              <a:defRPr sz="1100"/>
            </a:pPr>
            <a:r>
              <a:rPr sz="1000" dirty="0"/>
              <a:t>Prioritization of advanced analytics or AI projects</a:t>
            </a:r>
          </a:p>
        </p:txBody>
      </p:sp>
      <p:sp>
        <p:nvSpPr>
          <p:cNvPr id="530" name="Rectangle 1"/>
          <p:cNvSpPr txBox="1"/>
          <p:nvPr/>
        </p:nvSpPr>
        <p:spPr>
          <a:xfrm>
            <a:off x="265722" y="5787062"/>
            <a:ext cx="5100943" cy="1384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7144" tIns="17144" rIns="17144" bIns="17144">
            <a:spAutoFit/>
          </a:bodyPr>
          <a:lstStyle>
            <a:lvl1pPr defTabSz="410764">
              <a:defRPr sz="900"/>
            </a:lvl1pPr>
          </a:lstStyle>
          <a:p>
            <a:r>
              <a:rPr sz="675"/>
              <a:t>Caesar, et al. 2020. Connecting Data to Value: An Operating Model for Healthcare Advanced Analytics - Healthcare Quarterly</a:t>
            </a:r>
          </a:p>
        </p:txBody>
      </p:sp>
      <p:pic>
        <p:nvPicPr>
          <p:cNvPr id="531" name="Picture 96" descr="Picture 96"/>
          <p:cNvPicPr>
            <a:picLocks noChangeAspect="1"/>
          </p:cNvPicPr>
          <p:nvPr/>
        </p:nvPicPr>
        <p:blipFill>
          <a:blip r:embed="rId2"/>
          <a:stretch>
            <a:fillRect/>
          </a:stretch>
        </p:blipFill>
        <p:spPr>
          <a:xfrm>
            <a:off x="1953269" y="1794714"/>
            <a:ext cx="2577254" cy="1406085"/>
          </a:xfrm>
          <a:prstGeom prst="rect">
            <a:avLst/>
          </a:prstGeom>
          <a:ln w="12700">
            <a:miter lim="400000"/>
          </a:ln>
        </p:spPr>
      </p:pic>
      <p:pic>
        <p:nvPicPr>
          <p:cNvPr id="532" name="Picture 98" descr="Picture 98"/>
          <p:cNvPicPr>
            <a:picLocks noChangeAspect="1"/>
          </p:cNvPicPr>
          <p:nvPr/>
        </p:nvPicPr>
        <p:blipFill>
          <a:blip r:embed="rId3"/>
          <a:stretch>
            <a:fillRect/>
          </a:stretch>
        </p:blipFill>
        <p:spPr>
          <a:xfrm>
            <a:off x="6476175" y="1794714"/>
            <a:ext cx="2563050" cy="1406966"/>
          </a:xfrm>
          <a:prstGeom prst="rect">
            <a:avLst/>
          </a:prstGeom>
          <a:ln w="12700">
            <a:miter lim="400000"/>
          </a:ln>
        </p:spPr>
      </p:pic>
      <p:pic>
        <p:nvPicPr>
          <p:cNvPr id="533" name="Picture 99" descr="Picture 99"/>
          <p:cNvPicPr>
            <a:picLocks noChangeAspect="1"/>
          </p:cNvPicPr>
          <p:nvPr/>
        </p:nvPicPr>
        <p:blipFill>
          <a:blip r:embed="rId4"/>
          <a:stretch>
            <a:fillRect/>
          </a:stretch>
        </p:blipFill>
        <p:spPr>
          <a:xfrm>
            <a:off x="1974695" y="3800788"/>
            <a:ext cx="2577255" cy="1411680"/>
          </a:xfrm>
          <a:prstGeom prst="rect">
            <a:avLst/>
          </a:prstGeom>
          <a:ln w="12700">
            <a:miter lim="400000"/>
          </a:ln>
        </p:spPr>
      </p:pic>
      <p:pic>
        <p:nvPicPr>
          <p:cNvPr id="534" name="Picture 100" descr="Picture 100"/>
          <p:cNvPicPr>
            <a:picLocks noChangeAspect="1"/>
          </p:cNvPicPr>
          <p:nvPr/>
        </p:nvPicPr>
        <p:blipFill>
          <a:blip r:embed="rId5"/>
          <a:stretch>
            <a:fillRect/>
          </a:stretch>
        </p:blipFill>
        <p:spPr>
          <a:xfrm>
            <a:off x="6416866" y="3790572"/>
            <a:ext cx="2558669" cy="1408629"/>
          </a:xfrm>
          <a:prstGeom prst="rect">
            <a:avLst/>
          </a:prstGeom>
          <a:ln w="12700">
            <a:miter lim="400000"/>
          </a:ln>
        </p:spPr>
      </p:pic>
      <p:sp>
        <p:nvSpPr>
          <p:cNvPr id="535" name="Managing the flow of data and information required to develop analytics solutions"/>
          <p:cNvSpPr txBox="1"/>
          <p:nvPr/>
        </p:nvSpPr>
        <p:spPr>
          <a:xfrm>
            <a:off x="4799621" y="1986079"/>
            <a:ext cx="1708974" cy="102335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ctr" defTabSz="309563">
              <a:lnSpc>
                <a:spcPct val="80000"/>
              </a:lnSpc>
              <a:defRPr sz="1100">
                <a:solidFill>
                  <a:schemeClr val="accent1"/>
                </a:solidFill>
                <a:latin typeface="游ゴシック体 ボールド"/>
                <a:ea typeface="游ゴシック体 ボールド"/>
                <a:cs typeface="游ゴシック体 ボールド"/>
                <a:sym typeface="游ゴシック体 ボールド"/>
              </a:defRPr>
            </a:pPr>
            <a:r>
              <a:rPr sz="1000"/>
              <a:t>PEOPLE/CULTURE &amp; DATA LITERACY</a:t>
            </a:r>
          </a:p>
          <a:p>
            <a:pPr algn="ctr" defTabSz="309563">
              <a:lnSpc>
                <a:spcPct val="80000"/>
              </a:lnSpc>
              <a:defRPr sz="1100">
                <a:latin typeface="游ゴシック体 ボールド"/>
                <a:ea typeface="游ゴシック体 ボールド"/>
                <a:cs typeface="游ゴシック体 ボールド"/>
                <a:sym typeface="游ゴシック体 ボールド"/>
              </a:defRPr>
            </a:pPr>
            <a:endParaRPr sz="1000"/>
          </a:p>
          <a:p>
            <a:pPr algn="ctr" defTabSz="309563">
              <a:lnSpc>
                <a:spcPct val="80000"/>
              </a:lnSpc>
              <a:defRPr sz="1100"/>
            </a:pPr>
            <a:r>
              <a:rPr sz="1000"/>
              <a:t>Ensure that organizational culture and people capabilities advance with the introduction of need ways of doing work </a:t>
            </a:r>
          </a:p>
        </p:txBody>
      </p:sp>
      <p:sp>
        <p:nvSpPr>
          <p:cNvPr id="536" name="Managing the flow of data and information required to develop analytics solutions"/>
          <p:cNvSpPr txBox="1"/>
          <p:nvPr/>
        </p:nvSpPr>
        <p:spPr>
          <a:xfrm>
            <a:off x="332397" y="3967492"/>
            <a:ext cx="1708975" cy="7771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ctr" defTabSz="309563">
              <a:lnSpc>
                <a:spcPct val="80000"/>
              </a:lnSpc>
              <a:defRPr sz="1100">
                <a:solidFill>
                  <a:schemeClr val="accent1"/>
                </a:solidFill>
                <a:latin typeface="游ゴシック体 ボールド"/>
                <a:ea typeface="游ゴシック体 ボールド"/>
                <a:cs typeface="游ゴシック体 ボールド"/>
                <a:sym typeface="游ゴシック体 ボールド"/>
              </a:defRPr>
            </a:pPr>
            <a:r>
              <a:rPr sz="1000" dirty="0"/>
              <a:t>RISK TOLERANCE </a:t>
            </a:r>
          </a:p>
          <a:p>
            <a:pPr algn="ctr" defTabSz="309563">
              <a:lnSpc>
                <a:spcPct val="80000"/>
              </a:lnSpc>
              <a:defRPr sz="1100">
                <a:solidFill>
                  <a:schemeClr val="accent1"/>
                </a:solidFill>
                <a:latin typeface="游ゴシック体 ボールド"/>
                <a:ea typeface="游ゴシック体 ボールド"/>
                <a:cs typeface="游ゴシック体 ボールド"/>
                <a:sym typeface="游ゴシック体 ボールド"/>
              </a:defRPr>
            </a:pPr>
            <a:r>
              <a:rPr sz="1000" dirty="0"/>
              <a:t>&amp; STRATEGY</a:t>
            </a:r>
          </a:p>
          <a:p>
            <a:pPr algn="ctr" defTabSz="309563">
              <a:lnSpc>
                <a:spcPct val="80000"/>
              </a:lnSpc>
              <a:defRPr sz="1100"/>
            </a:pPr>
            <a:endParaRPr sz="1000" dirty="0"/>
          </a:p>
          <a:p>
            <a:pPr algn="ctr" defTabSz="309563">
              <a:lnSpc>
                <a:spcPct val="80000"/>
              </a:lnSpc>
              <a:defRPr sz="1100"/>
            </a:pPr>
            <a:r>
              <a:rPr sz="1000" dirty="0"/>
              <a:t>Ensure a balance between risk appetite and strategic pursuits</a:t>
            </a:r>
          </a:p>
        </p:txBody>
      </p:sp>
      <p:sp>
        <p:nvSpPr>
          <p:cNvPr id="537" name="Managing the flow of data and information required to develop analytics solutions"/>
          <p:cNvSpPr txBox="1"/>
          <p:nvPr/>
        </p:nvSpPr>
        <p:spPr>
          <a:xfrm>
            <a:off x="4799621" y="3905938"/>
            <a:ext cx="1708974" cy="90024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ctr" defTabSz="309563">
              <a:lnSpc>
                <a:spcPct val="80000"/>
              </a:lnSpc>
              <a:defRPr sz="1100">
                <a:solidFill>
                  <a:schemeClr val="accent1"/>
                </a:solidFill>
                <a:latin typeface="游ゴシック体 ボールド"/>
                <a:ea typeface="游ゴシック体 ボールド"/>
                <a:cs typeface="游ゴシック体 ボールド"/>
                <a:sym typeface="游ゴシック体 ボールド"/>
              </a:defRPr>
            </a:pPr>
            <a:r>
              <a:rPr sz="1000" dirty="0"/>
              <a:t>TECHNOLOGY &amp; BUSINESS OPPORTUNITIES</a:t>
            </a:r>
          </a:p>
          <a:p>
            <a:pPr algn="ctr" defTabSz="309563">
              <a:lnSpc>
                <a:spcPct val="80000"/>
              </a:lnSpc>
              <a:defRPr sz="1100">
                <a:latin typeface="游ゴシック体 ボールド"/>
                <a:ea typeface="游ゴシック体 ボールド"/>
                <a:cs typeface="游ゴシック体 ボールド"/>
                <a:sym typeface="游ゴシック体 ボールド"/>
              </a:defRPr>
            </a:pPr>
            <a:endParaRPr sz="1000" dirty="0"/>
          </a:p>
          <a:p>
            <a:pPr algn="ctr" defTabSz="309563">
              <a:lnSpc>
                <a:spcPct val="80000"/>
              </a:lnSpc>
              <a:defRPr sz="1100"/>
            </a:pPr>
            <a:r>
              <a:rPr sz="1000" dirty="0"/>
              <a:t>Understand current and future needs to data technology and help align investment</a:t>
            </a:r>
          </a:p>
        </p:txBody>
      </p:sp>
      <p:grpSp>
        <p:nvGrpSpPr>
          <p:cNvPr id="540" name="Group"/>
          <p:cNvGrpSpPr/>
          <p:nvPr/>
        </p:nvGrpSpPr>
        <p:grpSpPr>
          <a:xfrm>
            <a:off x="8228389" y="5655479"/>
            <a:ext cx="839564" cy="517987"/>
            <a:chOff x="0" y="0"/>
            <a:chExt cx="1119416" cy="690647"/>
          </a:xfrm>
        </p:grpSpPr>
        <p:sp>
          <p:nvSpPr>
            <p:cNvPr id="538" name="Data &amp; Analytics"/>
            <p:cNvSpPr txBox="1"/>
            <p:nvPr/>
          </p:nvSpPr>
          <p:spPr>
            <a:xfrm>
              <a:off x="325209" y="515794"/>
              <a:ext cx="794208" cy="174854"/>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9050" tIns="19050" rIns="19050" bIns="19050" numCol="1" anchor="ctr">
              <a:spAutoFit/>
            </a:bodyPr>
            <a:lstStyle>
              <a:lvl1pPr algn="ctr" defTabSz="1219168">
                <a:defRPr sz="800" b="1" spc="-32">
                  <a:solidFill>
                    <a:srgbClr val="5E5E5E"/>
                  </a:solidFill>
                  <a:latin typeface="Helvetica Neue"/>
                  <a:ea typeface="Helvetica Neue"/>
                  <a:cs typeface="Helvetica Neue"/>
                  <a:sym typeface="Helvetica Neue"/>
                </a:defRPr>
              </a:lvl1pPr>
            </a:lstStyle>
            <a:p>
              <a:r>
                <a:rPr sz="600"/>
                <a:t>Data &amp; Analytics</a:t>
              </a:r>
            </a:p>
          </p:txBody>
        </p:sp>
        <p:pic>
          <p:nvPicPr>
            <p:cNvPr id="539" name="pasted-image.tiff" descr="pasted-image.tiff"/>
            <p:cNvPicPr>
              <a:picLocks noChangeAspect="1"/>
            </p:cNvPicPr>
            <p:nvPr/>
          </p:nvPicPr>
          <p:blipFill>
            <a:blip r:embed="rId6"/>
            <a:srcRect r="27280"/>
            <a:stretch>
              <a:fillRect/>
            </a:stretch>
          </p:blipFill>
          <p:spPr>
            <a:xfrm>
              <a:off x="0" y="0"/>
              <a:ext cx="733516" cy="229760"/>
            </a:xfrm>
            <a:prstGeom prst="rect">
              <a:avLst/>
            </a:prstGeom>
            <a:ln w="12700" cap="flat">
              <a:noFill/>
              <a:miter lim="400000"/>
            </a:ln>
            <a:effectLst/>
          </p:spPr>
        </p:pic>
      </p:grpSp>
    </p:spTree>
    <p:extLst>
      <p:ext uri="{BB962C8B-B14F-4D97-AF65-F5344CB8AC3E}">
        <p14:creationId xmlns:p14="http://schemas.microsoft.com/office/powerpoint/2010/main" val="3626608943"/>
      </p:ext>
    </p:extLst>
  </p:cSld>
  <p:clrMapOvr>
    <a:masterClrMapping/>
  </p:clrMapOvr>
  <p:transition spd="med"/>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5" name="Slide Number Placeholder 5"/>
          <p:cNvSpPr txBox="1">
            <a:spLocks noGrp="1"/>
          </p:cNvSpPr>
          <p:nvPr>
            <p:ph type="sldNum" sz="quarter" idx="4294967295"/>
          </p:nvPr>
        </p:nvSpPr>
        <p:spPr>
          <a:xfrm>
            <a:off x="8832978" y="5681902"/>
            <a:ext cx="173259" cy="159067"/>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tIns="34289" rIns="34289" bIns="34289"/>
          <a:lstStyle/>
          <a:p>
            <a:fld id="{86CB4B4D-7CA3-9044-876B-883B54F8677D}" type="slidenum">
              <a:rPr/>
              <a:t>63</a:t>
            </a:fld>
            <a:endParaRPr/>
          </a:p>
        </p:txBody>
      </p:sp>
      <p:sp>
        <p:nvSpPr>
          <p:cNvPr id="546" name="Title 5"/>
          <p:cNvSpPr txBox="1"/>
          <p:nvPr/>
        </p:nvSpPr>
        <p:spPr>
          <a:xfrm>
            <a:off x="473164" y="1114425"/>
            <a:ext cx="6036224" cy="4339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tIns="34289" rIns="34289" bIns="34289">
            <a:normAutofit/>
          </a:bodyPr>
          <a:lstStyle>
            <a:lvl1pPr defTabSz="459486">
              <a:lnSpc>
                <a:spcPct val="63000"/>
              </a:lnSpc>
              <a:defRPr sz="3200" b="1">
                <a:latin typeface="+mn-lt"/>
                <a:ea typeface="+mn-ea"/>
                <a:cs typeface="+mn-cs"/>
                <a:sym typeface="Helvetica"/>
              </a:defRPr>
            </a:lvl1pPr>
          </a:lstStyle>
          <a:p>
            <a:r>
              <a:rPr sz="2400"/>
              <a:t>Decision Support Analyst</a:t>
            </a:r>
          </a:p>
        </p:txBody>
      </p:sp>
      <p:sp>
        <p:nvSpPr>
          <p:cNvPr id="547" name="Role……"/>
          <p:cNvSpPr txBox="1"/>
          <p:nvPr/>
        </p:nvSpPr>
        <p:spPr>
          <a:xfrm>
            <a:off x="3673407" y="2156195"/>
            <a:ext cx="4859412" cy="40026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Role: </a:t>
            </a:r>
          </a:p>
          <a:p>
            <a:pPr marL="171450" indent="-171450" algn="just" defTabSz="309563">
              <a:lnSpc>
                <a:spcPct val="80000"/>
              </a:lnSpc>
              <a:buSzPct val="100000"/>
              <a:buChar char="▪"/>
              <a:defRPr sz="1400"/>
            </a:pPr>
            <a:r>
              <a:rPr sz="1400" dirty="0"/>
              <a:t>Performance data quality, reporting and analytics for clinical and management teams</a:t>
            </a:r>
          </a:p>
          <a:p>
            <a:pPr algn="ctr" defTabSz="309563">
              <a:lnSpc>
                <a:spcPct val="80000"/>
              </a:lnSpc>
              <a:defRPr sz="1400">
                <a:latin typeface="游ゴシック体 ボールド"/>
                <a:ea typeface="游ゴシック体 ボールド"/>
                <a:cs typeface="游ゴシック体 ボールド"/>
                <a:sym typeface="游ゴシック体 ボールド"/>
              </a:defRPr>
            </a:pPr>
            <a:r>
              <a:rPr sz="1400" dirty="0"/>
              <a:t> </a:t>
            </a:r>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Skills: </a:t>
            </a:r>
          </a:p>
          <a:p>
            <a:pPr marL="171450" indent="-171450" algn="just" defTabSz="309563">
              <a:lnSpc>
                <a:spcPct val="80000"/>
              </a:lnSpc>
              <a:buSzPct val="100000"/>
              <a:buChar char="▪"/>
              <a:defRPr sz="1400"/>
            </a:pPr>
            <a:r>
              <a:rPr sz="1400" dirty="0"/>
              <a:t>Epic Cogito reporting, business intelligence, communication, and statistical analysis</a:t>
            </a:r>
          </a:p>
          <a:p>
            <a:pPr marL="171450" indent="-171450" algn="just" defTabSz="309563">
              <a:lnSpc>
                <a:spcPct val="80000"/>
              </a:lnSpc>
              <a:buSzPct val="100000"/>
              <a:buChar char="▪"/>
              <a:defRPr sz="1400"/>
            </a:pPr>
            <a:r>
              <a:rPr sz="1400" dirty="0"/>
              <a:t>Medical terminology and informatics proficiency</a:t>
            </a:r>
          </a:p>
          <a:p>
            <a:pPr marL="171450" indent="-171450" algn="just" defTabSz="309563">
              <a:lnSpc>
                <a:spcPct val="80000"/>
              </a:lnSpc>
              <a:buSzPct val="100000"/>
              <a:buChar char="▪"/>
              <a:defRPr sz="1400"/>
            </a:pPr>
            <a:r>
              <a:rPr sz="1400" dirty="0"/>
              <a:t>Database tools/programs (e.g. Crystal Reports, Power BI, SAS and Python)</a:t>
            </a:r>
          </a:p>
          <a:p>
            <a:pPr marL="171450" indent="-171450" algn="just" defTabSz="309563">
              <a:lnSpc>
                <a:spcPct val="80000"/>
              </a:lnSpc>
              <a:buSzPct val="100000"/>
              <a:buChar char="▪"/>
              <a:defRPr sz="1400"/>
            </a:pPr>
            <a:r>
              <a:rPr sz="1400" dirty="0"/>
              <a:t>Large healthcare data sets</a:t>
            </a:r>
          </a:p>
          <a:p>
            <a:pPr algn="just" defTabSz="309563">
              <a:lnSpc>
                <a:spcPct val="80000"/>
              </a:lnSpc>
              <a:defRPr sz="1400">
                <a:latin typeface="游ゴシック体 ボールド"/>
                <a:ea typeface="游ゴシック体 ボールド"/>
                <a:cs typeface="游ゴシック体 ボールド"/>
                <a:sym typeface="游ゴシック体 ボールド"/>
              </a:defRPr>
            </a:pPr>
            <a:endParaRPr sz="1400" dirty="0"/>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Value proposition:</a:t>
            </a:r>
          </a:p>
          <a:p>
            <a:pPr marL="171450" indent="-171450" algn="just" defTabSz="309563">
              <a:lnSpc>
                <a:spcPct val="80000"/>
              </a:lnSpc>
              <a:buSzPct val="100000"/>
              <a:buChar char="▪"/>
              <a:defRPr sz="1400"/>
            </a:pPr>
            <a:r>
              <a:rPr sz="1400" dirty="0"/>
              <a:t>Provide accurate information and thoughtful insights on hospital performance to support operational and strategic evidence-based decision-making</a:t>
            </a:r>
          </a:p>
          <a:p>
            <a:pPr marL="171450" indent="-171450" algn="just" defTabSz="309563">
              <a:lnSpc>
                <a:spcPct val="80000"/>
              </a:lnSpc>
              <a:buSzPct val="100000"/>
              <a:buChar char="▪"/>
              <a:defRPr sz="1400"/>
            </a:pPr>
            <a:r>
              <a:rPr sz="1400" dirty="0"/>
              <a:t>Recommend innovative ways to improve reporting process efficiency and data quality</a:t>
            </a:r>
          </a:p>
          <a:p>
            <a:pPr marL="171450" indent="-171450" algn="just" defTabSz="309563">
              <a:lnSpc>
                <a:spcPct val="80000"/>
              </a:lnSpc>
              <a:buSzPct val="100000"/>
              <a:buChar char="▪"/>
              <a:defRPr sz="1400"/>
            </a:pPr>
            <a:endParaRPr sz="1400" dirty="0"/>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Example Contributions:</a:t>
            </a:r>
          </a:p>
          <a:p>
            <a:pPr marL="171450" indent="-171450" algn="just" defTabSz="309563">
              <a:lnSpc>
                <a:spcPct val="80000"/>
              </a:lnSpc>
              <a:buSzPct val="100000"/>
              <a:buChar char="▪"/>
              <a:defRPr sz="1400"/>
            </a:pPr>
            <a:r>
              <a:rPr sz="1400" dirty="0"/>
              <a:t>Stroke Accreditation</a:t>
            </a:r>
          </a:p>
          <a:p>
            <a:pPr marL="171450" indent="-171450" algn="just" defTabSz="309563">
              <a:lnSpc>
                <a:spcPct val="80000"/>
              </a:lnSpc>
              <a:buSzPct val="100000"/>
              <a:buChar char="▪"/>
              <a:defRPr sz="1400"/>
            </a:pPr>
            <a:r>
              <a:rPr sz="1400" dirty="0"/>
              <a:t>Blood Group Confirmation to ensure patient safety and optimal delivery of blood resources</a:t>
            </a:r>
          </a:p>
        </p:txBody>
      </p:sp>
      <p:pic>
        <p:nvPicPr>
          <p:cNvPr id="548" name="Picture 1" descr="Picture 1"/>
          <p:cNvPicPr>
            <a:picLocks noChangeAspect="1"/>
          </p:cNvPicPr>
          <p:nvPr/>
        </p:nvPicPr>
        <p:blipFill>
          <a:blip r:embed="rId2"/>
          <a:srcRect r="4"/>
          <a:stretch>
            <a:fillRect/>
          </a:stretch>
        </p:blipFill>
        <p:spPr>
          <a:xfrm>
            <a:off x="383078" y="2075830"/>
            <a:ext cx="1737420" cy="1729382"/>
          </a:xfrm>
          <a:custGeom>
            <a:avLst/>
            <a:gdLst/>
            <a:ahLst/>
            <a:cxnLst>
              <a:cxn ang="0">
                <a:pos x="wd2" y="hd2"/>
              </a:cxn>
              <a:cxn ang="5400000">
                <a:pos x="wd2" y="hd2"/>
              </a:cxn>
              <a:cxn ang="10800000">
                <a:pos x="wd2" y="hd2"/>
              </a:cxn>
              <a:cxn ang="16200000">
                <a:pos x="wd2" y="hd2"/>
              </a:cxn>
            </a:cxnLst>
            <a:rect l="0" t="0" r="r" b="b"/>
            <a:pathLst>
              <a:path w="21600" h="21600" extrusionOk="0">
                <a:moveTo>
                  <a:pt x="10802" y="0"/>
                </a:moveTo>
                <a:cubicBezTo>
                  <a:pt x="4837" y="0"/>
                  <a:pt x="0" y="4835"/>
                  <a:pt x="0" y="10800"/>
                </a:cubicBezTo>
                <a:cubicBezTo>
                  <a:pt x="0" y="16765"/>
                  <a:pt x="4837" y="21600"/>
                  <a:pt x="10802" y="21600"/>
                </a:cubicBezTo>
                <a:cubicBezTo>
                  <a:pt x="16767" y="21600"/>
                  <a:pt x="21600" y="16765"/>
                  <a:pt x="21600" y="10800"/>
                </a:cubicBezTo>
                <a:cubicBezTo>
                  <a:pt x="21600" y="4835"/>
                  <a:pt x="16767" y="0"/>
                  <a:pt x="10802" y="0"/>
                </a:cubicBezTo>
                <a:close/>
              </a:path>
            </a:pathLst>
          </a:custGeom>
          <a:ln w="12700">
            <a:miter lim="400000"/>
          </a:ln>
        </p:spPr>
      </p:pic>
      <p:grpSp>
        <p:nvGrpSpPr>
          <p:cNvPr id="551" name="Group"/>
          <p:cNvGrpSpPr/>
          <p:nvPr/>
        </p:nvGrpSpPr>
        <p:grpSpPr>
          <a:xfrm>
            <a:off x="1736223" y="2909672"/>
            <a:ext cx="1724997" cy="1747518"/>
            <a:chOff x="0" y="0"/>
            <a:chExt cx="2299995" cy="2330023"/>
          </a:xfrm>
        </p:grpSpPr>
        <p:sp>
          <p:nvSpPr>
            <p:cNvPr id="549" name="Oval"/>
            <p:cNvSpPr/>
            <p:nvPr/>
          </p:nvSpPr>
          <p:spPr>
            <a:xfrm>
              <a:off x="0" y="0"/>
              <a:ext cx="2299996" cy="2330024"/>
            </a:xfrm>
            <a:prstGeom prst="ellipse">
              <a:avLst/>
            </a:prstGeom>
            <a:gradFill flip="none" rotWithShape="1">
              <a:gsLst>
                <a:gs pos="0">
                  <a:srgbClr val="98BCC3"/>
                </a:gs>
                <a:gs pos="100000">
                  <a:srgbClr val="D5CAB7"/>
                </a:gs>
              </a:gsLst>
              <a:lin ang="11291325" scaled="0"/>
            </a:gradFill>
            <a:ln w="12700" cap="flat">
              <a:noFill/>
              <a:miter lim="400000"/>
            </a:ln>
            <a:effectLst/>
          </p:spPr>
          <p:txBody>
            <a:bodyPr wrap="square" lIns="34289" tIns="34289" rIns="34289" bIns="34289" numCol="1" anchor="ctr">
              <a:noAutofit/>
            </a:bodyPr>
            <a:lstStyle/>
            <a:p>
              <a:endParaRPr sz="1350"/>
            </a:p>
          </p:txBody>
        </p:sp>
        <p:pic>
          <p:nvPicPr>
            <p:cNvPr id="550" name="Picture 2" descr="Picture 2"/>
            <p:cNvPicPr>
              <a:picLocks noChangeAspect="1"/>
            </p:cNvPicPr>
            <p:nvPr/>
          </p:nvPicPr>
          <p:blipFill>
            <a:blip r:embed="rId3"/>
            <a:srcRect l="4"/>
            <a:stretch>
              <a:fillRect/>
            </a:stretch>
          </p:blipFill>
          <p:spPr>
            <a:xfrm>
              <a:off x="266802" y="77590"/>
              <a:ext cx="1783073" cy="2174741"/>
            </a:xfrm>
            <a:custGeom>
              <a:avLst/>
              <a:gdLst/>
              <a:ahLst/>
              <a:cxnLst>
                <a:cxn ang="0">
                  <a:pos x="wd2" y="hd2"/>
                </a:cxn>
                <a:cxn ang="5400000">
                  <a:pos x="wd2" y="hd2"/>
                </a:cxn>
                <a:cxn ang="10800000">
                  <a:pos x="wd2" y="hd2"/>
                </a:cxn>
                <a:cxn ang="16200000">
                  <a:pos x="wd2" y="hd2"/>
                </a:cxn>
              </a:cxnLst>
              <a:rect l="0" t="0" r="r" b="b"/>
              <a:pathLst>
                <a:path w="21600" h="21600" extrusionOk="0">
                  <a:moveTo>
                    <a:pt x="6851" y="0"/>
                  </a:moveTo>
                  <a:cubicBezTo>
                    <a:pt x="4126" y="651"/>
                    <a:pt x="1749" y="1956"/>
                    <a:pt x="0" y="3693"/>
                  </a:cubicBezTo>
                  <a:lnTo>
                    <a:pt x="0" y="17907"/>
                  </a:lnTo>
                  <a:cubicBezTo>
                    <a:pt x="1749" y="19644"/>
                    <a:pt x="4126" y="20949"/>
                    <a:pt x="6851" y="21600"/>
                  </a:cubicBezTo>
                  <a:lnTo>
                    <a:pt x="14749" y="21600"/>
                  </a:lnTo>
                  <a:cubicBezTo>
                    <a:pt x="17476" y="20948"/>
                    <a:pt x="19851" y="19642"/>
                    <a:pt x="21600" y="17903"/>
                  </a:cubicBezTo>
                  <a:lnTo>
                    <a:pt x="21600" y="3697"/>
                  </a:lnTo>
                  <a:cubicBezTo>
                    <a:pt x="19851" y="1958"/>
                    <a:pt x="17476" y="652"/>
                    <a:pt x="14749" y="0"/>
                  </a:cubicBezTo>
                  <a:lnTo>
                    <a:pt x="6851" y="0"/>
                  </a:lnTo>
                  <a:close/>
                </a:path>
              </a:pathLst>
            </a:custGeom>
            <a:ln w="12700" cap="flat">
              <a:noFill/>
              <a:miter lim="400000"/>
            </a:ln>
            <a:effectLst/>
          </p:spPr>
        </p:pic>
      </p:grpSp>
      <p:pic>
        <p:nvPicPr>
          <p:cNvPr id="552" name="Picture 8" descr="Picture 8"/>
          <p:cNvPicPr>
            <a:picLocks noChangeAspect="1"/>
          </p:cNvPicPr>
          <p:nvPr/>
        </p:nvPicPr>
        <p:blipFill>
          <a:blip r:embed="rId4"/>
          <a:stretch>
            <a:fillRect/>
          </a:stretch>
        </p:blipFill>
        <p:spPr>
          <a:xfrm>
            <a:off x="457857" y="3890375"/>
            <a:ext cx="1862405" cy="1864481"/>
          </a:xfrm>
          <a:custGeom>
            <a:avLst/>
            <a:gdLst/>
            <a:ahLst/>
            <a:cxnLst>
              <a:cxn ang="0">
                <a:pos x="wd2" y="hd2"/>
              </a:cxn>
              <a:cxn ang="5400000">
                <a:pos x="wd2" y="hd2"/>
              </a:cxn>
              <a:cxn ang="10800000">
                <a:pos x="wd2" y="hd2"/>
              </a:cxn>
              <a:cxn ang="16200000">
                <a:pos x="wd2" y="hd2"/>
              </a:cxn>
            </a:cxnLst>
            <a:rect l="0" t="0" r="r" b="b"/>
            <a:pathLst>
              <a:path w="21600" h="21600" extrusionOk="0">
                <a:moveTo>
                  <a:pt x="10798" y="0"/>
                </a:moveTo>
                <a:cubicBezTo>
                  <a:pt x="4834" y="0"/>
                  <a:pt x="0" y="4835"/>
                  <a:pt x="0" y="10800"/>
                </a:cubicBezTo>
                <a:cubicBezTo>
                  <a:pt x="0" y="16765"/>
                  <a:pt x="4834" y="21600"/>
                  <a:pt x="10798" y="21600"/>
                </a:cubicBezTo>
                <a:cubicBezTo>
                  <a:pt x="16763" y="21600"/>
                  <a:pt x="21600" y="16765"/>
                  <a:pt x="21600" y="10800"/>
                </a:cubicBezTo>
                <a:cubicBezTo>
                  <a:pt x="21600" y="4835"/>
                  <a:pt x="16763" y="0"/>
                  <a:pt x="10798" y="0"/>
                </a:cubicBezTo>
                <a:close/>
              </a:path>
            </a:pathLst>
          </a:custGeom>
          <a:ln w="12700">
            <a:miter lim="400000"/>
          </a:ln>
        </p:spPr>
      </p:pic>
      <p:sp>
        <p:nvSpPr>
          <p:cNvPr id="553" name="Content Placeholder 4"/>
          <p:cNvSpPr txBox="1">
            <a:spLocks noGrp="1"/>
          </p:cNvSpPr>
          <p:nvPr>
            <p:ph type="body" sz="quarter" idx="1"/>
          </p:nvPr>
        </p:nvSpPr>
        <p:spPr>
          <a:xfrm>
            <a:off x="501253" y="1570481"/>
            <a:ext cx="8428586" cy="285779"/>
          </a:xfrm>
          <a:prstGeom prst="rect">
            <a:avLst/>
          </a:prstGeom>
        </p:spPr>
        <p:txBody>
          <a:bodyPr>
            <a:normAutofit lnSpcReduction="10000"/>
          </a:bodyPr>
          <a:lstStyle/>
          <a:p>
            <a:r>
              <a:rPr dirty="0"/>
              <a:t>Our resident experts in informatics helping UHN understand its data and performance</a:t>
            </a:r>
          </a:p>
        </p:txBody>
      </p:sp>
    </p:spTree>
    <p:extLst>
      <p:ext uri="{BB962C8B-B14F-4D97-AF65-F5344CB8AC3E}">
        <p14:creationId xmlns:p14="http://schemas.microsoft.com/office/powerpoint/2010/main" val="1654434577"/>
      </p:ext>
    </p:extLst>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5" name="Slide Number Placeholder 5"/>
          <p:cNvSpPr txBox="1">
            <a:spLocks noGrp="1"/>
          </p:cNvSpPr>
          <p:nvPr>
            <p:ph type="sldNum" sz="quarter" idx="4294967295"/>
          </p:nvPr>
        </p:nvSpPr>
        <p:spPr>
          <a:xfrm>
            <a:off x="8832978" y="5681902"/>
            <a:ext cx="173259" cy="159067"/>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tIns="34289" rIns="34289" bIns="34289"/>
          <a:lstStyle/>
          <a:p>
            <a:fld id="{86CB4B4D-7CA3-9044-876B-883B54F8677D}" type="slidenum">
              <a:rPr/>
              <a:t>64</a:t>
            </a:fld>
            <a:endParaRPr/>
          </a:p>
        </p:txBody>
      </p:sp>
      <p:sp>
        <p:nvSpPr>
          <p:cNvPr id="556" name="Role……"/>
          <p:cNvSpPr txBox="1"/>
          <p:nvPr/>
        </p:nvSpPr>
        <p:spPr>
          <a:xfrm>
            <a:off x="3962400" y="2286000"/>
            <a:ext cx="4283931" cy="40026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Role:</a:t>
            </a:r>
            <a:r>
              <a:rPr sz="1400" dirty="0">
                <a:solidFill>
                  <a:srgbClr val="000000"/>
                </a:solidFill>
              </a:rPr>
              <a:t> </a:t>
            </a:r>
          </a:p>
          <a:p>
            <a:pPr marL="171450" indent="-171450" algn="just" defTabSz="309563">
              <a:lnSpc>
                <a:spcPct val="80000"/>
              </a:lnSpc>
              <a:buSzPct val="100000"/>
              <a:buChar char="▪"/>
              <a:defRPr sz="1400"/>
            </a:pPr>
            <a:r>
              <a:rPr sz="1400" dirty="0"/>
              <a:t>Utilize analytics and data to understand and address healthcare challenges</a:t>
            </a:r>
          </a:p>
          <a:p>
            <a:pPr marL="171450" indent="-171450" algn="just" defTabSz="309563">
              <a:lnSpc>
                <a:spcPct val="80000"/>
              </a:lnSpc>
              <a:buSzPct val="100000"/>
              <a:buChar char="▪"/>
              <a:defRPr sz="1400">
                <a:latin typeface="游ゴシック体 ボールド"/>
                <a:ea typeface="游ゴシック体 ボールド"/>
                <a:cs typeface="游ゴシック体 ボールド"/>
                <a:sym typeface="游ゴシック体 ボールド"/>
              </a:defRPr>
            </a:pPr>
            <a:endParaRPr sz="1400" dirty="0"/>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Skills:</a:t>
            </a:r>
            <a:r>
              <a:rPr sz="1400" dirty="0">
                <a:solidFill>
                  <a:srgbClr val="000000"/>
                </a:solidFill>
              </a:rPr>
              <a:t> </a:t>
            </a:r>
          </a:p>
          <a:p>
            <a:pPr marL="171450" indent="-171450" algn="just" defTabSz="309563">
              <a:lnSpc>
                <a:spcPct val="80000"/>
              </a:lnSpc>
              <a:buSzPct val="100000"/>
              <a:buChar char="▪"/>
              <a:defRPr sz="1400"/>
            </a:pPr>
            <a:r>
              <a:rPr sz="1400" dirty="0"/>
              <a:t>Simulation, predictive analytics, operations research, project management, and change management</a:t>
            </a:r>
          </a:p>
          <a:p>
            <a:pPr algn="just" defTabSz="309563">
              <a:lnSpc>
                <a:spcPct val="80000"/>
              </a:lnSpc>
              <a:defRPr sz="1400">
                <a:latin typeface="游ゴシック体 ボールド"/>
                <a:ea typeface="游ゴシック体 ボールド"/>
                <a:cs typeface="游ゴシック体 ボールド"/>
                <a:sym typeface="游ゴシック体 ボールド"/>
              </a:defRPr>
            </a:pPr>
            <a:endParaRPr sz="1400" dirty="0"/>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Value proposition:</a:t>
            </a:r>
          </a:p>
          <a:p>
            <a:pPr marL="171450" indent="-171450" algn="just" defTabSz="309563">
              <a:lnSpc>
                <a:spcPct val="80000"/>
              </a:lnSpc>
              <a:buSzPct val="100000"/>
              <a:buChar char="▪"/>
              <a:defRPr sz="1400"/>
            </a:pPr>
            <a:r>
              <a:rPr sz="1400" dirty="0"/>
              <a:t>Leverage UHN data assets to develop innovative analytics solutions that improve the delivery of care and operations</a:t>
            </a:r>
          </a:p>
          <a:p>
            <a:pPr algn="just" defTabSz="309563">
              <a:lnSpc>
                <a:spcPct val="80000"/>
              </a:lnSpc>
              <a:defRPr sz="1400">
                <a:latin typeface="游ゴシック体 ボールド"/>
                <a:ea typeface="游ゴシック体 ボールド"/>
                <a:cs typeface="游ゴシック体 ボールド"/>
                <a:sym typeface="游ゴシック体 ボールド"/>
              </a:defRPr>
            </a:pPr>
            <a:endParaRPr sz="1400" dirty="0"/>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Example Contributions:</a:t>
            </a:r>
          </a:p>
          <a:p>
            <a:pPr marL="171450" indent="-171450" algn="just" defTabSz="309563">
              <a:lnSpc>
                <a:spcPct val="80000"/>
              </a:lnSpc>
              <a:buSzPct val="100000"/>
              <a:buChar char="▪"/>
              <a:defRPr sz="1400"/>
            </a:pPr>
            <a:r>
              <a:rPr sz="1400" dirty="0"/>
              <a:t>Toronto General Hospital Simulation Model [inform medium and long-term capacity planning]</a:t>
            </a:r>
          </a:p>
          <a:p>
            <a:pPr marL="171450" indent="-171450" algn="just" defTabSz="309563">
              <a:lnSpc>
                <a:spcPct val="80000"/>
              </a:lnSpc>
              <a:buSzPct val="100000"/>
              <a:buChar char="▪"/>
              <a:defRPr sz="1400"/>
            </a:pPr>
            <a:r>
              <a:rPr sz="1400" dirty="0"/>
              <a:t>Primary Care Provider Data Visualization [understand patient/provider care in the community]</a:t>
            </a:r>
          </a:p>
          <a:p>
            <a:pPr marL="171450" indent="-171450" algn="just" defTabSz="309563">
              <a:lnSpc>
                <a:spcPct val="80000"/>
              </a:lnSpc>
              <a:buSzPct val="100000"/>
              <a:buChar char="▪"/>
              <a:defRPr sz="1400"/>
            </a:pPr>
            <a:r>
              <a:rPr sz="1400" dirty="0"/>
              <a:t>Emergency Department Predictive Model [forecast patient arrivals to inform staffing decisions]</a:t>
            </a:r>
          </a:p>
          <a:p>
            <a:pPr marL="171450" indent="-171450" algn="just" defTabSz="309563">
              <a:lnSpc>
                <a:spcPct val="80000"/>
              </a:lnSpc>
              <a:buSzPct val="100000"/>
              <a:buChar char="▪"/>
              <a:defRPr sz="1400"/>
            </a:pPr>
            <a:r>
              <a:rPr sz="1400" dirty="0"/>
              <a:t>Eating Disorders Program Model [understand available capacity and reduce patient wait times]</a:t>
            </a:r>
          </a:p>
        </p:txBody>
      </p:sp>
      <p:pic>
        <p:nvPicPr>
          <p:cNvPr id="557" name="Picture 5" descr="Picture 5"/>
          <p:cNvPicPr>
            <a:picLocks noChangeAspect="1"/>
          </p:cNvPicPr>
          <p:nvPr/>
        </p:nvPicPr>
        <p:blipFill>
          <a:blip r:embed="rId2"/>
          <a:stretch>
            <a:fillRect/>
          </a:stretch>
        </p:blipFill>
        <p:spPr>
          <a:xfrm>
            <a:off x="600074" y="2095023"/>
            <a:ext cx="1854892" cy="185489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836" y="0"/>
                  <a:pt x="0" y="4836"/>
                  <a:pt x="0" y="10800"/>
                </a:cubicBezTo>
                <a:cubicBezTo>
                  <a:pt x="0" y="16764"/>
                  <a:pt x="4836" y="21600"/>
                  <a:pt x="10800" y="21600"/>
                </a:cubicBezTo>
                <a:cubicBezTo>
                  <a:pt x="16764" y="21600"/>
                  <a:pt x="21600" y="16764"/>
                  <a:pt x="21600" y="10800"/>
                </a:cubicBezTo>
                <a:cubicBezTo>
                  <a:pt x="21600" y="4836"/>
                  <a:pt x="16764" y="0"/>
                  <a:pt x="10800" y="0"/>
                </a:cubicBezTo>
                <a:close/>
              </a:path>
            </a:pathLst>
          </a:custGeom>
          <a:ln w="12700">
            <a:miter lim="400000"/>
          </a:ln>
        </p:spPr>
      </p:pic>
      <p:pic>
        <p:nvPicPr>
          <p:cNvPr id="558" name="Picture 6" descr="Picture 6"/>
          <p:cNvPicPr>
            <a:picLocks noChangeAspect="1"/>
          </p:cNvPicPr>
          <p:nvPr/>
        </p:nvPicPr>
        <p:blipFill>
          <a:blip r:embed="rId3"/>
          <a:srcRect l="8730" t="10932" r="10141" b="3553"/>
          <a:stretch>
            <a:fillRect/>
          </a:stretch>
        </p:blipFill>
        <p:spPr>
          <a:xfrm>
            <a:off x="1725352" y="3360789"/>
            <a:ext cx="1827908" cy="1926729"/>
          </a:xfrm>
          <a:custGeom>
            <a:avLst/>
            <a:gdLst/>
            <a:ahLst/>
            <a:cxnLst>
              <a:cxn ang="0">
                <a:pos x="wd2" y="hd2"/>
              </a:cxn>
              <a:cxn ang="5400000">
                <a:pos x="wd2" y="hd2"/>
              </a:cxn>
              <a:cxn ang="10800000">
                <a:pos x="wd2" y="hd2"/>
              </a:cxn>
              <a:cxn ang="16200000">
                <a:pos x="wd2" y="hd2"/>
              </a:cxn>
            </a:cxnLst>
            <a:rect l="0" t="0" r="r" b="b"/>
            <a:pathLst>
              <a:path w="21600" h="21600" extrusionOk="0">
                <a:moveTo>
                  <a:pt x="10802" y="0"/>
                </a:moveTo>
                <a:cubicBezTo>
                  <a:pt x="4837" y="0"/>
                  <a:pt x="0" y="4834"/>
                  <a:pt x="0" y="10798"/>
                </a:cubicBezTo>
                <a:cubicBezTo>
                  <a:pt x="0" y="16763"/>
                  <a:pt x="4837" y="21600"/>
                  <a:pt x="10802" y="21600"/>
                </a:cubicBezTo>
                <a:cubicBezTo>
                  <a:pt x="16767" y="21600"/>
                  <a:pt x="21600" y="16763"/>
                  <a:pt x="21600" y="10798"/>
                </a:cubicBezTo>
                <a:cubicBezTo>
                  <a:pt x="21600" y="4834"/>
                  <a:pt x="16767" y="0"/>
                  <a:pt x="10802" y="0"/>
                </a:cubicBezTo>
                <a:close/>
              </a:path>
            </a:pathLst>
          </a:custGeom>
          <a:ln w="12700">
            <a:miter lim="400000"/>
          </a:ln>
        </p:spPr>
      </p:pic>
      <p:sp>
        <p:nvSpPr>
          <p:cNvPr id="559" name="Title 5"/>
          <p:cNvSpPr txBox="1"/>
          <p:nvPr/>
        </p:nvSpPr>
        <p:spPr>
          <a:xfrm>
            <a:off x="473164" y="1114425"/>
            <a:ext cx="6036224" cy="4339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tIns="34289" rIns="34289" bIns="34289">
            <a:normAutofit/>
          </a:bodyPr>
          <a:lstStyle>
            <a:lvl1pPr defTabSz="459486">
              <a:lnSpc>
                <a:spcPct val="63000"/>
              </a:lnSpc>
              <a:defRPr sz="3200" b="1">
                <a:latin typeface="+mn-lt"/>
                <a:ea typeface="+mn-ea"/>
                <a:cs typeface="+mn-cs"/>
                <a:sym typeface="Helvetica"/>
              </a:defRPr>
            </a:lvl1pPr>
          </a:lstStyle>
          <a:p>
            <a:r>
              <a:rPr sz="2400"/>
              <a:t>Analytics Consultant</a:t>
            </a:r>
          </a:p>
        </p:txBody>
      </p:sp>
      <p:sp>
        <p:nvSpPr>
          <p:cNvPr id="560" name="Content Placeholder 2"/>
          <p:cNvSpPr txBox="1">
            <a:spLocks noGrp="1"/>
          </p:cNvSpPr>
          <p:nvPr>
            <p:ph type="body" sz="quarter" idx="1"/>
          </p:nvPr>
        </p:nvSpPr>
        <p:spPr>
          <a:xfrm>
            <a:off x="501253" y="1570481"/>
            <a:ext cx="8428586" cy="285779"/>
          </a:xfrm>
          <a:prstGeom prst="rect">
            <a:avLst/>
          </a:prstGeom>
        </p:spPr>
        <p:txBody>
          <a:bodyPr>
            <a:normAutofit lnSpcReduction="10000"/>
          </a:bodyPr>
          <a:lstStyle/>
          <a:p>
            <a:r>
              <a:t>Using data to solve problems and generate insight</a:t>
            </a:r>
          </a:p>
        </p:txBody>
      </p:sp>
    </p:spTree>
    <p:extLst>
      <p:ext uri="{BB962C8B-B14F-4D97-AF65-F5344CB8AC3E}">
        <p14:creationId xmlns:p14="http://schemas.microsoft.com/office/powerpoint/2010/main" val="1578409776"/>
      </p:ext>
    </p:extLst>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2" name="Slide Number Placeholder 5"/>
          <p:cNvSpPr txBox="1">
            <a:spLocks noGrp="1"/>
          </p:cNvSpPr>
          <p:nvPr>
            <p:ph type="sldNum" sz="quarter" idx="4294967295"/>
          </p:nvPr>
        </p:nvSpPr>
        <p:spPr>
          <a:xfrm>
            <a:off x="8832978" y="5681902"/>
            <a:ext cx="173259" cy="159067"/>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tIns="34289" rIns="34289" bIns="34289"/>
          <a:lstStyle/>
          <a:p>
            <a:fld id="{86CB4B4D-7CA3-9044-876B-883B54F8677D}" type="slidenum">
              <a:rPr/>
              <a:t>65</a:t>
            </a:fld>
            <a:endParaRPr/>
          </a:p>
        </p:txBody>
      </p:sp>
      <p:sp>
        <p:nvSpPr>
          <p:cNvPr id="563" name="Role……"/>
          <p:cNvSpPr txBox="1"/>
          <p:nvPr/>
        </p:nvSpPr>
        <p:spPr>
          <a:xfrm>
            <a:off x="4017088" y="1791983"/>
            <a:ext cx="4465556" cy="486440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nchor="ctr">
            <a:spAutoFit/>
          </a:bodyPr>
          <a:lstStyle/>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Role: </a:t>
            </a:r>
          </a:p>
          <a:p>
            <a:pPr marL="342900" indent="-342900" algn="just">
              <a:lnSpc>
                <a:spcPct val="80000"/>
              </a:lnSpc>
              <a:buSzPct val="100000"/>
              <a:buChar char="▪"/>
              <a:defRPr sz="1400"/>
            </a:pPr>
            <a:r>
              <a:rPr sz="1400" dirty="0"/>
              <a:t>Convert business problems into decision intelligence solutions using data-driven visual stories to drive decision-making</a:t>
            </a:r>
          </a:p>
          <a:p>
            <a:pPr marL="171450" indent="-171450" algn="just" defTabSz="309563">
              <a:lnSpc>
                <a:spcPct val="80000"/>
              </a:lnSpc>
              <a:buSzPct val="100000"/>
              <a:buChar char="▪"/>
              <a:defRPr sz="1400">
                <a:latin typeface="游ゴシック体 ボールド"/>
                <a:ea typeface="游ゴシック体 ボールド"/>
                <a:cs typeface="游ゴシック体 ボールド"/>
                <a:sym typeface="游ゴシック体 ボールド"/>
              </a:defRPr>
            </a:pPr>
            <a:endParaRPr sz="1400" dirty="0"/>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Skills: </a:t>
            </a:r>
          </a:p>
          <a:p>
            <a:pPr marL="342900" indent="-342900" algn="just">
              <a:lnSpc>
                <a:spcPct val="80000"/>
              </a:lnSpc>
              <a:buSzPct val="100000"/>
              <a:buChar char="▪"/>
              <a:defRPr sz="1400"/>
            </a:pPr>
            <a:r>
              <a:rPr sz="1400" dirty="0"/>
              <a:t>Data visualization, development methodologies, information architecture, data analysis, user interface design, agile product ownership, and change management</a:t>
            </a:r>
          </a:p>
          <a:p>
            <a:pPr algn="just" defTabSz="309563">
              <a:lnSpc>
                <a:spcPct val="80000"/>
              </a:lnSpc>
              <a:defRPr sz="1400">
                <a:latin typeface="游ゴシック体 ボールド"/>
                <a:ea typeface="游ゴシック体 ボールド"/>
                <a:cs typeface="游ゴシック体 ボールド"/>
                <a:sym typeface="游ゴシック体 ボールド"/>
              </a:defRPr>
            </a:pPr>
            <a:endParaRPr sz="1400" dirty="0"/>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Value proposition:</a:t>
            </a:r>
          </a:p>
          <a:p>
            <a:pPr marL="342900" indent="-342900" algn="just">
              <a:lnSpc>
                <a:spcPct val="80000"/>
              </a:lnSpc>
              <a:buSzPct val="100000"/>
              <a:buChar char="▪"/>
              <a:defRPr sz="1400"/>
            </a:pPr>
            <a:r>
              <a:rPr sz="1400" dirty="0"/>
              <a:t>Communicating complex data through storytelling to support patients and staff in making critical decisions</a:t>
            </a:r>
          </a:p>
          <a:p>
            <a:pPr algn="just" defTabSz="309563">
              <a:lnSpc>
                <a:spcPct val="80000"/>
              </a:lnSpc>
              <a:defRPr sz="1400">
                <a:latin typeface="游ゴシック体 ボールド"/>
                <a:ea typeface="游ゴシック体 ボールド"/>
                <a:cs typeface="游ゴシック体 ボールド"/>
                <a:sym typeface="游ゴシック体 ボールド"/>
              </a:defRPr>
            </a:pPr>
            <a:endParaRPr sz="1400" dirty="0"/>
          </a:p>
          <a:p>
            <a:pPr algn="just" defTabSz="309563">
              <a:lnSpc>
                <a:spcPct val="80000"/>
              </a:lnSpc>
              <a:defRPr sz="1400">
                <a:solidFill>
                  <a:srgbClr val="0070C0"/>
                </a:solidFill>
                <a:latin typeface="游ゴシック体 ボールド"/>
                <a:ea typeface="游ゴシック体 ボールド"/>
                <a:cs typeface="游ゴシック体 ボールド"/>
                <a:sym typeface="游ゴシック体 ボールド"/>
              </a:defRPr>
            </a:pPr>
            <a:r>
              <a:rPr sz="1400" dirty="0"/>
              <a:t>Example Contributions:</a:t>
            </a:r>
          </a:p>
          <a:p>
            <a:pPr marL="342900" indent="-342900" algn="just">
              <a:lnSpc>
                <a:spcPct val="80000"/>
              </a:lnSpc>
              <a:buSzPct val="100000"/>
              <a:buChar char="▪"/>
              <a:defRPr sz="1400"/>
            </a:pPr>
            <a:r>
              <a:rPr sz="1400" dirty="0"/>
              <a:t>UHN Corporate Scorecard [inform Executive Leadership and Board on performance against North Star Indicators]</a:t>
            </a:r>
          </a:p>
          <a:p>
            <a:pPr marL="342900" indent="-342900" algn="just">
              <a:lnSpc>
                <a:spcPct val="80000"/>
              </a:lnSpc>
              <a:buSzPct val="100000"/>
              <a:buChar char="▪"/>
              <a:defRPr sz="1400"/>
            </a:pPr>
            <a:r>
              <a:rPr sz="1400" dirty="0"/>
              <a:t>Patient facing Emergency Department (ED) wait times tool [inform patients and staff of expected wait to see a provider]</a:t>
            </a:r>
          </a:p>
          <a:p>
            <a:pPr marL="342900" indent="-342900" algn="just">
              <a:lnSpc>
                <a:spcPct val="80000"/>
              </a:lnSpc>
              <a:buSzPct val="100000"/>
              <a:buChar char="▪"/>
              <a:defRPr sz="1400"/>
            </a:pPr>
            <a:r>
              <a:rPr sz="1400" dirty="0"/>
              <a:t>Patient Experience dashboard [understand and improve how patients’ experience care at UHN]</a:t>
            </a:r>
          </a:p>
          <a:p>
            <a:pPr marL="342900" indent="-342900" algn="just">
              <a:lnSpc>
                <a:spcPct val="80000"/>
              </a:lnSpc>
              <a:buSzPct val="100000"/>
              <a:buChar char="▪"/>
              <a:defRPr sz="1400"/>
            </a:pPr>
            <a:r>
              <a:rPr sz="1400" dirty="0"/>
              <a:t>COVID-19 vaccine registry dashboard and portal [identify and prioritize eligible groups for vaccination] </a:t>
            </a:r>
          </a:p>
        </p:txBody>
      </p:sp>
      <p:sp>
        <p:nvSpPr>
          <p:cNvPr id="564" name="Title 5"/>
          <p:cNvSpPr txBox="1"/>
          <p:nvPr/>
        </p:nvSpPr>
        <p:spPr>
          <a:xfrm>
            <a:off x="658152" y="1015009"/>
            <a:ext cx="6036224" cy="4339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4289" tIns="34289" rIns="34289" bIns="34289">
            <a:normAutofit/>
          </a:bodyPr>
          <a:lstStyle>
            <a:lvl1pPr defTabSz="459486">
              <a:lnSpc>
                <a:spcPct val="63000"/>
              </a:lnSpc>
              <a:defRPr sz="3200" b="1">
                <a:latin typeface="+mn-lt"/>
                <a:ea typeface="+mn-ea"/>
                <a:cs typeface="+mn-cs"/>
                <a:sym typeface="Helvetica"/>
              </a:defRPr>
            </a:lvl1pPr>
          </a:lstStyle>
          <a:p>
            <a:r>
              <a:rPr sz="2400" dirty="0"/>
              <a:t>Data Storyteller</a:t>
            </a:r>
          </a:p>
        </p:txBody>
      </p:sp>
      <p:sp>
        <p:nvSpPr>
          <p:cNvPr id="565" name="Content Placeholder 3"/>
          <p:cNvSpPr txBox="1">
            <a:spLocks noGrp="1"/>
          </p:cNvSpPr>
          <p:nvPr>
            <p:ph type="body" sz="quarter" idx="1"/>
          </p:nvPr>
        </p:nvSpPr>
        <p:spPr>
          <a:xfrm>
            <a:off x="635518" y="1345781"/>
            <a:ext cx="8428586" cy="285779"/>
          </a:xfrm>
          <a:prstGeom prst="rect">
            <a:avLst/>
          </a:prstGeom>
        </p:spPr>
        <p:txBody>
          <a:bodyPr>
            <a:normAutofit lnSpcReduction="10000"/>
          </a:bodyPr>
          <a:lstStyle/>
          <a:p>
            <a:r>
              <a:rPr dirty="0"/>
              <a:t>Helping UHN connect to its data, understand it, and take action</a:t>
            </a:r>
          </a:p>
        </p:txBody>
      </p:sp>
      <p:pic>
        <p:nvPicPr>
          <p:cNvPr id="566" name="Picture 2" descr="Picture 2"/>
          <p:cNvPicPr>
            <a:picLocks noChangeAspect="1"/>
          </p:cNvPicPr>
          <p:nvPr/>
        </p:nvPicPr>
        <p:blipFill>
          <a:blip r:embed="rId2"/>
          <a:srcRect l="4139" t="2232" r="3929" b="911"/>
          <a:stretch>
            <a:fillRect/>
          </a:stretch>
        </p:blipFill>
        <p:spPr>
          <a:xfrm>
            <a:off x="1800923" y="3387693"/>
            <a:ext cx="1873098" cy="1872967"/>
          </a:xfrm>
          <a:custGeom>
            <a:avLst/>
            <a:gdLst/>
            <a:ahLst/>
            <a:cxnLst>
              <a:cxn ang="0">
                <a:pos x="wd2" y="hd2"/>
              </a:cxn>
              <a:cxn ang="5400000">
                <a:pos x="wd2" y="hd2"/>
              </a:cxn>
              <a:cxn ang="10800000">
                <a:pos x="wd2" y="hd2"/>
              </a:cxn>
              <a:cxn ang="16200000">
                <a:pos x="wd2" y="hd2"/>
              </a:cxn>
            </a:cxnLst>
            <a:rect l="0" t="0" r="r" b="b"/>
            <a:pathLst>
              <a:path w="19679" h="20595" extrusionOk="0">
                <a:moveTo>
                  <a:pt x="9840" y="0"/>
                </a:moveTo>
                <a:cubicBezTo>
                  <a:pt x="7322" y="0"/>
                  <a:pt x="4803" y="1004"/>
                  <a:pt x="2882" y="3014"/>
                </a:cubicBezTo>
                <a:cubicBezTo>
                  <a:pt x="-960" y="7035"/>
                  <a:pt x="-960" y="13558"/>
                  <a:pt x="2882" y="17579"/>
                </a:cubicBezTo>
                <a:cubicBezTo>
                  <a:pt x="6724" y="21600"/>
                  <a:pt x="12956" y="21600"/>
                  <a:pt x="16798" y="17579"/>
                </a:cubicBezTo>
                <a:cubicBezTo>
                  <a:pt x="20640" y="13558"/>
                  <a:pt x="20640" y="7035"/>
                  <a:pt x="16798" y="3014"/>
                </a:cubicBezTo>
                <a:cubicBezTo>
                  <a:pt x="14877" y="1004"/>
                  <a:pt x="12358" y="0"/>
                  <a:pt x="9840" y="0"/>
                </a:cubicBezTo>
                <a:close/>
              </a:path>
            </a:pathLst>
          </a:custGeom>
          <a:ln w="12700">
            <a:miter lim="400000"/>
          </a:ln>
        </p:spPr>
      </p:pic>
      <p:pic>
        <p:nvPicPr>
          <p:cNvPr id="567" name="Picture 10" descr="Picture 10"/>
          <p:cNvPicPr>
            <a:picLocks noChangeAspect="1"/>
          </p:cNvPicPr>
          <p:nvPr/>
        </p:nvPicPr>
        <p:blipFill>
          <a:blip r:embed="rId3"/>
          <a:stretch>
            <a:fillRect/>
          </a:stretch>
        </p:blipFill>
        <p:spPr>
          <a:xfrm>
            <a:off x="658152" y="2121678"/>
            <a:ext cx="1675289" cy="1819616"/>
          </a:xfrm>
          <a:prstGeom prst="rect">
            <a:avLst/>
          </a:prstGeom>
          <a:ln w="12700">
            <a:miter lim="400000"/>
          </a:ln>
        </p:spPr>
      </p:pic>
    </p:spTree>
    <p:extLst>
      <p:ext uri="{BB962C8B-B14F-4D97-AF65-F5344CB8AC3E}">
        <p14:creationId xmlns:p14="http://schemas.microsoft.com/office/powerpoint/2010/main" val="80119684"/>
      </p:ext>
    </p:extLst>
  </p:cSld>
  <p:clrMapOvr>
    <a:masterClrMapping/>
  </p:clrMapOvr>
  <p:transition spd="med"/>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60EAF-4B11-0BC2-A93E-3FFC95710549}"/>
              </a:ext>
            </a:extLst>
          </p:cNvPr>
          <p:cNvSpPr>
            <a:spLocks noGrp="1"/>
          </p:cNvSpPr>
          <p:nvPr>
            <p:ph type="title"/>
          </p:nvPr>
        </p:nvSpPr>
        <p:spPr/>
        <p:txBody>
          <a:bodyPr/>
          <a:lstStyle/>
          <a:p>
            <a:r>
              <a:rPr lang="en-US" sz="2400" dirty="0"/>
              <a:t>How do we design, develop, build and execute better ‘B’ Management Systems</a:t>
            </a:r>
          </a:p>
        </p:txBody>
      </p:sp>
      <p:sp>
        <p:nvSpPr>
          <p:cNvPr id="3" name="Content Placeholder 2">
            <a:extLst>
              <a:ext uri="{FF2B5EF4-FFF2-40B4-BE49-F238E27FC236}">
                <a16:creationId xmlns:a16="http://schemas.microsoft.com/office/drawing/2014/main" id="{FB9495F6-DA68-1D0E-B06D-FFB6B84577E4}"/>
              </a:ext>
            </a:extLst>
          </p:cNvPr>
          <p:cNvSpPr>
            <a:spLocks noGrp="1"/>
          </p:cNvSpPr>
          <p:nvPr>
            <p:ph idx="1"/>
          </p:nvPr>
        </p:nvSpPr>
        <p:spPr/>
        <p:txBody>
          <a:bodyPr/>
          <a:lstStyle/>
          <a:p>
            <a:r>
              <a:rPr lang="en-US" dirty="0"/>
              <a:t>The focus of todays OA 301 Webinar is on Synthesis and Integration:</a:t>
            </a:r>
          </a:p>
          <a:p>
            <a:endParaRPr lang="en-US" dirty="0"/>
          </a:p>
          <a:p>
            <a:pPr lvl="1"/>
            <a:r>
              <a:rPr lang="en-US" dirty="0"/>
              <a:t>Why does this matter, what’s the Purpose, Why is this important?</a:t>
            </a:r>
          </a:p>
          <a:p>
            <a:pPr lvl="1"/>
            <a:endParaRPr lang="en-US" dirty="0"/>
          </a:p>
          <a:p>
            <a:pPr lvl="1"/>
            <a:r>
              <a:rPr lang="en-US" dirty="0"/>
              <a:t>How do we go about Engineering better Management Systems that will drive performance and process improvement faster and better?</a:t>
            </a:r>
          </a:p>
          <a:p>
            <a:pPr marL="446087" lvl="1" indent="0">
              <a:buNone/>
            </a:pPr>
            <a:endParaRPr lang="en-US" dirty="0"/>
          </a:p>
          <a:p>
            <a:pPr lvl="1"/>
            <a:r>
              <a:rPr lang="en-US" dirty="0"/>
              <a:t>What are the system components for a ‘Great’ BPI/</a:t>
            </a:r>
            <a:r>
              <a:rPr lang="en-US" dirty="0" err="1"/>
              <a:t>Org’l</a:t>
            </a:r>
            <a:r>
              <a:rPr lang="en-US" dirty="0"/>
              <a:t> Excellence Program/System that need to be ‘built out’ and integrated?</a:t>
            </a:r>
          </a:p>
          <a:p>
            <a:pPr lvl="1"/>
            <a:endParaRPr lang="en-US" dirty="0"/>
          </a:p>
          <a:p>
            <a:pPr lvl="1"/>
            <a:r>
              <a:rPr lang="en-US" dirty="0"/>
              <a:t>How do we make all this doable, less overwhelming?</a:t>
            </a:r>
          </a:p>
          <a:p>
            <a:pPr lvl="1"/>
            <a:endParaRPr lang="en-US" dirty="0"/>
          </a:p>
          <a:p>
            <a:pPr lvl="1"/>
            <a:r>
              <a:rPr lang="en-US" dirty="0"/>
              <a:t>What are the Pragmatic First Steps?</a:t>
            </a:r>
          </a:p>
          <a:p>
            <a:pPr lvl="1"/>
            <a:endParaRPr lang="en-US" dirty="0"/>
          </a:p>
          <a:p>
            <a:pPr lvl="1"/>
            <a:r>
              <a:rPr lang="en-US" dirty="0"/>
              <a:t>On to an ISE view of AI…..</a:t>
            </a:r>
          </a:p>
        </p:txBody>
      </p:sp>
      <p:sp>
        <p:nvSpPr>
          <p:cNvPr id="4" name="Rectangle: Rounded Corners 3">
            <a:extLst>
              <a:ext uri="{FF2B5EF4-FFF2-40B4-BE49-F238E27FC236}">
                <a16:creationId xmlns:a16="http://schemas.microsoft.com/office/drawing/2014/main" id="{F9C14737-400F-AD0C-2BAA-D809C411A7DF}"/>
              </a:ext>
            </a:extLst>
          </p:cNvPr>
          <p:cNvSpPr/>
          <p:nvPr/>
        </p:nvSpPr>
        <p:spPr bwMode="auto">
          <a:xfrm>
            <a:off x="457200" y="4991100"/>
            <a:ext cx="7772400" cy="1143000"/>
          </a:xfrm>
          <a:prstGeom prst="roundRect">
            <a:avLst/>
          </a:prstGeom>
          <a:solidFill>
            <a:schemeClr val="accent1">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17567653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3E547B5-89CF-4EC0-96DE-25771AED07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43000" y="857250"/>
            <a:ext cx="6858000" cy="51435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800">
              <a:solidFill>
                <a:prstClr val="white"/>
              </a:solidFill>
              <a:latin typeface="Calibri"/>
            </a:endParaRPr>
          </a:p>
        </p:txBody>
      </p:sp>
      <p:sp>
        <p:nvSpPr>
          <p:cNvPr id="16" name="Rectangle 15">
            <a:extLst>
              <a:ext uri="{FF2B5EF4-FFF2-40B4-BE49-F238E27FC236}">
                <a16:creationId xmlns:a16="http://schemas.microsoft.com/office/drawing/2014/main" id="{3F0B8CEB-8279-4E5E-A0CE-1FC9F71736F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26566" y="857251"/>
            <a:ext cx="4174435" cy="5143499"/>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800">
              <a:solidFill>
                <a:prstClr val="white"/>
              </a:solidFill>
              <a:latin typeface="Calibri"/>
            </a:endParaRPr>
          </a:p>
        </p:txBody>
      </p:sp>
      <p:pic>
        <p:nvPicPr>
          <p:cNvPr id="3" name="Picture 2" descr="A green sign with white text&#10;&#10;Description automatically generated with low confidence">
            <a:extLst>
              <a:ext uri="{FF2B5EF4-FFF2-40B4-BE49-F238E27FC236}">
                <a16:creationId xmlns:a16="http://schemas.microsoft.com/office/drawing/2014/main" id="{5171F41F-7711-4E62-A86E-7102317A750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882" r="16320" b="1"/>
          <a:stretch/>
        </p:blipFill>
        <p:spPr>
          <a:xfrm>
            <a:off x="0" y="1"/>
            <a:ext cx="3702180" cy="6629400"/>
          </a:xfrm>
          <a:custGeom>
            <a:avLst/>
            <a:gdLst/>
            <a:ahLst/>
            <a:cxnLst/>
            <a:rect l="l" t="t" r="r" b="b"/>
            <a:pathLst>
              <a:path w="6901731" h="6858000">
                <a:moveTo>
                  <a:pt x="0" y="0"/>
                </a:moveTo>
                <a:lnTo>
                  <a:pt x="6897896" y="5958"/>
                </a:lnTo>
                <a:lnTo>
                  <a:pt x="6866823" y="62592"/>
                </a:lnTo>
                <a:lnTo>
                  <a:pt x="6901731" y="89476"/>
                </a:lnTo>
                <a:lnTo>
                  <a:pt x="6901731" y="103833"/>
                </a:lnTo>
                <a:lnTo>
                  <a:pt x="6900034" y="110092"/>
                </a:lnTo>
                <a:lnTo>
                  <a:pt x="6901731" y="113679"/>
                </a:lnTo>
                <a:lnTo>
                  <a:pt x="6901731" y="405560"/>
                </a:lnTo>
                <a:lnTo>
                  <a:pt x="6900456" y="429509"/>
                </a:lnTo>
                <a:cubicBezTo>
                  <a:pt x="6892773" y="535647"/>
                  <a:pt x="6878314" y="537918"/>
                  <a:pt x="6886342" y="636808"/>
                </a:cubicBezTo>
                <a:cubicBezTo>
                  <a:pt x="6892506" y="756883"/>
                  <a:pt x="6864504" y="771443"/>
                  <a:pt x="6851784" y="839073"/>
                </a:cubicBezTo>
                <a:cubicBezTo>
                  <a:pt x="6838675" y="892655"/>
                  <a:pt x="6864124" y="961738"/>
                  <a:pt x="6845760" y="994930"/>
                </a:cubicBezTo>
                <a:cubicBezTo>
                  <a:pt x="6833572" y="1024166"/>
                  <a:pt x="6859282" y="1058905"/>
                  <a:pt x="6845601" y="1112932"/>
                </a:cubicBezTo>
                <a:cubicBezTo>
                  <a:pt x="6838700" y="1149910"/>
                  <a:pt x="6829138" y="1151035"/>
                  <a:pt x="6820235" y="1187433"/>
                </a:cubicBezTo>
                <a:cubicBezTo>
                  <a:pt x="6815504" y="1196464"/>
                  <a:pt x="6777707" y="1338549"/>
                  <a:pt x="6759643" y="1337010"/>
                </a:cubicBezTo>
                <a:cubicBezTo>
                  <a:pt x="6737660" y="1337296"/>
                  <a:pt x="6760650" y="1396341"/>
                  <a:pt x="6736375" y="1382272"/>
                </a:cubicBezTo>
                <a:cubicBezTo>
                  <a:pt x="6755741" y="1415836"/>
                  <a:pt x="6714675" y="1414567"/>
                  <a:pt x="6701292" y="1432111"/>
                </a:cubicBezTo>
                <a:cubicBezTo>
                  <a:pt x="6721110" y="1460185"/>
                  <a:pt x="6692106" y="1490815"/>
                  <a:pt x="6686578" y="1518624"/>
                </a:cubicBezTo>
                <a:cubicBezTo>
                  <a:pt x="6682512" y="1567002"/>
                  <a:pt x="6679579" y="1571443"/>
                  <a:pt x="6670824" y="1607743"/>
                </a:cubicBezTo>
                <a:cubicBezTo>
                  <a:pt x="6671133" y="1629590"/>
                  <a:pt x="6663161" y="1656870"/>
                  <a:pt x="6664392" y="1696405"/>
                </a:cubicBezTo>
                <a:cubicBezTo>
                  <a:pt x="6655686" y="1770486"/>
                  <a:pt x="6641938" y="1757082"/>
                  <a:pt x="6642880" y="1812372"/>
                </a:cubicBezTo>
                <a:cubicBezTo>
                  <a:pt x="6638579" y="1872475"/>
                  <a:pt x="6619231" y="1825476"/>
                  <a:pt x="6612547" y="1876437"/>
                </a:cubicBezTo>
                <a:cubicBezTo>
                  <a:pt x="6600695" y="1913834"/>
                  <a:pt x="6591061" y="1923231"/>
                  <a:pt x="6571760" y="1953331"/>
                </a:cubicBezTo>
                <a:cubicBezTo>
                  <a:pt x="6561039" y="1989021"/>
                  <a:pt x="6544090" y="2087896"/>
                  <a:pt x="6520213" y="2096455"/>
                </a:cubicBezTo>
                <a:lnTo>
                  <a:pt x="6492461" y="2188148"/>
                </a:lnTo>
                <a:cubicBezTo>
                  <a:pt x="6504372" y="2211333"/>
                  <a:pt x="6489131" y="2253220"/>
                  <a:pt x="6471854" y="2259117"/>
                </a:cubicBezTo>
                <a:cubicBezTo>
                  <a:pt x="6466151" y="2287829"/>
                  <a:pt x="6440452" y="2301346"/>
                  <a:pt x="6439832" y="2328334"/>
                </a:cubicBezTo>
                <a:cubicBezTo>
                  <a:pt x="6431013" y="2351201"/>
                  <a:pt x="6444250" y="2396409"/>
                  <a:pt x="6425162" y="2408211"/>
                </a:cubicBezTo>
                <a:lnTo>
                  <a:pt x="6417221" y="2427382"/>
                </a:lnTo>
                <a:lnTo>
                  <a:pt x="6425030" y="2464387"/>
                </a:lnTo>
                <a:lnTo>
                  <a:pt x="6406293" y="2472223"/>
                </a:lnTo>
                <a:cubicBezTo>
                  <a:pt x="6406862" y="2477277"/>
                  <a:pt x="6406486" y="2491723"/>
                  <a:pt x="6405400" y="2493547"/>
                </a:cubicBezTo>
                <a:lnTo>
                  <a:pt x="6374829" y="2532070"/>
                </a:lnTo>
                <a:cubicBezTo>
                  <a:pt x="6374597" y="2545374"/>
                  <a:pt x="6360976" y="2563797"/>
                  <a:pt x="6350864" y="2577422"/>
                </a:cubicBezTo>
                <a:cubicBezTo>
                  <a:pt x="6327056" y="2632768"/>
                  <a:pt x="6341262" y="2616275"/>
                  <a:pt x="6329174" y="2663854"/>
                </a:cubicBezTo>
                <a:cubicBezTo>
                  <a:pt x="6326303" y="2703642"/>
                  <a:pt x="6332854" y="2709643"/>
                  <a:pt x="6315095" y="2741507"/>
                </a:cubicBezTo>
                <a:cubicBezTo>
                  <a:pt x="6319921" y="2740191"/>
                  <a:pt x="6321925" y="2742004"/>
                  <a:pt x="6322463" y="2745641"/>
                </a:cubicBezTo>
                <a:cubicBezTo>
                  <a:pt x="6322245" y="2747982"/>
                  <a:pt x="6322027" y="2750323"/>
                  <a:pt x="6321808" y="2752663"/>
                </a:cubicBezTo>
                <a:lnTo>
                  <a:pt x="6314569" y="2756718"/>
                </a:lnTo>
                <a:cubicBezTo>
                  <a:pt x="6289324" y="2773686"/>
                  <a:pt x="6317551" y="2780051"/>
                  <a:pt x="6315211" y="2811618"/>
                </a:cubicBezTo>
                <a:cubicBezTo>
                  <a:pt x="6315620" y="2826627"/>
                  <a:pt x="6296047" y="2885298"/>
                  <a:pt x="6302211" y="2882314"/>
                </a:cubicBezTo>
                <a:lnTo>
                  <a:pt x="6286167" y="2949597"/>
                </a:lnTo>
                <a:cubicBezTo>
                  <a:pt x="6286401" y="2994618"/>
                  <a:pt x="6286615" y="2971464"/>
                  <a:pt x="6287037" y="3008578"/>
                </a:cubicBezTo>
                <a:cubicBezTo>
                  <a:pt x="6293795" y="3029535"/>
                  <a:pt x="6274405" y="3114154"/>
                  <a:pt x="6259150" y="3123139"/>
                </a:cubicBezTo>
                <a:cubicBezTo>
                  <a:pt x="6250085" y="3189063"/>
                  <a:pt x="6269067" y="3151280"/>
                  <a:pt x="6272249" y="3227854"/>
                </a:cubicBezTo>
                <a:cubicBezTo>
                  <a:pt x="6278775" y="3295842"/>
                  <a:pt x="6289216" y="3303765"/>
                  <a:pt x="6292288" y="3378383"/>
                </a:cubicBezTo>
                <a:cubicBezTo>
                  <a:pt x="6303894" y="3395995"/>
                  <a:pt x="6287498" y="3432581"/>
                  <a:pt x="6288328" y="3459618"/>
                </a:cubicBezTo>
                <a:cubicBezTo>
                  <a:pt x="6289158" y="3486653"/>
                  <a:pt x="6299937" y="3538735"/>
                  <a:pt x="6297272" y="3540603"/>
                </a:cubicBezTo>
                <a:cubicBezTo>
                  <a:pt x="6296849" y="3577379"/>
                  <a:pt x="6294184" y="3587943"/>
                  <a:pt x="6291001" y="3638374"/>
                </a:cubicBezTo>
                <a:cubicBezTo>
                  <a:pt x="6283026" y="3666794"/>
                  <a:pt x="6265833" y="3731744"/>
                  <a:pt x="6283592" y="3763609"/>
                </a:cubicBezTo>
                <a:cubicBezTo>
                  <a:pt x="6264286" y="3758340"/>
                  <a:pt x="6290177" y="3803150"/>
                  <a:pt x="6274068" y="3814506"/>
                </a:cubicBezTo>
                <a:cubicBezTo>
                  <a:pt x="6260645" y="3821643"/>
                  <a:pt x="6265372" y="3836902"/>
                  <a:pt x="6262850" y="3850454"/>
                </a:cubicBezTo>
                <a:cubicBezTo>
                  <a:pt x="6250418" y="3863479"/>
                  <a:pt x="6250660" y="3955243"/>
                  <a:pt x="6257357" y="3975474"/>
                </a:cubicBezTo>
                <a:cubicBezTo>
                  <a:pt x="6245091" y="4036737"/>
                  <a:pt x="6237535" y="4029237"/>
                  <a:pt x="6257889" y="4073155"/>
                </a:cubicBezTo>
                <a:cubicBezTo>
                  <a:pt x="6259272" y="4085906"/>
                  <a:pt x="6239882" y="4116397"/>
                  <a:pt x="6237441" y="4126638"/>
                </a:cubicBezTo>
                <a:lnTo>
                  <a:pt x="6245587" y="4172738"/>
                </a:lnTo>
                <a:lnTo>
                  <a:pt x="6235772" y="4176721"/>
                </a:lnTo>
                <a:lnTo>
                  <a:pt x="6233287" y="4195136"/>
                </a:lnTo>
                <a:lnTo>
                  <a:pt x="6234619" y="4280850"/>
                </a:lnTo>
                <a:cubicBezTo>
                  <a:pt x="6239453" y="4320763"/>
                  <a:pt x="6223309" y="4337596"/>
                  <a:pt x="6219318" y="4402526"/>
                </a:cubicBezTo>
                <a:cubicBezTo>
                  <a:pt x="6205466" y="4516209"/>
                  <a:pt x="6216183" y="4588729"/>
                  <a:pt x="6216810" y="4651172"/>
                </a:cubicBezTo>
                <a:cubicBezTo>
                  <a:pt x="6217673" y="4756959"/>
                  <a:pt x="6228654" y="4824005"/>
                  <a:pt x="6225945" y="4916779"/>
                </a:cubicBezTo>
                <a:cubicBezTo>
                  <a:pt x="6217032" y="4993010"/>
                  <a:pt x="6264271" y="4984591"/>
                  <a:pt x="6230174" y="5051379"/>
                </a:cubicBezTo>
                <a:cubicBezTo>
                  <a:pt x="6235713" y="5056951"/>
                  <a:pt x="6239420" y="5163714"/>
                  <a:pt x="6242600" y="5170879"/>
                </a:cubicBezTo>
                <a:lnTo>
                  <a:pt x="6235996" y="5216428"/>
                </a:lnTo>
                <a:lnTo>
                  <a:pt x="6214638" y="5285298"/>
                </a:lnTo>
                <a:cubicBezTo>
                  <a:pt x="6211392" y="5297492"/>
                  <a:pt x="6225576" y="5312063"/>
                  <a:pt x="6228432" y="5317696"/>
                </a:cubicBezTo>
                <a:lnTo>
                  <a:pt x="6246496" y="5398787"/>
                </a:lnTo>
                <a:lnTo>
                  <a:pt x="6244793" y="5399530"/>
                </a:lnTo>
                <a:lnTo>
                  <a:pt x="6241695" y="5406948"/>
                </a:lnTo>
                <a:lnTo>
                  <a:pt x="6267461" y="5499413"/>
                </a:lnTo>
                <a:cubicBezTo>
                  <a:pt x="6285387" y="5533848"/>
                  <a:pt x="6284888" y="5550029"/>
                  <a:pt x="6295987" y="5582659"/>
                </a:cubicBezTo>
                <a:cubicBezTo>
                  <a:pt x="6311253" y="5681724"/>
                  <a:pt x="6295439" y="5695558"/>
                  <a:pt x="6364803" y="5784263"/>
                </a:cubicBezTo>
                <a:cubicBezTo>
                  <a:pt x="6379348" y="5818651"/>
                  <a:pt x="6412475" y="5906802"/>
                  <a:pt x="6423050" y="5922637"/>
                </a:cubicBezTo>
                <a:cubicBezTo>
                  <a:pt x="6445210" y="5973612"/>
                  <a:pt x="6468179" y="6023873"/>
                  <a:pt x="6497767" y="6090108"/>
                </a:cubicBezTo>
                <a:cubicBezTo>
                  <a:pt x="6571895" y="6150548"/>
                  <a:pt x="6572491" y="6236583"/>
                  <a:pt x="6606710" y="6281543"/>
                </a:cubicBezTo>
                <a:cubicBezTo>
                  <a:pt x="6633675" y="6335892"/>
                  <a:pt x="6654357" y="6388782"/>
                  <a:pt x="6667540" y="6443715"/>
                </a:cubicBezTo>
                <a:cubicBezTo>
                  <a:pt x="6685192" y="6466826"/>
                  <a:pt x="6650500" y="6508701"/>
                  <a:pt x="6659722" y="6550105"/>
                </a:cubicBezTo>
                <a:cubicBezTo>
                  <a:pt x="6665926" y="6645044"/>
                  <a:pt x="6669126" y="6627536"/>
                  <a:pt x="6671805" y="6687397"/>
                </a:cubicBezTo>
                <a:cubicBezTo>
                  <a:pt x="6682671" y="6733683"/>
                  <a:pt x="6665210" y="6772117"/>
                  <a:pt x="6669658" y="6806602"/>
                </a:cubicBezTo>
                <a:cubicBezTo>
                  <a:pt x="6661174" y="6812658"/>
                  <a:pt x="6667097" y="6831470"/>
                  <a:pt x="6675783" y="6850325"/>
                </a:cubicBezTo>
                <a:lnTo>
                  <a:pt x="6679704" y="6858000"/>
                </a:lnTo>
                <a:lnTo>
                  <a:pt x="4532241" y="6858000"/>
                </a:lnTo>
                <a:lnTo>
                  <a:pt x="1208596" y="6858000"/>
                </a:lnTo>
                <a:lnTo>
                  <a:pt x="0" y="6858000"/>
                </a:lnTo>
                <a:close/>
              </a:path>
            </a:pathLst>
          </a:custGeom>
        </p:spPr>
      </p:pic>
      <p:sp>
        <p:nvSpPr>
          <p:cNvPr id="9" name="object 2">
            <a:extLst>
              <a:ext uri="{FF2B5EF4-FFF2-40B4-BE49-F238E27FC236}">
                <a16:creationId xmlns:a16="http://schemas.microsoft.com/office/drawing/2014/main" id="{5ACBF105-37A5-4EFF-9212-3A4FB813785F}"/>
              </a:ext>
            </a:extLst>
          </p:cNvPr>
          <p:cNvSpPr txBox="1"/>
          <p:nvPr/>
        </p:nvSpPr>
        <p:spPr>
          <a:xfrm>
            <a:off x="3581400" y="0"/>
            <a:ext cx="5562600" cy="6857999"/>
          </a:xfrm>
          <a:prstGeom prst="rect">
            <a:avLst/>
          </a:prstGeom>
          <a:solidFill>
            <a:schemeClr val="bg1">
              <a:lumMod val="95000"/>
            </a:schemeClr>
          </a:solidFill>
        </p:spPr>
        <p:txBody>
          <a:bodyPr vert="horz" lIns="68580" tIns="34290" rIns="68580" bIns="34290" rtlCol="0">
            <a:normAutofit/>
          </a:bodyPr>
          <a:lstStyle/>
          <a:p>
            <a:pPr marR="80486" defTabSz="685800">
              <a:lnSpc>
                <a:spcPct val="90000"/>
              </a:lnSpc>
              <a:spcBef>
                <a:spcPts val="881"/>
              </a:spcBef>
              <a:defRPr/>
            </a:pPr>
            <a:r>
              <a:rPr lang="en-US" sz="4000" b="1" spc="-8" dirty="0">
                <a:solidFill>
                  <a:prstClr val="black"/>
                </a:solidFill>
              </a:rPr>
              <a:t>And, Just Ahead…..</a:t>
            </a:r>
            <a:endParaRPr lang="en-US" b="1" i="1" kern="0" dirty="0">
              <a:solidFill>
                <a:schemeClr val="accent2">
                  <a:lumMod val="75000"/>
                </a:schemeClr>
              </a:solidFill>
              <a:latin typeface="Arial" panose="020B0604020202020204" pitchFamily="34" charset="0"/>
              <a:ea typeface="Times New Roman" panose="02020603050405020304" pitchFamily="18" charset="0"/>
              <a:cs typeface="Times New Roman" panose="02020603050405020304" pitchFamily="18" charset="0"/>
            </a:endParaRPr>
          </a:p>
          <a:p>
            <a:pPr defTabSz="685800">
              <a:lnSpc>
                <a:spcPct val="107000"/>
              </a:lnSpc>
              <a:spcBef>
                <a:spcPts val="900"/>
              </a:spcBef>
              <a:spcAft>
                <a:spcPts val="0"/>
              </a:spcAft>
              <a:defRPr/>
            </a:pPr>
            <a:endParaRPr lang="en-US"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defTabSz="685800">
              <a:lnSpc>
                <a:spcPct val="107000"/>
              </a:lnSpc>
              <a:spcBef>
                <a:spcPts val="900"/>
              </a:spcBef>
              <a:spcAft>
                <a:spcPts val="0"/>
              </a:spcAft>
              <a:defRPr/>
            </a:pPr>
            <a:r>
              <a:rPr lang="en-US" sz="2600" b="1" i="1" kern="0" dirty="0">
                <a:solidFill>
                  <a:schemeClr val="accent5">
                    <a:lumMod val="50000"/>
                  </a:schemeClr>
                </a:solidFill>
                <a:latin typeface="Arial" panose="020B0604020202020204" pitchFamily="34" charset="0"/>
                <a:ea typeface="Times New Roman" panose="02020603050405020304" pitchFamily="18" charset="0"/>
                <a:cs typeface="Times New Roman" panose="02020603050405020304" pitchFamily="18" charset="0"/>
              </a:rPr>
              <a:t>June and July Offerings for you..</a:t>
            </a:r>
          </a:p>
          <a:p>
            <a:pPr defTabSz="685800">
              <a:lnSpc>
                <a:spcPct val="107000"/>
              </a:lnSpc>
              <a:spcBef>
                <a:spcPts val="900"/>
              </a:spcBef>
              <a:spcAft>
                <a:spcPts val="0"/>
              </a:spcAft>
              <a:defRPr/>
            </a:pPr>
            <a:r>
              <a:rPr lang="en-US" sz="2400" b="1" i="1" kern="0" dirty="0">
                <a:solidFill>
                  <a:srgbClr val="E47F00"/>
                </a:solidFill>
                <a:latin typeface="Arial" panose="020B0604020202020204" pitchFamily="34" charset="0"/>
                <a:ea typeface="Times New Roman" panose="02020603050405020304" pitchFamily="18" charset="0"/>
                <a:cs typeface="Times New Roman" panose="02020603050405020304" pitchFamily="18" charset="0"/>
              </a:rPr>
              <a:t>An Analytics Mini-Series:</a:t>
            </a:r>
            <a:endPar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marL="285750" indent="-285750" defTabSz="685800">
              <a:lnSpc>
                <a:spcPct val="107000"/>
              </a:lnSpc>
              <a:spcBef>
                <a:spcPts val="900"/>
              </a:spcBef>
              <a:spcAft>
                <a:spcPts val="0"/>
              </a:spcAft>
              <a:buFont typeface="Arial" panose="020B0604020202020204" pitchFamily="34" charset="0"/>
              <a:buChar char="•"/>
              <a:defRPr/>
            </a:pP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rPr>
              <a:t>03 August—Operational Analytics 501—Tools and Methods to Sharpen your OA Skills</a:t>
            </a:r>
          </a:p>
          <a:p>
            <a:pPr marL="628650" lvl="1" indent="-171450" defTabSz="685800">
              <a:lnSpc>
                <a:spcPct val="107000"/>
              </a:lnSpc>
              <a:spcBef>
                <a:spcPts val="900"/>
              </a:spcBef>
              <a:spcAft>
                <a:spcPts val="0"/>
              </a:spcAft>
              <a:buFont typeface="Arial" panose="020B0604020202020204" pitchFamily="34" charset="0"/>
              <a:buChar char="•"/>
              <a:defRPr/>
            </a:pPr>
            <a:r>
              <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hlinkClick r:id="rId3"/>
              </a:rPr>
              <a:t>Register for OA 501</a:t>
            </a:r>
            <a:endParaRPr lang="en-US" sz="1600"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endParaRPr>
          </a:p>
          <a:p>
            <a:pPr algn="ctr" defTabSz="685800">
              <a:lnSpc>
                <a:spcPct val="107000"/>
              </a:lnSpc>
              <a:spcBef>
                <a:spcPts val="900"/>
              </a:spcBef>
              <a:spcAft>
                <a:spcPts val="0"/>
              </a:spcAft>
              <a:defRPr/>
            </a:pPr>
            <a:r>
              <a:rPr lang="en-US" sz="2000" b="1" i="1" kern="0" dirty="0" err="1">
                <a:solidFill>
                  <a:schemeClr val="accent6"/>
                </a:solidFill>
                <a:latin typeface="Arial" panose="020B0604020202020204" pitchFamily="34" charset="0"/>
                <a:ea typeface="Times New Roman" panose="02020603050405020304" pitchFamily="18" charset="0"/>
                <a:cs typeface="Times New Roman" panose="02020603050405020304" pitchFamily="18" charset="0"/>
              </a:rPr>
              <a:t>Capstoned</a:t>
            </a:r>
            <a:r>
              <a:rPr lang="en-US" sz="2000" b="1" i="1" kern="0" dirty="0">
                <a:solidFill>
                  <a:schemeClr val="accent6"/>
                </a:solidFill>
                <a:latin typeface="Arial" panose="020B0604020202020204" pitchFamily="34" charset="0"/>
                <a:ea typeface="Times New Roman" panose="02020603050405020304" pitchFamily="18" charset="0"/>
                <a:cs typeface="Times New Roman" panose="02020603050405020304" pitchFamily="18" charset="0"/>
              </a:rPr>
              <a:t> by a Feature Article in the ISE Magazine in August.</a:t>
            </a:r>
            <a:endParaRPr lang="en-US" sz="2000" b="1" i="1" kern="0" dirty="0">
              <a:solidFill>
                <a:srgbClr val="E47F00"/>
              </a:solidFill>
              <a:ea typeface="Times New Roman" panose="02020603050405020304" pitchFamily="18" charset="0"/>
              <a:cs typeface="Times New Roman" panose="02020603050405020304" pitchFamily="18" charset="0"/>
            </a:endParaRPr>
          </a:p>
          <a:p>
            <a:pPr defTabSz="685800">
              <a:lnSpc>
                <a:spcPct val="107000"/>
              </a:lnSpc>
              <a:spcBef>
                <a:spcPts val="900"/>
              </a:spcBef>
              <a:spcAft>
                <a:spcPts val="0"/>
              </a:spcAft>
              <a:defRPr/>
            </a:pPr>
            <a:r>
              <a:rPr lang="en-US" sz="1800" b="1" i="1" kern="0" dirty="0">
                <a:solidFill>
                  <a:schemeClr val="accent2">
                    <a:lumMod val="75000"/>
                  </a:schemeClr>
                </a:solidFill>
                <a:latin typeface="Arial" panose="020B0604020202020204" pitchFamily="34" charset="0"/>
                <a:ea typeface="Times New Roman" panose="02020603050405020304" pitchFamily="18" charset="0"/>
                <a:cs typeface="Times New Roman" panose="02020603050405020304" pitchFamily="18" charset="0"/>
              </a:rPr>
              <a:t>August &amp; September Sneak Preview</a:t>
            </a:r>
          </a:p>
          <a:p>
            <a:pPr marL="285750" indent="-285750" defTabSz="685800">
              <a:lnSpc>
                <a:spcPct val="107000"/>
              </a:lnSpc>
              <a:spcBef>
                <a:spcPts val="900"/>
              </a:spcBef>
              <a:spcAft>
                <a:spcPts val="0"/>
              </a:spcAft>
              <a:buFont typeface="Arial" panose="020B0604020202020204" pitchFamily="34" charset="0"/>
              <a:buChar char="•"/>
              <a:defRPr/>
            </a:pPr>
            <a:r>
              <a:rPr lang="en-US" b="1" i="1" kern="0" dirty="0">
                <a:solidFill>
                  <a:srgbClr val="538135"/>
                </a:solidFill>
                <a:ea typeface="Times New Roman" panose="02020603050405020304" pitchFamily="18" charset="0"/>
                <a:cs typeface="Times New Roman" panose="02020603050405020304" pitchFamily="18" charset="0"/>
              </a:rPr>
              <a:t>An ‘AI’ Miniseries</a:t>
            </a:r>
          </a:p>
          <a:p>
            <a:pPr marL="742950" lvl="1" indent="-285750" defTabSz="685800">
              <a:lnSpc>
                <a:spcPct val="107000"/>
              </a:lnSpc>
              <a:spcBef>
                <a:spcPts val="900"/>
              </a:spcBef>
              <a:spcAft>
                <a:spcPts val="0"/>
              </a:spcAft>
              <a:buFont typeface="Arial" panose="020B0604020202020204" pitchFamily="34" charset="0"/>
              <a:buChar char="•"/>
              <a:defRPr/>
            </a:pPr>
            <a:r>
              <a:rPr lang="en-US" b="1" kern="0" dirty="0">
                <a:solidFill>
                  <a:srgbClr val="538135"/>
                </a:solidFill>
                <a:ea typeface="Times New Roman" panose="02020603050405020304" pitchFamily="18" charset="0"/>
                <a:cs typeface="Times New Roman" panose="02020603050405020304" pitchFamily="18" charset="0"/>
              </a:rPr>
              <a:t>10 August  AI 101-</a:t>
            </a:r>
            <a:r>
              <a:rPr lang="en-US" b="1" i="1" kern="0" dirty="0">
                <a:solidFill>
                  <a:srgbClr val="538135"/>
                </a:solidFill>
                <a:ea typeface="Times New Roman" panose="02020603050405020304" pitchFamily="18" charset="0"/>
                <a:cs typeface="Times New Roman" panose="02020603050405020304" pitchFamily="18" charset="0"/>
              </a:rPr>
              <a:t>-  </a:t>
            </a:r>
            <a:r>
              <a:rPr lang="en-US" b="0" i="0" dirty="0">
                <a:effectLst/>
                <a:latin typeface="Calibri" panose="020F0502020204030204" pitchFamily="34" charset="0"/>
                <a:hlinkClick r:id="rId4"/>
              </a:rPr>
              <a:t>https://link.iise.org/AI-part1</a:t>
            </a:r>
            <a:r>
              <a:rPr lang="en-US" b="0" i="0" dirty="0">
                <a:effectLst/>
                <a:latin typeface="Calibri" panose="020F0502020204030204" pitchFamily="34" charset="0"/>
              </a:rPr>
              <a:t> </a:t>
            </a:r>
          </a:p>
          <a:p>
            <a:pPr marL="1200150" lvl="2" indent="-285750" defTabSz="685800">
              <a:lnSpc>
                <a:spcPct val="107000"/>
              </a:lnSpc>
              <a:spcBef>
                <a:spcPts val="900"/>
              </a:spcBef>
              <a:spcAft>
                <a:spcPts val="0"/>
              </a:spcAft>
              <a:buFont typeface="Arial" panose="020B0604020202020204" pitchFamily="34" charset="0"/>
              <a:buChar char="•"/>
              <a:defRPr/>
            </a:pPr>
            <a:r>
              <a:rPr lang="en-US" b="1" i="1" kern="0" dirty="0">
                <a:solidFill>
                  <a:srgbClr val="002060"/>
                </a:solidFill>
                <a:ea typeface="Times New Roman" panose="02020603050405020304" pitchFamily="18" charset="0"/>
                <a:cs typeface="Times New Roman" panose="02020603050405020304" pitchFamily="18" charset="0"/>
              </a:rPr>
              <a:t>An ISE perspective on AI</a:t>
            </a:r>
          </a:p>
          <a:p>
            <a:pPr marL="285750" indent="-285750" defTabSz="685800">
              <a:lnSpc>
                <a:spcPct val="107000"/>
              </a:lnSpc>
              <a:spcBef>
                <a:spcPts val="900"/>
              </a:spcBef>
              <a:spcAft>
                <a:spcPts val="0"/>
              </a:spcAft>
              <a:buFont typeface="Arial" panose="020B0604020202020204" pitchFamily="34" charset="0"/>
              <a:buChar char="•"/>
              <a:defRPr/>
            </a:pPr>
            <a:r>
              <a:rPr lang="en-US"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rPr>
              <a:t>September--Our Annual Final Four Capstone Senior Design Presentations</a:t>
            </a:r>
            <a:endParaRPr lang="en-US" b="1" i="1" kern="0" dirty="0">
              <a:solidFill>
                <a:srgbClr val="538135"/>
              </a:solidFill>
              <a:ea typeface="Times New Roman" panose="02020603050405020304" pitchFamily="18" charset="0"/>
              <a:cs typeface="Times New Roman" panose="02020603050405020304" pitchFamily="18" charset="0"/>
            </a:endParaRPr>
          </a:p>
          <a:p>
            <a:pPr marL="285750" indent="-285750" defTabSz="685800">
              <a:lnSpc>
                <a:spcPct val="107000"/>
              </a:lnSpc>
              <a:spcBef>
                <a:spcPts val="900"/>
              </a:spcBef>
              <a:spcAft>
                <a:spcPts val="0"/>
              </a:spcAft>
              <a:buFont typeface="Arial" panose="020B0604020202020204" pitchFamily="34" charset="0"/>
              <a:buChar char="•"/>
              <a:defRPr/>
            </a:pPr>
            <a:r>
              <a:rPr lang="en-US" b="1" i="1" kern="0" dirty="0">
                <a:solidFill>
                  <a:srgbClr val="538135"/>
                </a:solidFill>
                <a:latin typeface="Arial" panose="020B0604020202020204" pitchFamily="34" charset="0"/>
                <a:ea typeface="Times New Roman" panose="02020603050405020304" pitchFamily="18" charset="0"/>
                <a:cs typeface="Times New Roman" panose="02020603050405020304" pitchFamily="18" charset="0"/>
              </a:rPr>
              <a:t>October 19—Best Practices in Service Systems Engineering</a:t>
            </a:r>
          </a:p>
        </p:txBody>
      </p:sp>
    </p:spTree>
    <p:extLst>
      <p:ext uri="{BB962C8B-B14F-4D97-AF65-F5344CB8AC3E}">
        <p14:creationId xmlns:p14="http://schemas.microsoft.com/office/powerpoint/2010/main" val="30836744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ADB92-A230-A7DF-3908-ED883ECF6C9D}"/>
              </a:ext>
            </a:extLst>
          </p:cNvPr>
          <p:cNvSpPr>
            <a:spLocks noGrp="1"/>
          </p:cNvSpPr>
          <p:nvPr>
            <p:ph type="title"/>
          </p:nvPr>
        </p:nvSpPr>
        <p:spPr>
          <a:xfrm>
            <a:off x="262467" y="239046"/>
            <a:ext cx="3257550" cy="1325563"/>
          </a:xfrm>
        </p:spPr>
        <p:txBody>
          <a:bodyPr>
            <a:normAutofit fontScale="90000"/>
          </a:bodyPr>
          <a:lstStyle/>
          <a:p>
            <a:r>
              <a:rPr lang="en-US" dirty="0"/>
              <a:t>The Purpose of our upcoming AI Miniseries</a:t>
            </a:r>
          </a:p>
        </p:txBody>
      </p:sp>
      <p:pic>
        <p:nvPicPr>
          <p:cNvPr id="6" name="Content Placeholder 5" descr="A blue figure with a tangled circle of lines&#10;&#10;Description automatically generated">
            <a:extLst>
              <a:ext uri="{FF2B5EF4-FFF2-40B4-BE49-F238E27FC236}">
                <a16:creationId xmlns:a16="http://schemas.microsoft.com/office/drawing/2014/main" id="{4427DF04-DC4E-D195-EBE2-5F0BA93CE86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28650" y="1937608"/>
            <a:ext cx="7886700" cy="4127372"/>
          </a:xfrm>
        </p:spPr>
      </p:pic>
      <p:sp>
        <p:nvSpPr>
          <p:cNvPr id="4" name="Slide Number Placeholder 3">
            <a:extLst>
              <a:ext uri="{FF2B5EF4-FFF2-40B4-BE49-F238E27FC236}">
                <a16:creationId xmlns:a16="http://schemas.microsoft.com/office/drawing/2014/main" id="{21421BFE-0964-A81D-36D8-9E0D14D6BA96}"/>
              </a:ext>
            </a:extLst>
          </p:cNvPr>
          <p:cNvSpPr>
            <a:spLocks noGrp="1"/>
          </p:cNvSpPr>
          <p:nvPr>
            <p:ph type="sldNum" sz="quarter" idx="12"/>
          </p:nvPr>
        </p:nvSpPr>
        <p:spPr/>
        <p:txBody>
          <a:bodyPr/>
          <a:lstStyle/>
          <a:p>
            <a:fld id="{602F7A02-EF0D-4D82-9BFD-3DDF074AABBD}" type="slidenum">
              <a:rPr lang="en-CA" smtClean="0"/>
              <a:t>68</a:t>
            </a:fld>
            <a:endParaRPr lang="en-CA" dirty="0"/>
          </a:p>
        </p:txBody>
      </p:sp>
      <p:sp>
        <p:nvSpPr>
          <p:cNvPr id="7" name="Rectangle 6">
            <a:extLst>
              <a:ext uri="{FF2B5EF4-FFF2-40B4-BE49-F238E27FC236}">
                <a16:creationId xmlns:a16="http://schemas.microsoft.com/office/drawing/2014/main" id="{CAC719B3-7864-026F-C93D-4606B48087B0}"/>
              </a:ext>
            </a:extLst>
          </p:cNvPr>
          <p:cNvSpPr/>
          <p:nvPr/>
        </p:nvSpPr>
        <p:spPr>
          <a:xfrm>
            <a:off x="838200" y="2133600"/>
            <a:ext cx="2286000" cy="2895600"/>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dirty="0"/>
              <a:t>Sense making in an everchanging World</a:t>
            </a:r>
          </a:p>
        </p:txBody>
      </p:sp>
      <p:sp>
        <p:nvSpPr>
          <p:cNvPr id="8" name="Rectangle 7">
            <a:extLst>
              <a:ext uri="{FF2B5EF4-FFF2-40B4-BE49-F238E27FC236}">
                <a16:creationId xmlns:a16="http://schemas.microsoft.com/office/drawing/2014/main" id="{9C6C35DC-BEEE-D338-B3C4-D9698D16DC0D}"/>
              </a:ext>
            </a:extLst>
          </p:cNvPr>
          <p:cNvSpPr/>
          <p:nvPr/>
        </p:nvSpPr>
        <p:spPr>
          <a:xfrm>
            <a:off x="838199" y="5225192"/>
            <a:ext cx="1978325" cy="634207"/>
          </a:xfrm>
          <a:prstGeom prst="rect">
            <a:avLst/>
          </a:prstGeom>
          <a:solidFill>
            <a:schemeClr val="accent5">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SE Perspectives and Points of view on AI</a:t>
            </a:r>
          </a:p>
        </p:txBody>
      </p:sp>
      <p:pic>
        <p:nvPicPr>
          <p:cNvPr id="10" name="Picture 9" descr="A person standing in front of a blackboard with white text&#10;&#10;Description automatically generated">
            <a:extLst>
              <a:ext uri="{FF2B5EF4-FFF2-40B4-BE49-F238E27FC236}">
                <a16:creationId xmlns:a16="http://schemas.microsoft.com/office/drawing/2014/main" id="{653604BC-D961-AE27-39E0-C539F4ABA1BA}"/>
              </a:ext>
            </a:extLst>
          </p:cNvPr>
          <p:cNvPicPr>
            <a:picLocks noChangeAspect="1"/>
          </p:cNvPicPr>
          <p:nvPr/>
        </p:nvPicPr>
        <p:blipFill rotWithShape="1">
          <a:blip r:embed="rId3">
            <a:extLst>
              <a:ext uri="{28A0092B-C50C-407E-A947-70E740481C1C}">
                <a14:useLocalDpi xmlns:a14="http://schemas.microsoft.com/office/drawing/2010/main" val="0"/>
              </a:ext>
            </a:extLst>
          </a:blip>
          <a:srcRect t="-558" b="12674"/>
          <a:stretch/>
        </p:blipFill>
        <p:spPr>
          <a:xfrm>
            <a:off x="4114800" y="0"/>
            <a:ext cx="4873625" cy="2409259"/>
          </a:xfrm>
          <a:prstGeom prst="rect">
            <a:avLst/>
          </a:prstGeom>
        </p:spPr>
      </p:pic>
    </p:spTree>
    <p:extLst>
      <p:ext uri="{BB962C8B-B14F-4D97-AF65-F5344CB8AC3E}">
        <p14:creationId xmlns:p14="http://schemas.microsoft.com/office/powerpoint/2010/main" val="40206063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3999"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2819400" y="0"/>
            <a:ext cx="5319015" cy="1120820"/>
          </a:xfrm>
          <a:prstGeom prst="rect">
            <a:avLst/>
          </a:prstGeom>
        </p:spPr>
        <p:txBody>
          <a:bodyPr vert="horz" wrap="square" lIns="0" tIns="12700" rIns="0" bIns="0" rtlCol="0">
            <a:spAutoFit/>
          </a:bodyPr>
          <a:lstStyle/>
          <a:p>
            <a:pPr marL="12700">
              <a:lnSpc>
                <a:spcPct val="100000"/>
              </a:lnSpc>
              <a:spcBef>
                <a:spcPts val="100"/>
              </a:spcBef>
            </a:pPr>
            <a:r>
              <a:rPr lang="en-US" sz="3600" dirty="0">
                <a:latin typeface="Arial"/>
                <a:cs typeface="Arial"/>
              </a:rPr>
              <a:t>Op Analytics Development Options</a:t>
            </a:r>
            <a:endParaRPr sz="3600" dirty="0">
              <a:latin typeface="Arial"/>
              <a:cs typeface="Arial"/>
            </a:endParaRPr>
          </a:p>
        </p:txBody>
      </p:sp>
      <p:pic>
        <p:nvPicPr>
          <p:cNvPr id="5" name="Picture 4" descr="Graphical user interface, text, application, chat or text message&#10;&#10;Description automatically generated">
            <a:extLst>
              <a:ext uri="{FF2B5EF4-FFF2-40B4-BE49-F238E27FC236}">
                <a16:creationId xmlns:a16="http://schemas.microsoft.com/office/drawing/2014/main" id="{EE3B9F42-3089-4F7F-A6B7-BF0CBB54CDC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0800" y="1415320"/>
            <a:ext cx="2397184" cy="2796063"/>
          </a:xfrm>
          <a:prstGeom prst="rect">
            <a:avLst/>
          </a:prstGeom>
        </p:spPr>
      </p:pic>
      <p:cxnSp>
        <p:nvCxnSpPr>
          <p:cNvPr id="7" name="Straight Arrow Connector 6">
            <a:extLst>
              <a:ext uri="{FF2B5EF4-FFF2-40B4-BE49-F238E27FC236}">
                <a16:creationId xmlns:a16="http://schemas.microsoft.com/office/drawing/2014/main" id="{5AECFA4D-DF14-4734-99AB-A4F2E72F59BD}"/>
              </a:ext>
            </a:extLst>
          </p:cNvPr>
          <p:cNvCxnSpPr>
            <a:cxnSpLocks/>
          </p:cNvCxnSpPr>
          <p:nvPr/>
        </p:nvCxnSpPr>
        <p:spPr>
          <a:xfrm>
            <a:off x="1005585" y="5410200"/>
            <a:ext cx="730021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AE03AFE0-BCD7-47D3-A652-8C79F3C3E4DD}"/>
              </a:ext>
            </a:extLst>
          </p:cNvPr>
          <p:cNvSpPr/>
          <p:nvPr/>
        </p:nvSpPr>
        <p:spPr>
          <a:xfrm>
            <a:off x="34037" y="5143500"/>
            <a:ext cx="880364"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ime/</a:t>
            </a:r>
          </a:p>
          <a:p>
            <a:pPr algn="ctr"/>
            <a:r>
              <a:rPr lang="en-US" dirty="0"/>
              <a:t>Cost</a:t>
            </a:r>
          </a:p>
        </p:txBody>
      </p:sp>
      <p:sp>
        <p:nvSpPr>
          <p:cNvPr id="11" name="Rectangle 10">
            <a:extLst>
              <a:ext uri="{FF2B5EF4-FFF2-40B4-BE49-F238E27FC236}">
                <a16:creationId xmlns:a16="http://schemas.microsoft.com/office/drawing/2014/main" id="{35C7099D-203E-4BCE-83D4-A2FB1A595740}"/>
              </a:ext>
            </a:extLst>
          </p:cNvPr>
          <p:cNvSpPr/>
          <p:nvPr/>
        </p:nvSpPr>
        <p:spPr>
          <a:xfrm>
            <a:off x="6890846" y="5541830"/>
            <a:ext cx="1460246" cy="83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 campus or Hybrid MS Programs</a:t>
            </a:r>
          </a:p>
        </p:txBody>
      </p:sp>
      <p:sp>
        <p:nvSpPr>
          <p:cNvPr id="15" name="Rectangle 14">
            <a:extLst>
              <a:ext uri="{FF2B5EF4-FFF2-40B4-BE49-F238E27FC236}">
                <a16:creationId xmlns:a16="http://schemas.microsoft.com/office/drawing/2014/main" id="{6F2FE63E-19AB-4794-9349-F1D3710B97B9}"/>
              </a:ext>
            </a:extLst>
          </p:cNvPr>
          <p:cNvSpPr/>
          <p:nvPr/>
        </p:nvSpPr>
        <p:spPr>
          <a:xfrm>
            <a:off x="6890846" y="4430686"/>
            <a:ext cx="1460246" cy="83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 </a:t>
            </a:r>
            <a:r>
              <a:rPr lang="en-US" dirty="0" err="1"/>
              <a:t>yrs</a:t>
            </a:r>
            <a:r>
              <a:rPr lang="en-US" dirty="0"/>
              <a:t>, $50-100k</a:t>
            </a:r>
          </a:p>
        </p:txBody>
      </p:sp>
      <p:sp>
        <p:nvSpPr>
          <p:cNvPr id="17" name="Rectangle 16">
            <a:extLst>
              <a:ext uri="{FF2B5EF4-FFF2-40B4-BE49-F238E27FC236}">
                <a16:creationId xmlns:a16="http://schemas.microsoft.com/office/drawing/2014/main" id="{9B84EA8D-DF92-477E-849E-C3D141F08948}"/>
              </a:ext>
            </a:extLst>
          </p:cNvPr>
          <p:cNvSpPr/>
          <p:nvPr/>
        </p:nvSpPr>
        <p:spPr>
          <a:xfrm>
            <a:off x="1002792" y="5550929"/>
            <a:ext cx="1460246" cy="5907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n-Line, Virtual</a:t>
            </a:r>
          </a:p>
        </p:txBody>
      </p:sp>
      <p:sp>
        <p:nvSpPr>
          <p:cNvPr id="18" name="Rectangle 17">
            <a:extLst>
              <a:ext uri="{FF2B5EF4-FFF2-40B4-BE49-F238E27FC236}">
                <a16:creationId xmlns:a16="http://schemas.microsoft.com/office/drawing/2014/main" id="{1F6E650F-1412-4078-98DA-3A9C0EA67149}"/>
              </a:ext>
            </a:extLst>
          </p:cNvPr>
          <p:cNvSpPr/>
          <p:nvPr/>
        </p:nvSpPr>
        <p:spPr>
          <a:xfrm>
            <a:off x="1024127" y="4410404"/>
            <a:ext cx="1460246" cy="83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 days to 6 mos. $600-$5,000</a:t>
            </a:r>
          </a:p>
        </p:txBody>
      </p:sp>
      <p:pic>
        <p:nvPicPr>
          <p:cNvPr id="20" name="Picture 19" descr="Graphical user interface&#10;&#10;Description automatically generated">
            <a:extLst>
              <a:ext uri="{FF2B5EF4-FFF2-40B4-BE49-F238E27FC236}">
                <a16:creationId xmlns:a16="http://schemas.microsoft.com/office/drawing/2014/main" id="{BCEA8260-813C-44BC-90C6-702BDFD0BC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36" y="1401505"/>
            <a:ext cx="2928710" cy="2887908"/>
          </a:xfrm>
          <a:prstGeom prst="rect">
            <a:avLst/>
          </a:prstGeom>
        </p:spPr>
      </p:pic>
      <p:sp>
        <p:nvSpPr>
          <p:cNvPr id="21" name="Rectangle 20">
            <a:extLst>
              <a:ext uri="{FF2B5EF4-FFF2-40B4-BE49-F238E27FC236}">
                <a16:creationId xmlns:a16="http://schemas.microsoft.com/office/drawing/2014/main" id="{16E16858-6976-49AB-AC1B-5A5CC7215422}"/>
              </a:ext>
            </a:extLst>
          </p:cNvPr>
          <p:cNvSpPr/>
          <p:nvPr/>
        </p:nvSpPr>
        <p:spPr>
          <a:xfrm>
            <a:off x="3952680" y="5874094"/>
            <a:ext cx="1686119" cy="5907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ybrid/ Blended Model</a:t>
            </a:r>
          </a:p>
        </p:txBody>
      </p:sp>
      <p:sp>
        <p:nvSpPr>
          <p:cNvPr id="23" name="TextBox 22">
            <a:extLst>
              <a:ext uri="{FF2B5EF4-FFF2-40B4-BE49-F238E27FC236}">
                <a16:creationId xmlns:a16="http://schemas.microsoft.com/office/drawing/2014/main" id="{6990F5C2-6EA8-46CC-937C-8930B8B49B41}"/>
              </a:ext>
            </a:extLst>
          </p:cNvPr>
          <p:cNvSpPr txBox="1"/>
          <p:nvPr/>
        </p:nvSpPr>
        <p:spPr>
          <a:xfrm>
            <a:off x="267581" y="6141713"/>
            <a:ext cx="2419858" cy="646331"/>
          </a:xfrm>
          <a:prstGeom prst="rect">
            <a:avLst/>
          </a:prstGeom>
          <a:noFill/>
        </p:spPr>
        <p:txBody>
          <a:bodyPr wrap="square">
            <a:spAutoFit/>
          </a:bodyPr>
          <a:lstStyle/>
          <a:p>
            <a:r>
              <a:rPr lang="en-US" sz="1200" dirty="0">
                <a:hlinkClick r:id="rId5"/>
              </a:rPr>
              <a:t>https://careerfoundry.com/en/blog/data-analytics/best-data-analytics-certification-programs/</a:t>
            </a:r>
            <a:r>
              <a:rPr lang="en-US" sz="1200" dirty="0"/>
              <a:t> </a:t>
            </a:r>
          </a:p>
        </p:txBody>
      </p:sp>
      <p:sp>
        <p:nvSpPr>
          <p:cNvPr id="24" name="Rectangle 23">
            <a:extLst>
              <a:ext uri="{FF2B5EF4-FFF2-40B4-BE49-F238E27FC236}">
                <a16:creationId xmlns:a16="http://schemas.microsoft.com/office/drawing/2014/main" id="{DF2D0631-EDC0-4EB3-8EF2-8B7E56F37211}"/>
              </a:ext>
            </a:extLst>
          </p:cNvPr>
          <p:cNvSpPr/>
          <p:nvPr/>
        </p:nvSpPr>
        <p:spPr>
          <a:xfrm>
            <a:off x="3429000" y="3839352"/>
            <a:ext cx="2708328" cy="19753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20 hours ++, $400 students + $250 for certification</a:t>
            </a:r>
          </a:p>
          <a:p>
            <a:pPr algn="ctr"/>
            <a:r>
              <a:rPr lang="en-US" dirty="0"/>
              <a:t>$475/675 member/non-member + $550 for the certification</a:t>
            </a:r>
          </a:p>
          <a:p>
            <a:pPr algn="ctr"/>
            <a:endParaRPr lang="en-US" dirty="0"/>
          </a:p>
        </p:txBody>
      </p:sp>
      <p:pic>
        <p:nvPicPr>
          <p:cNvPr id="6" name="Picture 5" descr="A picture containing text, sign, tableware, dishware&#10;&#10;Description automatically generated">
            <a:extLst>
              <a:ext uri="{FF2B5EF4-FFF2-40B4-BE49-F238E27FC236}">
                <a16:creationId xmlns:a16="http://schemas.microsoft.com/office/drawing/2014/main" id="{1A5F3193-3F9F-48EC-8F3F-05A2FA1F46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64999" y="2652103"/>
            <a:ext cx="2505573" cy="912029"/>
          </a:xfrm>
          <a:prstGeom prst="rect">
            <a:avLst/>
          </a:prstGeom>
        </p:spPr>
      </p:pic>
    </p:spTree>
    <p:extLst>
      <p:ext uri="{BB962C8B-B14F-4D97-AF65-F5344CB8AC3E}">
        <p14:creationId xmlns:p14="http://schemas.microsoft.com/office/powerpoint/2010/main" val="8205059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3999"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2895600" y="76200"/>
            <a:ext cx="6064196" cy="1120820"/>
          </a:xfrm>
          <a:prstGeom prst="rect">
            <a:avLst/>
          </a:prstGeom>
        </p:spPr>
        <p:txBody>
          <a:bodyPr vert="horz" wrap="square" lIns="0" tIns="12700" rIns="0" bIns="0" rtlCol="0">
            <a:spAutoFit/>
          </a:bodyPr>
          <a:lstStyle/>
          <a:p>
            <a:pPr marL="12700">
              <a:lnSpc>
                <a:spcPct val="100000"/>
              </a:lnSpc>
              <a:spcBef>
                <a:spcPts val="100"/>
              </a:spcBef>
            </a:pPr>
            <a:r>
              <a:rPr lang="en-US" sz="3600" dirty="0">
                <a:latin typeface="Arial"/>
                <a:cs typeface="Arial"/>
              </a:rPr>
              <a:t>Op Analytics represents huge opportunity for ISE’s</a:t>
            </a:r>
            <a:endParaRPr sz="3600" dirty="0">
              <a:latin typeface="Arial"/>
              <a:cs typeface="Arial"/>
            </a:endParaRPr>
          </a:p>
        </p:txBody>
      </p:sp>
      <p:sp>
        <p:nvSpPr>
          <p:cNvPr id="16" name="Content Placeholder 2">
            <a:extLst>
              <a:ext uri="{FF2B5EF4-FFF2-40B4-BE49-F238E27FC236}">
                <a16:creationId xmlns:a16="http://schemas.microsoft.com/office/drawing/2014/main" id="{2C9BEAD5-E54B-4B28-A3AF-E18BC065FC6A}"/>
              </a:ext>
            </a:extLst>
          </p:cNvPr>
          <p:cNvSpPr txBox="1">
            <a:spLocks/>
          </p:cNvSpPr>
          <p:nvPr/>
        </p:nvSpPr>
        <p:spPr>
          <a:xfrm>
            <a:off x="426720" y="1449705"/>
            <a:ext cx="8339138" cy="6047809"/>
          </a:xfrm>
          <a:prstGeom prst="rect">
            <a:avLst/>
          </a:prstGeom>
        </p:spPr>
        <p:txBody>
          <a:bodyPr wrap="square" lIns="0" tIns="0" rIns="0" bIns="0">
            <a:spAutoFit/>
          </a:bodyPr>
          <a:lstStyle>
            <a:lvl1pPr marL="0">
              <a:defRPr sz="1800" b="0" i="0">
                <a:solidFill>
                  <a:schemeClr val="bg1"/>
                </a:solidFill>
                <a:latin typeface="Baskerville Old Face"/>
                <a:ea typeface="+mn-ea"/>
                <a:cs typeface="Baskerville Old Face"/>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sz="1600" b="1" kern="0" dirty="0">
                <a:solidFill>
                  <a:schemeClr val="tx1"/>
                </a:solidFill>
              </a:rPr>
              <a:t>In Partnership with: </a:t>
            </a:r>
          </a:p>
          <a:p>
            <a:r>
              <a:rPr lang="en-US" sz="1400" kern="0" dirty="0">
                <a:solidFill>
                  <a:schemeClr val="tx1"/>
                </a:solidFill>
              </a:rPr>
              <a:t>	</a:t>
            </a:r>
            <a:r>
              <a:rPr lang="en-US" sz="1600" kern="0" dirty="0">
                <a:solidFill>
                  <a:schemeClr val="tx1"/>
                </a:solidFill>
              </a:rPr>
              <a:t>The Poirier Group</a:t>
            </a:r>
          </a:p>
          <a:p>
            <a:r>
              <a:rPr lang="en-US" sz="1600" kern="0" dirty="0">
                <a:solidFill>
                  <a:schemeClr val="tx1"/>
                </a:solidFill>
              </a:rPr>
              <a:t>	Moresteam University</a:t>
            </a:r>
          </a:p>
          <a:p>
            <a:r>
              <a:rPr lang="en-US" sz="1600" kern="0" dirty="0">
                <a:solidFill>
                  <a:schemeClr val="tx1"/>
                </a:solidFill>
              </a:rPr>
              <a:t>	</a:t>
            </a:r>
            <a:r>
              <a:rPr lang="en-US" sz="1400" kern="0" dirty="0">
                <a:solidFill>
                  <a:schemeClr val="tx1"/>
                </a:solidFill>
              </a:rPr>
              <a:t>	</a:t>
            </a:r>
          </a:p>
          <a:p>
            <a:r>
              <a:rPr lang="en-US" b="1" kern="0" dirty="0">
                <a:solidFill>
                  <a:schemeClr val="accent2">
                    <a:lumMod val="50000"/>
                  </a:schemeClr>
                </a:solidFill>
              </a:rPr>
              <a:t>Delivered Uniquely:</a:t>
            </a:r>
          </a:p>
          <a:p>
            <a:r>
              <a:rPr lang="en-US" sz="1400" b="1" kern="0" dirty="0">
                <a:solidFill>
                  <a:schemeClr val="tx1"/>
                </a:solidFill>
              </a:rPr>
              <a:t>IISE Digital Op Ex ‘Mall and Stores’ </a:t>
            </a:r>
          </a:p>
          <a:p>
            <a:pPr lvl="3">
              <a:buFont typeface="Courier New" panose="02070309020205020404" pitchFamily="49" charset="0"/>
              <a:buChar char="o"/>
            </a:pPr>
            <a:r>
              <a:rPr lang="en-US" sz="1400" b="1" kern="0" dirty="0"/>
              <a:t>10+ Video Modules for easy, self-paced consumption/learning</a:t>
            </a:r>
          </a:p>
          <a:p>
            <a:pPr lvl="3">
              <a:buFont typeface="Courier New" panose="02070309020205020404" pitchFamily="49" charset="0"/>
              <a:buChar char="o"/>
            </a:pPr>
            <a:r>
              <a:rPr lang="en-US" sz="1400" b="1" kern="0" dirty="0"/>
              <a:t>‘Chat’ Support with Coaches</a:t>
            </a:r>
          </a:p>
          <a:p>
            <a:pPr lvl="3">
              <a:buFont typeface="Courier New" panose="02070309020205020404" pitchFamily="49" charset="0"/>
              <a:buChar char="o"/>
            </a:pPr>
            <a:r>
              <a:rPr lang="en-US" sz="1400" b="1" kern="0" dirty="0"/>
              <a:t> Periodic Huddles for virtual coaching</a:t>
            </a:r>
          </a:p>
          <a:p>
            <a:pPr lvl="3">
              <a:buFont typeface="Courier New" panose="02070309020205020404" pitchFamily="49" charset="0"/>
              <a:buChar char="o"/>
            </a:pPr>
            <a:r>
              <a:rPr lang="en-US" sz="1400" b="1" kern="0" dirty="0"/>
              <a:t> Certificate requires an on-line final exam</a:t>
            </a:r>
          </a:p>
          <a:p>
            <a:pPr lvl="3">
              <a:buFont typeface="Courier New" panose="02070309020205020404" pitchFamily="49" charset="0"/>
              <a:buChar char="o"/>
            </a:pPr>
            <a:r>
              <a:rPr lang="en-US" sz="1400" b="1" kern="0" dirty="0"/>
              <a:t> Certification requires the Certificate plus a reduction to practice, proof of skill project</a:t>
            </a:r>
            <a:r>
              <a:rPr lang="en-US" sz="500" b="1" kern="0" dirty="0"/>
              <a:t>		</a:t>
            </a:r>
          </a:p>
          <a:p>
            <a:r>
              <a:rPr lang="en-US" sz="1400" kern="0" dirty="0">
                <a:solidFill>
                  <a:schemeClr val="tx1"/>
                </a:solidFill>
              </a:rPr>
              <a:t>Module 1:  OA Thought Leader Perspectives</a:t>
            </a:r>
          </a:p>
          <a:p>
            <a:r>
              <a:rPr lang="en-US" sz="1400" kern="0" dirty="0">
                <a:solidFill>
                  <a:schemeClr val="tx1"/>
                </a:solidFill>
              </a:rPr>
              <a:t>Module 2:  Operational Analytics Perspectives, Points of View and Foundational Principles and Methods and Models</a:t>
            </a:r>
          </a:p>
          <a:p>
            <a:r>
              <a:rPr lang="en-US" sz="1400" kern="0" dirty="0">
                <a:solidFill>
                  <a:schemeClr val="tx1"/>
                </a:solidFill>
              </a:rPr>
              <a:t>Module 3:  Operational Analytics:  The Foundational Data Management Role</a:t>
            </a:r>
          </a:p>
          <a:p>
            <a:r>
              <a:rPr lang="en-US" sz="1400" kern="0" dirty="0">
                <a:solidFill>
                  <a:schemeClr val="tx1"/>
                </a:solidFill>
              </a:rPr>
              <a:t>Module 4:  Operational Analytics:  The Analyst, Decision/Action Support Role</a:t>
            </a:r>
          </a:p>
          <a:p>
            <a:r>
              <a:rPr lang="en-US" sz="1400" kern="0" dirty="0">
                <a:solidFill>
                  <a:schemeClr val="tx1"/>
                </a:solidFill>
              </a:rPr>
              <a:t>Module 5:  Data Sciences and The New Industrial and Systems Engineering</a:t>
            </a:r>
          </a:p>
          <a:p>
            <a:r>
              <a:rPr lang="en-US" sz="1400" kern="0" dirty="0">
                <a:solidFill>
                  <a:schemeClr val="tx1"/>
                </a:solidFill>
              </a:rPr>
              <a:t>Module 6:  Operational Analytics:  The Evaluation Role</a:t>
            </a:r>
          </a:p>
          <a:p>
            <a:r>
              <a:rPr lang="en-US" sz="1400" kern="0" dirty="0">
                <a:solidFill>
                  <a:schemeClr val="tx1"/>
                </a:solidFill>
              </a:rPr>
              <a:t>Module 7:  Operational Analytics—Visual Measurement/Management Systems (Parts I, II, III)</a:t>
            </a:r>
          </a:p>
          <a:p>
            <a:r>
              <a:rPr lang="en-US" sz="1400" kern="0" dirty="0">
                <a:solidFill>
                  <a:schemeClr val="tx1"/>
                </a:solidFill>
              </a:rPr>
              <a:t>Module 8:  Operational Analytics:  Putting it All Together:  Case Studies</a:t>
            </a:r>
          </a:p>
          <a:p>
            <a:r>
              <a:rPr lang="en-US" sz="1400" kern="0" dirty="0">
                <a:solidFill>
                  <a:schemeClr val="tx1"/>
                </a:solidFill>
              </a:rPr>
              <a:t>Module 9: The Role of Data and Information (Engineered Management Systems) in Periods of Major Disruption, Reducing the Latencies</a:t>
            </a:r>
          </a:p>
          <a:p>
            <a:r>
              <a:rPr lang="en-US" sz="1400" kern="0" dirty="0">
                <a:solidFill>
                  <a:schemeClr val="tx1"/>
                </a:solidFill>
              </a:rPr>
              <a:t>Module 10:  Creating Cultures that Support Full Potential Performance/Operational Excellence</a:t>
            </a:r>
          </a:p>
          <a:p>
            <a:endParaRPr lang="en-US" sz="1400" kern="0" dirty="0">
              <a:solidFill>
                <a:schemeClr val="tx1"/>
              </a:solidFill>
            </a:endParaRPr>
          </a:p>
          <a:p>
            <a:pPr lvl="1"/>
            <a:endParaRPr lang="en-US" kern="0" dirty="0"/>
          </a:p>
          <a:p>
            <a:pPr lvl="1"/>
            <a:endParaRPr lang="en-US" kern="0" dirty="0"/>
          </a:p>
          <a:p>
            <a:pPr lvl="1"/>
            <a:endParaRPr lang="en-US" kern="0" dirty="0">
              <a:solidFill>
                <a:sysClr val="windowText" lastClr="000000"/>
              </a:solidFill>
            </a:endParaRPr>
          </a:p>
        </p:txBody>
      </p:sp>
      <p:pic>
        <p:nvPicPr>
          <p:cNvPr id="17" name="Picture 2" descr="Image result for poirier group logo">
            <a:extLst>
              <a:ext uri="{FF2B5EF4-FFF2-40B4-BE49-F238E27FC236}">
                <a16:creationId xmlns:a16="http://schemas.microsoft.com/office/drawing/2014/main" id="{40A65FBC-B627-4578-8622-21D5047010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99485" y="1572768"/>
            <a:ext cx="2333625" cy="93345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Moresteam Logo">
            <a:extLst>
              <a:ext uri="{FF2B5EF4-FFF2-40B4-BE49-F238E27FC236}">
                <a16:creationId xmlns:a16="http://schemas.microsoft.com/office/drawing/2014/main" id="{EB9A8E85-43E6-4AB0-8A3F-25BA201BBC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35040" y="1467993"/>
            <a:ext cx="2667000"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63780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alpha val="56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5E3C8-D9C1-91A4-3B3E-92D078C0A712}"/>
              </a:ext>
            </a:extLst>
          </p:cNvPr>
          <p:cNvSpPr>
            <a:spLocks noGrp="1"/>
          </p:cNvSpPr>
          <p:nvPr>
            <p:ph type="title"/>
          </p:nvPr>
        </p:nvSpPr>
        <p:spPr>
          <a:xfrm>
            <a:off x="5328436" y="685800"/>
            <a:ext cx="3034220" cy="4953000"/>
          </a:xfrm>
        </p:spPr>
        <p:txBody>
          <a:bodyPr anchor="t">
            <a:normAutofit/>
          </a:bodyPr>
          <a:lstStyle/>
          <a:p>
            <a:r>
              <a:rPr lang="en-US" sz="1500" dirty="0"/>
              <a:t>100+ Timely Webinars on a full spectrum of Performance Excellence topics with an Integrated Systems Engineering Perspective and Point of View.</a:t>
            </a:r>
            <a:br>
              <a:rPr lang="en-US" sz="1500" dirty="0"/>
            </a:br>
            <a:br>
              <a:rPr lang="en-US" sz="1500" dirty="0"/>
            </a:br>
            <a:r>
              <a:rPr lang="en-US" sz="1500" dirty="0"/>
              <a:t>Available on-demand for IISE members.  </a:t>
            </a:r>
            <a:br>
              <a:rPr lang="en-US" sz="1500" dirty="0"/>
            </a:br>
            <a:br>
              <a:rPr lang="en-US" sz="1500" dirty="0"/>
            </a:br>
            <a:r>
              <a:rPr lang="en-US" sz="2000" dirty="0"/>
              <a:t>Clustered into packages of webinars to provide tailored </a:t>
            </a:r>
            <a:r>
              <a:rPr lang="en-US" sz="2000" b="1" dirty="0">
                <a:solidFill>
                  <a:srgbClr val="C00000"/>
                </a:solidFill>
              </a:rPr>
              <a:t>Certificate opportunities </a:t>
            </a:r>
            <a:r>
              <a:rPr lang="en-US" sz="2000" dirty="0"/>
              <a:t>for our Members.  </a:t>
            </a:r>
            <a:br>
              <a:rPr lang="en-US" sz="1500" dirty="0"/>
            </a:br>
            <a:br>
              <a:rPr lang="en-US" sz="1500" dirty="0"/>
            </a:br>
            <a:r>
              <a:rPr lang="en-US" sz="1500" dirty="0"/>
              <a:t>1--Operational Excellence</a:t>
            </a:r>
            <a:br>
              <a:rPr lang="en-US" sz="1500" dirty="0"/>
            </a:br>
            <a:r>
              <a:rPr lang="en-US" sz="1500" dirty="0"/>
              <a:t>2--Integrated </a:t>
            </a:r>
            <a:r>
              <a:rPr lang="en-US" sz="1500" dirty="0" err="1"/>
              <a:t>LeanSigma</a:t>
            </a:r>
            <a:br>
              <a:rPr lang="en-US" sz="1500" dirty="0"/>
            </a:br>
            <a:r>
              <a:rPr lang="en-US" sz="1500" dirty="0"/>
              <a:t>3--Operational Analytics</a:t>
            </a:r>
            <a:br>
              <a:rPr lang="en-US" sz="1500" dirty="0"/>
            </a:br>
            <a:r>
              <a:rPr lang="en-US" sz="1500" dirty="0"/>
              <a:t>4--Change Leadership &amp; 	Management</a:t>
            </a:r>
          </a:p>
        </p:txBody>
      </p:sp>
      <p:pic>
        <p:nvPicPr>
          <p:cNvPr id="6" name="Content Placeholder 5" descr="Diagram&#10;&#10;Description automatically generated">
            <a:extLst>
              <a:ext uri="{FF2B5EF4-FFF2-40B4-BE49-F238E27FC236}">
                <a16:creationId xmlns:a16="http://schemas.microsoft.com/office/drawing/2014/main" id="{979BE928-5C06-2FDC-2E4F-FAD3A649A34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02807" y="283465"/>
            <a:ext cx="4840463" cy="5867400"/>
          </a:xfrm>
        </p:spPr>
      </p:pic>
      <p:sp>
        <p:nvSpPr>
          <p:cNvPr id="4" name="Slide Number Placeholder 3">
            <a:extLst>
              <a:ext uri="{FF2B5EF4-FFF2-40B4-BE49-F238E27FC236}">
                <a16:creationId xmlns:a16="http://schemas.microsoft.com/office/drawing/2014/main" id="{BF70B7CC-AB91-D860-9738-973E44B62123}"/>
              </a:ext>
            </a:extLst>
          </p:cNvPr>
          <p:cNvSpPr>
            <a:spLocks noGrp="1"/>
          </p:cNvSpPr>
          <p:nvPr>
            <p:ph type="sldNum" sz="quarter" idx="12"/>
          </p:nvPr>
        </p:nvSpPr>
        <p:spPr/>
        <p:txBody>
          <a:bodyPr/>
          <a:lstStyle/>
          <a:p>
            <a:pPr defTabSz="685800" eaLnBrk="1" fontAlgn="auto" hangingPunct="1">
              <a:spcBef>
                <a:spcPts val="0"/>
              </a:spcBef>
              <a:spcAft>
                <a:spcPts val="0"/>
              </a:spcAft>
              <a:defRPr/>
            </a:pPr>
            <a:fld id="{916F7459-FC5A-42D3-A687-25DF543000E5}" type="slidenum">
              <a:rPr lang="en-US">
                <a:solidFill>
                  <a:srgbClr val="46464A">
                    <a:lumMod val="60000"/>
                    <a:lumOff val="40000"/>
                  </a:srgbClr>
                </a:solidFill>
                <a:latin typeface="Century Schoolbook" panose="02040604050505020304"/>
              </a:rPr>
              <a:pPr defTabSz="685800" eaLnBrk="1" fontAlgn="auto" hangingPunct="1">
                <a:spcBef>
                  <a:spcPts val="0"/>
                </a:spcBef>
                <a:spcAft>
                  <a:spcPts val="0"/>
                </a:spcAft>
                <a:defRPr/>
              </a:pPr>
              <a:t>8</a:t>
            </a:fld>
            <a:endParaRPr lang="en-US" dirty="0">
              <a:solidFill>
                <a:srgbClr val="46464A">
                  <a:lumMod val="60000"/>
                  <a:lumOff val="40000"/>
                </a:srgbClr>
              </a:solidFill>
              <a:latin typeface="Century Schoolbook" panose="02040604050505020304"/>
            </a:endParaRPr>
          </a:p>
        </p:txBody>
      </p:sp>
      <p:sp>
        <p:nvSpPr>
          <p:cNvPr id="3" name="Rectangle: Rounded Corners 2">
            <a:extLst>
              <a:ext uri="{FF2B5EF4-FFF2-40B4-BE49-F238E27FC236}">
                <a16:creationId xmlns:a16="http://schemas.microsoft.com/office/drawing/2014/main" id="{501C52F2-9691-5809-2EF6-877F91F062D5}"/>
              </a:ext>
            </a:extLst>
          </p:cNvPr>
          <p:cNvSpPr/>
          <p:nvPr/>
        </p:nvSpPr>
        <p:spPr>
          <a:xfrm>
            <a:off x="4247856" y="5486400"/>
            <a:ext cx="4114800" cy="838200"/>
          </a:xfrm>
          <a:prstGeom prst="roundRect">
            <a:avLst/>
          </a:prstGeom>
          <a:solidFill>
            <a:srgbClr val="FF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trengthen your Resume and </a:t>
            </a:r>
            <a:r>
              <a:rPr lang="en-US" dirty="0" err="1"/>
              <a:t>Linkedin</a:t>
            </a:r>
            <a:r>
              <a:rPr lang="en-US" dirty="0"/>
              <a:t> Page!!</a:t>
            </a:r>
          </a:p>
        </p:txBody>
      </p:sp>
      <p:sp>
        <p:nvSpPr>
          <p:cNvPr id="8" name="TextBox 7">
            <a:extLst>
              <a:ext uri="{FF2B5EF4-FFF2-40B4-BE49-F238E27FC236}">
                <a16:creationId xmlns:a16="http://schemas.microsoft.com/office/drawing/2014/main" id="{C614B368-EFC6-5D31-05FC-485EBE0D0CAA}"/>
              </a:ext>
            </a:extLst>
          </p:cNvPr>
          <p:cNvSpPr txBox="1"/>
          <p:nvPr/>
        </p:nvSpPr>
        <p:spPr>
          <a:xfrm>
            <a:off x="99353" y="6119595"/>
            <a:ext cx="4039831" cy="646331"/>
          </a:xfrm>
          <a:prstGeom prst="rect">
            <a:avLst/>
          </a:prstGeom>
          <a:noFill/>
        </p:spPr>
        <p:txBody>
          <a:bodyPr wrap="square">
            <a:spAutoFit/>
          </a:bodyPr>
          <a:lstStyle/>
          <a:p>
            <a:r>
              <a:rPr lang="en-US" dirty="0">
                <a:solidFill>
                  <a:srgbClr val="C00000"/>
                </a:solidFill>
                <a:hlinkClick r:id="rId3">
                  <a:extLst>
                    <a:ext uri="{A12FA001-AC4F-418D-AE19-62706E023703}">
                      <ahyp:hlinkClr xmlns:ahyp="http://schemas.microsoft.com/office/drawing/2018/hyperlinkcolor" val="tx"/>
                    </a:ext>
                  </a:extLst>
                </a:hlinkClick>
              </a:rPr>
              <a:t>IISE Global Performance Excellence on-demand Webinar Library</a:t>
            </a:r>
            <a:r>
              <a:rPr lang="en-US" dirty="0">
                <a:solidFill>
                  <a:srgbClr val="C00000"/>
                </a:solidFill>
              </a:rPr>
              <a:t> </a:t>
            </a:r>
          </a:p>
        </p:txBody>
      </p:sp>
      <p:sp>
        <p:nvSpPr>
          <p:cNvPr id="7" name="Oval 6">
            <a:extLst>
              <a:ext uri="{FF2B5EF4-FFF2-40B4-BE49-F238E27FC236}">
                <a16:creationId xmlns:a16="http://schemas.microsoft.com/office/drawing/2014/main" id="{5C825391-331A-2684-6F3E-58B753BF98D5}"/>
              </a:ext>
            </a:extLst>
          </p:cNvPr>
          <p:cNvSpPr/>
          <p:nvPr/>
        </p:nvSpPr>
        <p:spPr>
          <a:xfrm>
            <a:off x="2052152" y="4512564"/>
            <a:ext cx="3207911" cy="1101852"/>
          </a:xfrm>
          <a:prstGeom prst="ellipse">
            <a:avLst/>
          </a:prstGeom>
          <a:solidFill>
            <a:srgbClr val="C00000">
              <a:alpha val="0"/>
            </a:srgbClr>
          </a:solidFill>
          <a:effectLst>
            <a:glow rad="228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Icon&#10;&#10;Description automatically generated">
            <a:extLst>
              <a:ext uri="{FF2B5EF4-FFF2-40B4-BE49-F238E27FC236}">
                <a16:creationId xmlns:a16="http://schemas.microsoft.com/office/drawing/2014/main" id="{8089EA75-78F4-E5CA-1E29-2D3DF90519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6828" y="5486400"/>
            <a:ext cx="594944" cy="594944"/>
          </a:xfrm>
          <a:prstGeom prst="rect">
            <a:avLst/>
          </a:prstGeom>
        </p:spPr>
      </p:pic>
    </p:spTree>
    <p:extLst>
      <p:ext uri="{BB962C8B-B14F-4D97-AF65-F5344CB8AC3E}">
        <p14:creationId xmlns:p14="http://schemas.microsoft.com/office/powerpoint/2010/main" val="312692541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8287" y="3"/>
            <a:ext cx="9143999" cy="6857997"/>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396902" y="1447800"/>
            <a:ext cx="2498698" cy="4721805"/>
          </a:xfrm>
          <a:prstGeom prst="rect">
            <a:avLst/>
          </a:prstGeom>
        </p:spPr>
        <p:txBody>
          <a:bodyPr vert="horz" wrap="square" lIns="0" tIns="12700" rIns="0" bIns="0" rtlCol="0">
            <a:spAutoFit/>
          </a:bodyPr>
          <a:lstStyle/>
          <a:p>
            <a:pPr marL="12700">
              <a:lnSpc>
                <a:spcPct val="100000"/>
              </a:lnSpc>
              <a:spcBef>
                <a:spcPts val="100"/>
              </a:spcBef>
            </a:pPr>
            <a:r>
              <a:rPr lang="en-US" sz="1800" dirty="0">
                <a:solidFill>
                  <a:schemeClr val="tx2">
                    <a:lumMod val="75000"/>
                  </a:schemeClr>
                </a:solidFill>
                <a:latin typeface="Arial"/>
                <a:cs typeface="Arial"/>
              </a:rPr>
              <a:t>10 fundamental modules make up the certificate program.</a:t>
            </a:r>
            <a:br>
              <a:rPr lang="en-US" sz="1800" dirty="0">
                <a:solidFill>
                  <a:schemeClr val="tx2">
                    <a:lumMod val="75000"/>
                  </a:schemeClr>
                </a:solidFill>
                <a:latin typeface="Arial"/>
                <a:cs typeface="Arial"/>
              </a:rPr>
            </a:br>
            <a:br>
              <a:rPr lang="en-US" sz="1800" dirty="0">
                <a:solidFill>
                  <a:schemeClr val="tx2">
                    <a:lumMod val="75000"/>
                  </a:schemeClr>
                </a:solidFill>
                <a:latin typeface="Arial"/>
                <a:cs typeface="Arial"/>
              </a:rPr>
            </a:br>
            <a:r>
              <a:rPr lang="en-US" sz="1800" dirty="0">
                <a:solidFill>
                  <a:schemeClr val="tx2">
                    <a:lumMod val="75000"/>
                  </a:schemeClr>
                </a:solidFill>
                <a:latin typeface="Arial"/>
                <a:cs typeface="Arial"/>
              </a:rPr>
              <a:t>On-demand Learning Management System.</a:t>
            </a:r>
            <a:br>
              <a:rPr lang="en-US" sz="1800" dirty="0">
                <a:solidFill>
                  <a:schemeClr val="tx2">
                    <a:lumMod val="75000"/>
                  </a:schemeClr>
                </a:solidFill>
                <a:latin typeface="Arial"/>
                <a:cs typeface="Arial"/>
              </a:rPr>
            </a:br>
            <a:br>
              <a:rPr lang="en-US" sz="1800" dirty="0">
                <a:solidFill>
                  <a:schemeClr val="tx2">
                    <a:lumMod val="75000"/>
                  </a:schemeClr>
                </a:solidFill>
                <a:latin typeface="Arial"/>
                <a:cs typeface="Arial"/>
              </a:rPr>
            </a:br>
            <a:r>
              <a:rPr lang="en-US" sz="1800" dirty="0">
                <a:solidFill>
                  <a:schemeClr val="tx2">
                    <a:lumMod val="75000"/>
                  </a:schemeClr>
                </a:solidFill>
                <a:latin typeface="Arial"/>
                <a:cs typeface="Arial"/>
              </a:rPr>
              <a:t>Chat Coaching and periodic ‘huddle’ coaching included.</a:t>
            </a:r>
            <a:br>
              <a:rPr lang="en-US" sz="1800" dirty="0">
                <a:solidFill>
                  <a:schemeClr val="tx2">
                    <a:lumMod val="75000"/>
                  </a:schemeClr>
                </a:solidFill>
                <a:latin typeface="Arial"/>
                <a:cs typeface="Arial"/>
              </a:rPr>
            </a:br>
            <a:br>
              <a:rPr lang="en-US" sz="1800" dirty="0">
                <a:solidFill>
                  <a:schemeClr val="tx2">
                    <a:lumMod val="75000"/>
                  </a:schemeClr>
                </a:solidFill>
                <a:latin typeface="Arial"/>
                <a:cs typeface="Arial"/>
              </a:rPr>
            </a:br>
            <a:r>
              <a:rPr lang="en-US" sz="1800" dirty="0">
                <a:solidFill>
                  <a:schemeClr val="tx2">
                    <a:lumMod val="75000"/>
                  </a:schemeClr>
                </a:solidFill>
                <a:latin typeface="Arial"/>
                <a:cs typeface="Arial"/>
              </a:rPr>
              <a:t>Approximately 120 hours of studying designed to be completed in 6 months or less.</a:t>
            </a:r>
            <a:br>
              <a:rPr lang="en-US" sz="1800" dirty="0">
                <a:solidFill>
                  <a:schemeClr val="tx2">
                    <a:lumMod val="75000"/>
                  </a:schemeClr>
                </a:solidFill>
                <a:latin typeface="Arial"/>
                <a:cs typeface="Arial"/>
              </a:rPr>
            </a:br>
            <a:endParaRPr sz="1800" dirty="0">
              <a:solidFill>
                <a:schemeClr val="tx2">
                  <a:lumMod val="75000"/>
                </a:schemeClr>
              </a:solidFill>
              <a:latin typeface="Arial"/>
              <a:cs typeface="Arial"/>
            </a:endParaRPr>
          </a:p>
        </p:txBody>
      </p:sp>
      <p:pic>
        <p:nvPicPr>
          <p:cNvPr id="5" name="Picture 4" descr="Graphical user interface, text, application, email&#10;&#10;Description automatically generated">
            <a:extLst>
              <a:ext uri="{FF2B5EF4-FFF2-40B4-BE49-F238E27FC236}">
                <a16:creationId xmlns:a16="http://schemas.microsoft.com/office/drawing/2014/main" id="{1BB08CA2-3D6A-4E61-B177-A136487177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9403" y="152400"/>
            <a:ext cx="5344271" cy="6315956"/>
          </a:xfrm>
          <a:prstGeom prst="rect">
            <a:avLst/>
          </a:prstGeom>
        </p:spPr>
      </p:pic>
    </p:spTree>
    <p:extLst>
      <p:ext uri="{BB962C8B-B14F-4D97-AF65-F5344CB8AC3E}">
        <p14:creationId xmlns:p14="http://schemas.microsoft.com/office/powerpoint/2010/main" val="16700562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60EAF-4B11-0BC2-A93E-3FFC95710549}"/>
              </a:ext>
            </a:extLst>
          </p:cNvPr>
          <p:cNvSpPr>
            <a:spLocks noGrp="1"/>
          </p:cNvSpPr>
          <p:nvPr>
            <p:ph type="title"/>
          </p:nvPr>
        </p:nvSpPr>
        <p:spPr/>
        <p:txBody>
          <a:bodyPr/>
          <a:lstStyle/>
          <a:p>
            <a:r>
              <a:rPr lang="en-US" sz="2400" dirty="0"/>
              <a:t>How do we design, develop, build and execute better ‘B’ Management Systems</a:t>
            </a:r>
          </a:p>
        </p:txBody>
      </p:sp>
      <p:sp>
        <p:nvSpPr>
          <p:cNvPr id="3" name="Content Placeholder 2">
            <a:extLst>
              <a:ext uri="{FF2B5EF4-FFF2-40B4-BE49-F238E27FC236}">
                <a16:creationId xmlns:a16="http://schemas.microsoft.com/office/drawing/2014/main" id="{FB9495F6-DA68-1D0E-B06D-FFB6B84577E4}"/>
              </a:ext>
            </a:extLst>
          </p:cNvPr>
          <p:cNvSpPr>
            <a:spLocks noGrp="1"/>
          </p:cNvSpPr>
          <p:nvPr>
            <p:ph idx="1"/>
          </p:nvPr>
        </p:nvSpPr>
        <p:spPr/>
        <p:txBody>
          <a:bodyPr/>
          <a:lstStyle/>
          <a:p>
            <a:r>
              <a:rPr lang="en-US" dirty="0"/>
              <a:t>The focus of todays OA 301 Webinar is on Synthesis and Integration:</a:t>
            </a:r>
          </a:p>
          <a:p>
            <a:endParaRPr lang="en-US" dirty="0"/>
          </a:p>
          <a:p>
            <a:pPr lvl="1"/>
            <a:r>
              <a:rPr lang="en-US" dirty="0"/>
              <a:t>Why does this matter, what’s the Purpose, Why is this important?</a:t>
            </a:r>
          </a:p>
          <a:p>
            <a:pPr lvl="1"/>
            <a:endParaRPr lang="en-US" dirty="0"/>
          </a:p>
          <a:p>
            <a:pPr lvl="1"/>
            <a:r>
              <a:rPr lang="en-US" dirty="0"/>
              <a:t>How do we go about Engineering better Management Systems that will drive performance and process improvement faster and better?</a:t>
            </a:r>
          </a:p>
          <a:p>
            <a:pPr marL="446087" lvl="1" indent="0">
              <a:buNone/>
            </a:pPr>
            <a:endParaRPr lang="en-US" dirty="0"/>
          </a:p>
          <a:p>
            <a:pPr lvl="1"/>
            <a:r>
              <a:rPr lang="en-US" dirty="0"/>
              <a:t>What are the system components for a ‘Great’ BPI/</a:t>
            </a:r>
            <a:r>
              <a:rPr lang="en-US" dirty="0" err="1"/>
              <a:t>Org’l</a:t>
            </a:r>
            <a:r>
              <a:rPr lang="en-US" dirty="0"/>
              <a:t> Excellence Program/System that need to be ‘built out’ and integrated?</a:t>
            </a:r>
          </a:p>
          <a:p>
            <a:pPr lvl="1"/>
            <a:endParaRPr lang="en-US" dirty="0"/>
          </a:p>
          <a:p>
            <a:pPr lvl="1"/>
            <a:r>
              <a:rPr lang="en-US" dirty="0"/>
              <a:t>How do we make all this doable, less overwhelming?</a:t>
            </a:r>
          </a:p>
          <a:p>
            <a:pPr lvl="1"/>
            <a:endParaRPr lang="en-US" dirty="0"/>
          </a:p>
          <a:p>
            <a:pPr lvl="1"/>
            <a:r>
              <a:rPr lang="en-US" dirty="0"/>
              <a:t>What are the Pragmatic First Steps?</a:t>
            </a:r>
          </a:p>
          <a:p>
            <a:pPr lvl="1"/>
            <a:endParaRPr lang="en-US" dirty="0"/>
          </a:p>
          <a:p>
            <a:pPr lvl="1"/>
            <a:r>
              <a:rPr lang="en-US" dirty="0"/>
              <a:t>On to an ISE view of AI…..</a:t>
            </a:r>
          </a:p>
        </p:txBody>
      </p:sp>
      <p:sp>
        <p:nvSpPr>
          <p:cNvPr id="4" name="Rectangle: Rounded Corners 3">
            <a:extLst>
              <a:ext uri="{FF2B5EF4-FFF2-40B4-BE49-F238E27FC236}">
                <a16:creationId xmlns:a16="http://schemas.microsoft.com/office/drawing/2014/main" id="{F9C14737-400F-AD0C-2BAA-D809C411A7DF}"/>
              </a:ext>
            </a:extLst>
          </p:cNvPr>
          <p:cNvSpPr/>
          <p:nvPr/>
        </p:nvSpPr>
        <p:spPr bwMode="auto">
          <a:xfrm>
            <a:off x="381000" y="1828800"/>
            <a:ext cx="7772400" cy="609600"/>
          </a:xfrm>
          <a:prstGeom prst="roundRect">
            <a:avLst/>
          </a:prstGeom>
          <a:solidFill>
            <a:schemeClr val="accent1">
              <a:alpha val="28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a:ln>
                <a:noFill/>
              </a:ln>
              <a:solidFill>
                <a:schemeClr val="tx1"/>
              </a:solidFill>
              <a:effectLst/>
              <a:latin typeface="Arial" charset="0"/>
              <a:ea typeface="ＭＳ Ｐゴシック" pitchFamily="1" charset="-128"/>
            </a:endParaRPr>
          </a:p>
        </p:txBody>
      </p:sp>
    </p:spTree>
    <p:extLst>
      <p:ext uri="{BB962C8B-B14F-4D97-AF65-F5344CB8AC3E}">
        <p14:creationId xmlns:p14="http://schemas.microsoft.com/office/powerpoint/2010/main" val="1403268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67400" y="1463059"/>
            <a:ext cx="3276600" cy="4772984"/>
          </a:xfrm>
        </p:spPr>
        <p:txBody>
          <a:bodyPr/>
          <a:lstStyle/>
          <a:p>
            <a:pPr>
              <a:defRPr/>
            </a:pPr>
            <a:r>
              <a:rPr lang="en-US" sz="1400" dirty="0">
                <a:latin typeface="Avenir Medium"/>
                <a:cs typeface="Avenir Medium"/>
              </a:rPr>
              <a:t>The ‘End Game’ is to Optimize the Lifetime Value of various stakeholders in the system (customers, internal and external; employees; shareholders; the business)</a:t>
            </a:r>
          </a:p>
          <a:p>
            <a:pPr>
              <a:defRPr/>
            </a:pPr>
            <a:endParaRPr lang="en-US" sz="1400" dirty="0">
              <a:latin typeface="Avenir Medium"/>
              <a:cs typeface="Avenir Medium"/>
            </a:endParaRPr>
          </a:p>
          <a:p>
            <a:pPr>
              <a:defRPr/>
            </a:pPr>
            <a:r>
              <a:rPr lang="en-US" sz="1400" dirty="0">
                <a:latin typeface="Avenir Medium"/>
                <a:cs typeface="Avenir Medium"/>
              </a:rPr>
              <a:t>There is a science and there are explicit methods that can be utilized to do this</a:t>
            </a:r>
          </a:p>
          <a:p>
            <a:pPr>
              <a:defRPr/>
            </a:pPr>
            <a:endParaRPr lang="en-US" sz="1400" dirty="0">
              <a:latin typeface="Avenir Medium"/>
              <a:cs typeface="Avenir Medium"/>
            </a:endParaRPr>
          </a:p>
          <a:p>
            <a:pPr>
              <a:defRPr/>
            </a:pPr>
            <a:r>
              <a:rPr lang="en-US" sz="1400" dirty="0">
                <a:latin typeface="Avenir Medium"/>
                <a:cs typeface="Avenir Medium"/>
              </a:rPr>
              <a:t>Formalized Performance Improvement Programs (e.g. Op Ex) can have huge impact</a:t>
            </a:r>
          </a:p>
          <a:p>
            <a:pPr>
              <a:defRPr/>
            </a:pPr>
            <a:endParaRPr lang="en-US" sz="1400" dirty="0">
              <a:latin typeface="Avenir Medium"/>
              <a:cs typeface="Avenir Medium"/>
            </a:endParaRPr>
          </a:p>
          <a:p>
            <a:pPr>
              <a:defRPr/>
            </a:pPr>
            <a:r>
              <a:rPr lang="en-US" sz="1400" dirty="0">
                <a:latin typeface="Avenir Medium"/>
                <a:cs typeface="Avenir Medium"/>
              </a:rPr>
              <a:t>Blended, broad, balanced views and capabilities on types of improvement methods is required. </a:t>
            </a:r>
          </a:p>
          <a:p>
            <a:pPr marL="0" indent="0">
              <a:buFont typeface="Wingdings" pitchFamily="2" charset="2"/>
              <a:buNone/>
              <a:defRPr/>
            </a:pPr>
            <a:endParaRPr lang="en-US" sz="1600" dirty="0">
              <a:latin typeface="Avenir Medium"/>
              <a:cs typeface="Avenir Medium"/>
            </a:endParaRPr>
          </a:p>
          <a:p>
            <a:pPr marL="0" indent="0">
              <a:buFont typeface="Wingdings" pitchFamily="2" charset="2"/>
              <a:buNone/>
              <a:defRPr/>
            </a:pPr>
            <a:endParaRPr lang="en-US" sz="1600" dirty="0">
              <a:latin typeface="Avenir Medium"/>
              <a:cs typeface="Avenir Medium"/>
            </a:endParaRPr>
          </a:p>
        </p:txBody>
      </p:sp>
      <p:sp>
        <p:nvSpPr>
          <p:cNvPr id="5" name="Slide Number Placeholder 1"/>
          <p:cNvSpPr>
            <a:spLocks noGrp="1"/>
          </p:cNvSpPr>
          <p:nvPr>
            <p:ph type="sldNum" sz="quarter" idx="10"/>
          </p:nvPr>
        </p:nvSpPr>
        <p:spPr>
          <a:xfrm>
            <a:off x="4356016" y="6356176"/>
            <a:ext cx="504737" cy="457200"/>
          </a:xfrm>
        </p:spPr>
        <p:txBody>
          <a:bodyPr/>
          <a:lstStyle/>
          <a:p>
            <a:pPr>
              <a:defRPr/>
            </a:pPr>
            <a:fld id="{E48D7D60-526A-44CE-AB22-345BDD8D121C}" type="slidenum">
              <a:rPr lang="en-US" smtClean="0"/>
              <a:pPr>
                <a:defRPr/>
              </a:pPr>
              <a:t>10</a:t>
            </a:fld>
            <a:endParaRPr lang="en-US"/>
          </a:p>
        </p:txBody>
      </p:sp>
      <p:sp>
        <p:nvSpPr>
          <p:cNvPr id="6" name="Line 2"/>
          <p:cNvSpPr>
            <a:spLocks noChangeAspect="1" noChangeShapeType="1"/>
          </p:cNvSpPr>
          <p:nvPr/>
        </p:nvSpPr>
        <p:spPr bwMode="auto">
          <a:xfrm rot="16200000">
            <a:off x="579578" y="3481561"/>
            <a:ext cx="1857375" cy="4762"/>
          </a:xfrm>
          <a:prstGeom prst="line">
            <a:avLst/>
          </a:prstGeom>
          <a:noFill/>
          <a:ln w="12700">
            <a:solidFill>
              <a:srgbClr val="0809A3"/>
            </a:solidFill>
            <a:round/>
            <a:headEnd type="none" w="sm" len="sm"/>
            <a:tailEnd type="triangle" w="med" len="med"/>
          </a:ln>
        </p:spPr>
        <p:txBody>
          <a:bodyPr wrap="none" anchor="ctr"/>
          <a:lstStyle/>
          <a:p>
            <a:endParaRPr lang="en-US">
              <a:latin typeface="Avenir Medium"/>
              <a:cs typeface="Avenir Medium"/>
            </a:endParaRPr>
          </a:p>
        </p:txBody>
      </p:sp>
      <p:sp>
        <p:nvSpPr>
          <p:cNvPr id="7" name="Text Box 3"/>
          <p:cNvSpPr txBox="1">
            <a:spLocks noChangeAspect="1" noChangeArrowheads="1"/>
          </p:cNvSpPr>
          <p:nvPr/>
        </p:nvSpPr>
        <p:spPr bwMode="auto">
          <a:xfrm>
            <a:off x="1259822" y="3356947"/>
            <a:ext cx="493713" cy="334963"/>
          </a:xfrm>
          <a:prstGeom prst="rect">
            <a:avLst/>
          </a:prstGeom>
          <a:solidFill>
            <a:schemeClr val="bg1"/>
          </a:solidFill>
          <a:ln w="12700">
            <a:noFill/>
            <a:miter lim="800000"/>
            <a:headEnd type="none" w="sm" len="sm"/>
            <a:tailEnd type="none" w="sm" len="sm"/>
          </a:ln>
        </p:spPr>
        <p:txBody>
          <a:bodyPr wrap="none"/>
          <a:lstStyle/>
          <a:p>
            <a:pPr algn="ctr" eaLnBrk="0" hangingPunct="0">
              <a:lnSpc>
                <a:spcPct val="90000"/>
              </a:lnSpc>
              <a:spcBef>
                <a:spcPct val="0"/>
              </a:spcBef>
            </a:pPr>
            <a:r>
              <a:rPr lang="en-US" sz="900" i="1">
                <a:solidFill>
                  <a:srgbClr val="000000"/>
                </a:solidFill>
                <a:latin typeface="Avenir Medium"/>
                <a:ea typeface="MS PGothic" pitchFamily="34" charset="-128"/>
                <a:cs typeface="Avenir Medium"/>
              </a:rPr>
              <a:t>Enhanced</a:t>
            </a:r>
          </a:p>
          <a:p>
            <a:pPr algn="ctr" eaLnBrk="0" hangingPunct="0">
              <a:lnSpc>
                <a:spcPct val="90000"/>
              </a:lnSpc>
              <a:spcBef>
                <a:spcPct val="0"/>
              </a:spcBef>
            </a:pPr>
            <a:r>
              <a:rPr lang="en-US" sz="900" i="1">
                <a:solidFill>
                  <a:srgbClr val="000000"/>
                </a:solidFill>
                <a:latin typeface="Avenir Medium"/>
                <a:ea typeface="MS PGothic" pitchFamily="34" charset="-128"/>
                <a:cs typeface="Avenir Medium"/>
              </a:rPr>
              <a:t>Behavior</a:t>
            </a:r>
          </a:p>
        </p:txBody>
      </p:sp>
      <p:sp>
        <p:nvSpPr>
          <p:cNvPr id="8" name="Line 4"/>
          <p:cNvSpPr>
            <a:spLocks noChangeShapeType="1"/>
          </p:cNvSpPr>
          <p:nvPr/>
        </p:nvSpPr>
        <p:spPr bwMode="auto">
          <a:xfrm>
            <a:off x="1739247" y="4504698"/>
            <a:ext cx="133350" cy="0"/>
          </a:xfrm>
          <a:prstGeom prst="line">
            <a:avLst/>
          </a:pr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9" name="Text Box 5"/>
          <p:cNvSpPr txBox="1">
            <a:spLocks noChangeArrowheads="1"/>
          </p:cNvSpPr>
          <p:nvPr/>
        </p:nvSpPr>
        <p:spPr bwMode="auto">
          <a:xfrm>
            <a:off x="1392196" y="4384060"/>
            <a:ext cx="362920" cy="246221"/>
          </a:xfrm>
          <a:prstGeom prst="rect">
            <a:avLst/>
          </a:prstGeom>
          <a:noFill/>
          <a:ln w="12700">
            <a:noFill/>
            <a:miter lim="800000"/>
            <a:headEnd type="none" w="sm" len="sm"/>
            <a:tailEnd type="none" w="sm" len="sm"/>
          </a:ln>
        </p:spPr>
        <p:txBody>
          <a:bodyPr wrap="none">
            <a:spAutoFit/>
          </a:bodyPr>
          <a:lstStyle/>
          <a:p>
            <a:pPr algn="r" eaLnBrk="0" hangingPunct="0">
              <a:spcBef>
                <a:spcPct val="0"/>
              </a:spcBef>
            </a:pPr>
            <a:r>
              <a:rPr lang="en-US" sz="1000">
                <a:solidFill>
                  <a:srgbClr val="000000"/>
                </a:solidFill>
                <a:latin typeface="Avenir Medium"/>
                <a:ea typeface="MS PGothic" pitchFamily="34" charset="-128"/>
                <a:cs typeface="Avenir Medium"/>
              </a:rPr>
              <a:t>1.0</a:t>
            </a:r>
          </a:p>
        </p:txBody>
      </p:sp>
      <p:sp>
        <p:nvSpPr>
          <p:cNvPr id="10" name="Text Box 6"/>
          <p:cNvSpPr txBox="1">
            <a:spLocks noChangeArrowheads="1"/>
          </p:cNvSpPr>
          <p:nvPr/>
        </p:nvSpPr>
        <p:spPr bwMode="auto">
          <a:xfrm>
            <a:off x="1283635" y="2355235"/>
            <a:ext cx="471487" cy="244475"/>
          </a:xfrm>
          <a:prstGeom prst="rect">
            <a:avLst/>
          </a:prstGeom>
          <a:noFill/>
          <a:ln w="12700">
            <a:noFill/>
            <a:miter lim="800000"/>
            <a:headEnd type="none" w="sm" len="sm"/>
            <a:tailEnd type="none" w="sm" len="sm"/>
          </a:ln>
        </p:spPr>
        <p:txBody>
          <a:bodyPr wrap="none">
            <a:spAutoFit/>
          </a:bodyPr>
          <a:lstStyle/>
          <a:p>
            <a:pPr algn="r" eaLnBrk="0" hangingPunct="0">
              <a:spcBef>
                <a:spcPct val="0"/>
              </a:spcBef>
            </a:pPr>
            <a:r>
              <a:rPr lang="en-US" sz="1000">
                <a:solidFill>
                  <a:srgbClr val="000000"/>
                </a:solidFill>
                <a:latin typeface="Avenir Medium"/>
                <a:ea typeface="MS PGothic" pitchFamily="34" charset="-128"/>
                <a:cs typeface="Avenir Medium"/>
              </a:rPr>
              <a:t>Ideal</a:t>
            </a:r>
          </a:p>
        </p:txBody>
      </p:sp>
      <p:sp>
        <p:nvSpPr>
          <p:cNvPr id="11" name="Line 7"/>
          <p:cNvSpPr>
            <a:spLocks noChangeShapeType="1"/>
          </p:cNvSpPr>
          <p:nvPr/>
        </p:nvSpPr>
        <p:spPr bwMode="auto">
          <a:xfrm>
            <a:off x="1739247" y="2475873"/>
            <a:ext cx="133350" cy="0"/>
          </a:xfrm>
          <a:prstGeom prst="line">
            <a:avLst/>
          </a:pr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12" name="AutoShape 8"/>
          <p:cNvSpPr>
            <a:spLocks noChangeAspect="1" noChangeArrowheads="1"/>
          </p:cNvSpPr>
          <p:nvPr/>
        </p:nvSpPr>
        <p:spPr bwMode="auto">
          <a:xfrm>
            <a:off x="1809091" y="1466235"/>
            <a:ext cx="4052888" cy="4052887"/>
          </a:xfrm>
          <a:prstGeom prst="cube">
            <a:avLst>
              <a:gd name="adj" fmla="val 25000"/>
            </a:avLst>
          </a:prstGeom>
          <a:solidFill>
            <a:schemeClr val="bg1"/>
          </a:solidFill>
          <a:ln w="12700">
            <a:solidFill>
              <a:srgbClr val="0809A3"/>
            </a:solidFill>
            <a:miter lim="800000"/>
            <a:headEnd type="none" w="sm" len="sm"/>
            <a:tailEnd type="none" w="sm" len="sm"/>
          </a:ln>
          <a:effectLst>
            <a:outerShdw blurRad="50800" dist="38100" dir="2700000" algn="tl" rotWithShape="0">
              <a:srgbClr val="000000">
                <a:alpha val="43000"/>
              </a:srgbClr>
            </a:outerShdw>
          </a:effectLst>
        </p:spPr>
        <p:txBody>
          <a:bodyPr wrap="none" anchor="ctr"/>
          <a:lstStyle/>
          <a:p>
            <a:pPr algn="r" eaLnBrk="0" hangingPunct="0">
              <a:spcBef>
                <a:spcPct val="0"/>
              </a:spcBef>
            </a:pPr>
            <a:r>
              <a:rPr lang="en-US" sz="1300" b="0">
                <a:solidFill>
                  <a:srgbClr val="000000"/>
                </a:solidFill>
                <a:latin typeface="Avenir Medium"/>
                <a:ea typeface="MS PGothic" pitchFamily="34" charset="-128"/>
                <a:cs typeface="Avenir Medium"/>
              </a:rPr>
              <a:t> </a:t>
            </a:r>
          </a:p>
        </p:txBody>
      </p:sp>
      <p:sp>
        <p:nvSpPr>
          <p:cNvPr id="13" name="Freeform 9"/>
          <p:cNvSpPr>
            <a:spLocks noChangeAspect="1"/>
          </p:cNvSpPr>
          <p:nvPr/>
        </p:nvSpPr>
        <p:spPr bwMode="auto">
          <a:xfrm>
            <a:off x="2817160" y="1475748"/>
            <a:ext cx="3036887" cy="3021012"/>
          </a:xfrm>
          <a:custGeom>
            <a:avLst/>
            <a:gdLst>
              <a:gd name="T0" fmla="*/ 0 w 1680"/>
              <a:gd name="T1" fmla="*/ 0 h 1680"/>
              <a:gd name="T2" fmla="*/ 0 w 1680"/>
              <a:gd name="T3" fmla="*/ 2147483647 h 1680"/>
              <a:gd name="T4" fmla="*/ 2147483647 w 1680"/>
              <a:gd name="T5" fmla="*/ 2147483647 h 1680"/>
              <a:gd name="T6" fmla="*/ 0 60000 65536"/>
              <a:gd name="T7" fmla="*/ 0 60000 65536"/>
              <a:gd name="T8" fmla="*/ 0 60000 65536"/>
              <a:gd name="T9" fmla="*/ 0 w 1680"/>
              <a:gd name="T10" fmla="*/ 0 h 1680"/>
              <a:gd name="T11" fmla="*/ 1680 w 1680"/>
              <a:gd name="T12" fmla="*/ 1680 h 1680"/>
            </a:gdLst>
            <a:ahLst/>
            <a:cxnLst>
              <a:cxn ang="T6">
                <a:pos x="T0" y="T1"/>
              </a:cxn>
              <a:cxn ang="T7">
                <a:pos x="T2" y="T3"/>
              </a:cxn>
              <a:cxn ang="T8">
                <a:pos x="T4" y="T5"/>
              </a:cxn>
            </a:cxnLst>
            <a:rect l="T9" t="T10" r="T11" b="T12"/>
            <a:pathLst>
              <a:path w="1680" h="1680">
                <a:moveTo>
                  <a:pt x="0" y="0"/>
                </a:moveTo>
                <a:lnTo>
                  <a:pt x="0" y="1680"/>
                </a:lnTo>
                <a:lnTo>
                  <a:pt x="1680" y="1680"/>
                </a:lnTo>
              </a:path>
            </a:pathLst>
          </a:cu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14" name="Line 11"/>
          <p:cNvSpPr>
            <a:spLocks noChangeAspect="1" noChangeShapeType="1"/>
          </p:cNvSpPr>
          <p:nvPr/>
        </p:nvSpPr>
        <p:spPr bwMode="auto">
          <a:xfrm>
            <a:off x="2961616" y="5760410"/>
            <a:ext cx="1673225" cy="0"/>
          </a:xfrm>
          <a:prstGeom prst="line">
            <a:avLst/>
          </a:prstGeom>
          <a:noFill/>
          <a:ln w="12700">
            <a:solidFill>
              <a:schemeClr val="tx1"/>
            </a:solidFill>
            <a:round/>
            <a:headEnd type="none" w="sm" len="sm"/>
            <a:tailEnd type="triangle" w="med" len="med"/>
          </a:ln>
        </p:spPr>
        <p:txBody>
          <a:bodyPr wrap="none" anchor="ctr"/>
          <a:lstStyle/>
          <a:p>
            <a:endParaRPr lang="en-US">
              <a:latin typeface="Avenir Medium"/>
              <a:cs typeface="Avenir Medium"/>
            </a:endParaRPr>
          </a:p>
        </p:txBody>
      </p:sp>
      <p:sp>
        <p:nvSpPr>
          <p:cNvPr id="15" name="Text Box 12"/>
          <p:cNvSpPr txBox="1">
            <a:spLocks noChangeAspect="1" noChangeArrowheads="1"/>
          </p:cNvSpPr>
          <p:nvPr/>
        </p:nvSpPr>
        <p:spPr bwMode="auto">
          <a:xfrm>
            <a:off x="3231491" y="5622309"/>
            <a:ext cx="1039813" cy="366713"/>
          </a:xfrm>
          <a:prstGeom prst="rect">
            <a:avLst/>
          </a:prstGeom>
          <a:solidFill>
            <a:schemeClr val="bg1"/>
          </a:solidFill>
          <a:ln w="12700">
            <a:noFill/>
            <a:miter lim="800000"/>
            <a:headEnd type="none" w="sm" len="sm"/>
            <a:tailEnd type="none" w="sm" len="sm"/>
          </a:ln>
        </p:spPr>
        <p:txBody>
          <a:bodyPr wrap="none"/>
          <a:lstStyle/>
          <a:p>
            <a:pPr algn="ctr" eaLnBrk="0" hangingPunct="0">
              <a:lnSpc>
                <a:spcPct val="90000"/>
              </a:lnSpc>
              <a:spcBef>
                <a:spcPct val="0"/>
              </a:spcBef>
            </a:pPr>
            <a:r>
              <a:rPr lang="en-US" sz="900" i="1" dirty="0">
                <a:solidFill>
                  <a:srgbClr val="000000"/>
                </a:solidFill>
                <a:latin typeface="Avenir Medium"/>
                <a:ea typeface="MS PGothic" pitchFamily="34" charset="-128"/>
                <a:cs typeface="Avenir Medium"/>
              </a:rPr>
              <a:t>Increased Geog. / </a:t>
            </a:r>
            <a:br>
              <a:rPr lang="en-US" sz="900" i="1" dirty="0">
                <a:solidFill>
                  <a:srgbClr val="000000"/>
                </a:solidFill>
                <a:latin typeface="Avenir Medium"/>
                <a:ea typeface="MS PGothic" pitchFamily="34" charset="-128"/>
                <a:cs typeface="Avenir Medium"/>
              </a:rPr>
            </a:br>
            <a:r>
              <a:rPr lang="en-US" sz="900" i="1" dirty="0">
                <a:solidFill>
                  <a:srgbClr val="000000"/>
                </a:solidFill>
                <a:latin typeface="Avenir Medium"/>
                <a:ea typeface="MS PGothic" pitchFamily="34" charset="-128"/>
                <a:cs typeface="Avenir Medium"/>
              </a:rPr>
              <a:t>Segment Scope/</a:t>
            </a:r>
          </a:p>
          <a:p>
            <a:pPr algn="ctr" eaLnBrk="0" hangingPunct="0">
              <a:lnSpc>
                <a:spcPct val="90000"/>
              </a:lnSpc>
              <a:spcBef>
                <a:spcPct val="0"/>
              </a:spcBef>
            </a:pPr>
            <a:endParaRPr lang="en-US" sz="900" i="1" dirty="0">
              <a:solidFill>
                <a:srgbClr val="000000"/>
              </a:solidFill>
              <a:latin typeface="Avenir Medium"/>
              <a:ea typeface="MS PGothic" pitchFamily="34" charset="-128"/>
              <a:cs typeface="Avenir Medium"/>
            </a:endParaRPr>
          </a:p>
        </p:txBody>
      </p:sp>
      <p:sp>
        <p:nvSpPr>
          <p:cNvPr id="16" name="Line 13"/>
          <p:cNvSpPr>
            <a:spLocks noChangeAspect="1" noChangeShapeType="1"/>
          </p:cNvSpPr>
          <p:nvPr/>
        </p:nvSpPr>
        <p:spPr bwMode="auto">
          <a:xfrm rot="18900000">
            <a:off x="1844022" y="1772610"/>
            <a:ext cx="676275" cy="1588"/>
          </a:xfrm>
          <a:prstGeom prst="line">
            <a:avLst/>
          </a:prstGeom>
          <a:noFill/>
          <a:ln w="12700">
            <a:solidFill>
              <a:srgbClr val="0809A3"/>
            </a:solidFill>
            <a:round/>
            <a:headEnd type="none" w="sm" len="sm"/>
            <a:tailEnd type="triangle" w="med" len="med"/>
          </a:ln>
        </p:spPr>
        <p:txBody>
          <a:bodyPr wrap="none" anchor="ctr"/>
          <a:lstStyle/>
          <a:p>
            <a:endParaRPr lang="en-US">
              <a:latin typeface="Avenir Medium"/>
              <a:cs typeface="Avenir Medium"/>
            </a:endParaRPr>
          </a:p>
        </p:txBody>
      </p:sp>
      <p:sp>
        <p:nvSpPr>
          <p:cNvPr id="17" name="Text Box 14"/>
          <p:cNvSpPr txBox="1">
            <a:spLocks noChangeAspect="1" noChangeArrowheads="1"/>
          </p:cNvSpPr>
          <p:nvPr/>
        </p:nvSpPr>
        <p:spPr bwMode="auto">
          <a:xfrm>
            <a:off x="1709079" y="1612273"/>
            <a:ext cx="539750" cy="292100"/>
          </a:xfrm>
          <a:prstGeom prst="rect">
            <a:avLst/>
          </a:prstGeom>
          <a:solidFill>
            <a:schemeClr val="bg1"/>
          </a:solidFill>
          <a:ln w="12700">
            <a:noFill/>
            <a:miter lim="800000"/>
            <a:headEnd type="none" w="sm" len="sm"/>
            <a:tailEnd type="none" w="sm" len="sm"/>
          </a:ln>
        </p:spPr>
        <p:txBody>
          <a:bodyPr wrap="none" lIns="27432" tIns="27432" rIns="27432" bIns="27432" anchor="ctr"/>
          <a:lstStyle/>
          <a:p>
            <a:pPr algn="ctr" eaLnBrk="0" hangingPunct="0">
              <a:lnSpc>
                <a:spcPct val="85000"/>
              </a:lnSpc>
              <a:spcBef>
                <a:spcPct val="0"/>
              </a:spcBef>
            </a:pPr>
            <a:r>
              <a:rPr lang="en-US" sz="900" i="1">
                <a:solidFill>
                  <a:srgbClr val="000000"/>
                </a:solidFill>
                <a:latin typeface="Avenir Medium"/>
                <a:ea typeface="MS PGothic" pitchFamily="34" charset="-128"/>
                <a:cs typeface="Avenir Medium"/>
              </a:rPr>
              <a:t>Greater</a:t>
            </a:r>
          </a:p>
          <a:p>
            <a:pPr algn="ctr" eaLnBrk="0" hangingPunct="0">
              <a:lnSpc>
                <a:spcPct val="85000"/>
              </a:lnSpc>
              <a:spcBef>
                <a:spcPct val="0"/>
              </a:spcBef>
            </a:pPr>
            <a:r>
              <a:rPr lang="en-US" sz="900" i="1">
                <a:solidFill>
                  <a:srgbClr val="000000"/>
                </a:solidFill>
                <a:latin typeface="Avenir Medium"/>
                <a:ea typeface="MS PGothic" pitchFamily="34" charset="-128"/>
                <a:cs typeface="Avenir Medium"/>
              </a:rPr>
              <a:t>Longevity</a:t>
            </a:r>
          </a:p>
        </p:txBody>
      </p:sp>
      <p:sp>
        <p:nvSpPr>
          <p:cNvPr id="18" name="Text Box 15"/>
          <p:cNvSpPr txBox="1">
            <a:spLocks noChangeAspect="1" noChangeArrowheads="1"/>
          </p:cNvSpPr>
          <p:nvPr/>
        </p:nvSpPr>
        <p:spPr bwMode="auto">
          <a:xfrm>
            <a:off x="1952962" y="6093023"/>
            <a:ext cx="3180679" cy="307777"/>
          </a:xfrm>
          <a:prstGeom prst="rect">
            <a:avLst/>
          </a:prstGeom>
          <a:noFill/>
          <a:ln w="12700">
            <a:noFill/>
            <a:miter lim="800000"/>
            <a:headEnd type="none" w="sm" len="sm"/>
            <a:tailEnd type="none" w="sm" len="sm"/>
          </a:ln>
        </p:spPr>
        <p:txBody>
          <a:bodyPr wrap="none">
            <a:spAutoFit/>
          </a:bodyPr>
          <a:lstStyle/>
          <a:p>
            <a:pPr algn="ctr" eaLnBrk="0" hangingPunct="0">
              <a:spcBef>
                <a:spcPct val="0"/>
              </a:spcBef>
            </a:pPr>
            <a:r>
              <a:rPr lang="en-US" sz="1400" u="sng" dirty="0">
                <a:solidFill>
                  <a:srgbClr val="000090"/>
                </a:solidFill>
                <a:latin typeface="Avenir Medium"/>
                <a:ea typeface="MS PGothic" pitchFamily="34" charset="-128"/>
                <a:cs typeface="Avenir Medium"/>
              </a:rPr>
              <a:t>Quantity</a:t>
            </a:r>
            <a:r>
              <a:rPr lang="en-US" sz="1400" dirty="0">
                <a:solidFill>
                  <a:srgbClr val="000090"/>
                </a:solidFill>
                <a:latin typeface="Avenir Medium"/>
                <a:ea typeface="MS PGothic" pitchFamily="34" charset="-128"/>
                <a:cs typeface="Avenir Medium"/>
              </a:rPr>
              <a:t> of Stakeholder Relationships</a:t>
            </a:r>
          </a:p>
        </p:txBody>
      </p:sp>
      <p:sp>
        <p:nvSpPr>
          <p:cNvPr id="19" name="Text Box 16"/>
          <p:cNvSpPr txBox="1">
            <a:spLocks noChangeAspect="1" noChangeArrowheads="1"/>
          </p:cNvSpPr>
          <p:nvPr/>
        </p:nvSpPr>
        <p:spPr bwMode="auto">
          <a:xfrm>
            <a:off x="-26084" y="3174391"/>
            <a:ext cx="1189748" cy="1061829"/>
          </a:xfrm>
          <a:prstGeom prst="rect">
            <a:avLst/>
          </a:prstGeom>
          <a:noFill/>
          <a:ln w="12700">
            <a:noFill/>
            <a:miter lim="800000"/>
            <a:headEnd type="none" w="sm" len="sm"/>
            <a:tailEnd type="none" w="sm" len="sm"/>
          </a:ln>
        </p:spPr>
        <p:txBody>
          <a:bodyPr wrap="none">
            <a:spAutoFit/>
          </a:bodyPr>
          <a:lstStyle/>
          <a:p>
            <a:pPr algn="ctr" eaLnBrk="0" hangingPunct="0">
              <a:lnSpc>
                <a:spcPct val="90000"/>
              </a:lnSpc>
              <a:spcBef>
                <a:spcPct val="0"/>
              </a:spcBef>
            </a:pPr>
            <a:r>
              <a:rPr lang="en-US" sz="1400" dirty="0">
                <a:solidFill>
                  <a:srgbClr val="000090"/>
                </a:solidFill>
                <a:latin typeface="Avenir Medium"/>
                <a:ea typeface="MS PGothic" pitchFamily="34" charset="-128"/>
                <a:cs typeface="Avenir Medium"/>
              </a:rPr>
              <a:t>Average</a:t>
            </a:r>
          </a:p>
          <a:p>
            <a:pPr algn="ctr" eaLnBrk="0" hangingPunct="0">
              <a:lnSpc>
                <a:spcPct val="90000"/>
              </a:lnSpc>
              <a:spcBef>
                <a:spcPct val="0"/>
              </a:spcBef>
            </a:pPr>
            <a:r>
              <a:rPr lang="en-US" sz="1400" dirty="0">
                <a:solidFill>
                  <a:srgbClr val="000090"/>
                </a:solidFill>
                <a:latin typeface="Avenir Medium"/>
                <a:ea typeface="MS PGothic" pitchFamily="34" charset="-128"/>
                <a:cs typeface="Avenir Medium"/>
              </a:rPr>
              <a:t>Stakeholder </a:t>
            </a:r>
          </a:p>
          <a:p>
            <a:pPr algn="ctr" eaLnBrk="0" hangingPunct="0">
              <a:lnSpc>
                <a:spcPct val="90000"/>
              </a:lnSpc>
              <a:spcBef>
                <a:spcPct val="0"/>
              </a:spcBef>
            </a:pPr>
            <a:r>
              <a:rPr lang="en-US" sz="1400" b="0" dirty="0">
                <a:solidFill>
                  <a:srgbClr val="000090"/>
                </a:solidFill>
                <a:latin typeface="Avenir Medium"/>
                <a:ea typeface="MS PGothic" pitchFamily="34" charset="-128"/>
                <a:cs typeface="Avenir Medium"/>
              </a:rPr>
              <a:t>Relationship</a:t>
            </a:r>
          </a:p>
          <a:p>
            <a:pPr algn="ctr" eaLnBrk="0" hangingPunct="0">
              <a:lnSpc>
                <a:spcPct val="90000"/>
              </a:lnSpc>
              <a:spcBef>
                <a:spcPct val="0"/>
              </a:spcBef>
            </a:pPr>
            <a:r>
              <a:rPr lang="en-US" sz="1400" dirty="0">
                <a:solidFill>
                  <a:srgbClr val="000090"/>
                </a:solidFill>
                <a:latin typeface="Avenir Medium"/>
                <a:ea typeface="MS PGothic" pitchFamily="34" charset="-128"/>
                <a:cs typeface="Avenir Medium"/>
              </a:rPr>
              <a:t>Value </a:t>
            </a:r>
          </a:p>
          <a:p>
            <a:pPr algn="ctr" eaLnBrk="0" hangingPunct="0">
              <a:lnSpc>
                <a:spcPct val="90000"/>
              </a:lnSpc>
              <a:spcBef>
                <a:spcPct val="0"/>
              </a:spcBef>
            </a:pPr>
            <a:r>
              <a:rPr lang="en-US" sz="1400" b="0" dirty="0">
                <a:solidFill>
                  <a:srgbClr val="000090"/>
                </a:solidFill>
                <a:latin typeface="Avenir Medium"/>
                <a:ea typeface="MS PGothic" pitchFamily="34" charset="-128"/>
                <a:cs typeface="Avenir Medium"/>
              </a:rPr>
              <a:t>Created</a:t>
            </a:r>
          </a:p>
        </p:txBody>
      </p:sp>
      <p:sp>
        <p:nvSpPr>
          <p:cNvPr id="20" name="Text Box 17"/>
          <p:cNvSpPr txBox="1">
            <a:spLocks noChangeAspect="1" noChangeArrowheads="1"/>
          </p:cNvSpPr>
          <p:nvPr/>
        </p:nvSpPr>
        <p:spPr bwMode="auto">
          <a:xfrm>
            <a:off x="386195" y="1417022"/>
            <a:ext cx="1178745" cy="830227"/>
          </a:xfrm>
          <a:prstGeom prst="rect">
            <a:avLst/>
          </a:prstGeom>
          <a:noFill/>
          <a:ln w="12700">
            <a:noFill/>
            <a:miter lim="800000"/>
            <a:headEnd type="none" w="sm" len="sm"/>
            <a:tailEnd type="none" w="sm" len="sm"/>
          </a:ln>
        </p:spPr>
        <p:txBody>
          <a:bodyPr wrap="none">
            <a:spAutoFit/>
          </a:bodyPr>
          <a:lstStyle/>
          <a:p>
            <a:pPr algn="ctr" eaLnBrk="0" hangingPunct="0">
              <a:lnSpc>
                <a:spcPct val="85000"/>
              </a:lnSpc>
              <a:spcBef>
                <a:spcPct val="0"/>
              </a:spcBef>
            </a:pPr>
            <a:r>
              <a:rPr lang="en-US" sz="1400" dirty="0">
                <a:solidFill>
                  <a:srgbClr val="000090"/>
                </a:solidFill>
                <a:latin typeface="Avenir Medium"/>
                <a:ea typeface="MS PGothic" pitchFamily="34" charset="-128"/>
                <a:cs typeface="Avenir Medium"/>
              </a:rPr>
              <a:t>Average</a:t>
            </a:r>
          </a:p>
          <a:p>
            <a:pPr algn="ctr" eaLnBrk="0" hangingPunct="0">
              <a:lnSpc>
                <a:spcPct val="85000"/>
              </a:lnSpc>
              <a:spcBef>
                <a:spcPct val="0"/>
              </a:spcBef>
            </a:pPr>
            <a:r>
              <a:rPr lang="en-US" sz="1400" dirty="0">
                <a:solidFill>
                  <a:srgbClr val="000090"/>
                </a:solidFill>
                <a:latin typeface="Avenir Medium"/>
                <a:ea typeface="MS PGothic" pitchFamily="34" charset="-128"/>
                <a:cs typeface="Avenir Medium"/>
              </a:rPr>
              <a:t>Stakeholder </a:t>
            </a:r>
          </a:p>
          <a:p>
            <a:pPr algn="ctr" eaLnBrk="0" hangingPunct="0">
              <a:lnSpc>
                <a:spcPct val="85000"/>
              </a:lnSpc>
              <a:spcBef>
                <a:spcPct val="0"/>
              </a:spcBef>
            </a:pPr>
            <a:r>
              <a:rPr lang="en-US" sz="1400" dirty="0">
                <a:solidFill>
                  <a:srgbClr val="000090"/>
                </a:solidFill>
                <a:latin typeface="Avenir Medium"/>
                <a:ea typeface="MS PGothic" pitchFamily="34" charset="-128"/>
                <a:cs typeface="Avenir Medium"/>
              </a:rPr>
              <a:t>Relationship</a:t>
            </a:r>
          </a:p>
          <a:p>
            <a:pPr algn="ctr" eaLnBrk="0" hangingPunct="0">
              <a:lnSpc>
                <a:spcPct val="85000"/>
              </a:lnSpc>
              <a:spcBef>
                <a:spcPct val="0"/>
              </a:spcBef>
            </a:pPr>
            <a:r>
              <a:rPr lang="en-US" sz="1400" u="sng" dirty="0">
                <a:solidFill>
                  <a:srgbClr val="000090"/>
                </a:solidFill>
                <a:latin typeface="Avenir Medium"/>
                <a:ea typeface="MS PGothic" pitchFamily="34" charset="-128"/>
                <a:cs typeface="Avenir Medium"/>
              </a:rPr>
              <a:t>Duration</a:t>
            </a:r>
          </a:p>
        </p:txBody>
      </p:sp>
      <p:sp>
        <p:nvSpPr>
          <p:cNvPr id="21" name="AutoShape 18"/>
          <p:cNvSpPr>
            <a:spLocks noChangeAspect="1" noChangeArrowheads="1"/>
          </p:cNvSpPr>
          <p:nvPr/>
        </p:nvSpPr>
        <p:spPr bwMode="auto">
          <a:xfrm>
            <a:off x="1809097" y="4168148"/>
            <a:ext cx="1349375" cy="1350962"/>
          </a:xfrm>
          <a:prstGeom prst="cube">
            <a:avLst>
              <a:gd name="adj" fmla="val 25000"/>
            </a:avLst>
          </a:prstGeom>
          <a:solidFill>
            <a:srgbClr val="B2C4EC"/>
          </a:solidFill>
          <a:ln w="12700">
            <a:solidFill>
              <a:srgbClr val="0809A3"/>
            </a:solidFill>
            <a:miter lim="800000"/>
            <a:headEnd type="none" w="sm" len="sm"/>
            <a:tailEnd type="none" w="sm" len="sm"/>
          </a:ln>
          <a:effectLst>
            <a:outerShdw blurRad="50800" dist="38100" dir="2700000" algn="tl" rotWithShape="0">
              <a:srgbClr val="000000">
                <a:alpha val="43000"/>
              </a:srgbClr>
            </a:outerShdw>
          </a:effectLst>
        </p:spPr>
        <p:txBody>
          <a:bodyPr wrap="none" anchor="ctr"/>
          <a:lstStyle/>
          <a:p>
            <a:pPr algn="ctr" eaLnBrk="0" hangingPunct="0">
              <a:spcBef>
                <a:spcPct val="0"/>
              </a:spcBef>
            </a:pPr>
            <a:r>
              <a:rPr lang="en-US" sz="1000" b="0">
                <a:solidFill>
                  <a:srgbClr val="000000"/>
                </a:solidFill>
                <a:latin typeface="Avenir Medium"/>
                <a:ea typeface="MS PGothic" pitchFamily="34" charset="-128"/>
                <a:cs typeface="Avenir Medium"/>
              </a:rPr>
              <a:t> </a:t>
            </a:r>
          </a:p>
        </p:txBody>
      </p:sp>
      <p:sp>
        <p:nvSpPr>
          <p:cNvPr id="22" name="Freeform 19"/>
          <p:cNvSpPr>
            <a:spLocks noChangeAspect="1"/>
          </p:cNvSpPr>
          <p:nvPr/>
        </p:nvSpPr>
        <p:spPr bwMode="auto">
          <a:xfrm>
            <a:off x="2158341" y="4182435"/>
            <a:ext cx="665163" cy="996950"/>
          </a:xfrm>
          <a:custGeom>
            <a:avLst/>
            <a:gdLst>
              <a:gd name="T0" fmla="*/ 0 w 1680"/>
              <a:gd name="T1" fmla="*/ 0 h 1680"/>
              <a:gd name="T2" fmla="*/ 0 w 1680"/>
              <a:gd name="T3" fmla="*/ 2147483647 h 1680"/>
              <a:gd name="T4" fmla="*/ 2147483647 w 1680"/>
              <a:gd name="T5" fmla="*/ 2147483647 h 1680"/>
              <a:gd name="T6" fmla="*/ 0 60000 65536"/>
              <a:gd name="T7" fmla="*/ 0 60000 65536"/>
              <a:gd name="T8" fmla="*/ 0 60000 65536"/>
              <a:gd name="T9" fmla="*/ 0 w 1680"/>
              <a:gd name="T10" fmla="*/ 0 h 1680"/>
              <a:gd name="T11" fmla="*/ 1680 w 1680"/>
              <a:gd name="T12" fmla="*/ 1680 h 1680"/>
            </a:gdLst>
            <a:ahLst/>
            <a:cxnLst>
              <a:cxn ang="T6">
                <a:pos x="T0" y="T1"/>
              </a:cxn>
              <a:cxn ang="T7">
                <a:pos x="T2" y="T3"/>
              </a:cxn>
              <a:cxn ang="T8">
                <a:pos x="T4" y="T5"/>
              </a:cxn>
            </a:cxnLst>
            <a:rect l="T9" t="T10" r="T11" b="T12"/>
            <a:pathLst>
              <a:path w="1680" h="1680">
                <a:moveTo>
                  <a:pt x="0" y="0"/>
                </a:moveTo>
                <a:lnTo>
                  <a:pt x="0" y="1680"/>
                </a:lnTo>
                <a:lnTo>
                  <a:pt x="1680" y="1680"/>
                </a:lnTo>
              </a:path>
            </a:pathLst>
          </a:custGeom>
          <a:noFill/>
          <a:ln w="12700">
            <a:solidFill>
              <a:schemeClr val="tx1"/>
            </a:solidFill>
            <a:prstDash val="dash"/>
            <a:round/>
            <a:headEnd type="none" w="sm" len="sm"/>
            <a:tailEnd type="none" w="sm" len="sm"/>
          </a:ln>
        </p:spPr>
        <p:txBody>
          <a:bodyPr wrap="none" anchor="ctr"/>
          <a:lstStyle/>
          <a:p>
            <a:endParaRPr lang="en-US">
              <a:latin typeface="Avenir Medium"/>
              <a:cs typeface="Avenir Medium"/>
            </a:endParaRPr>
          </a:p>
        </p:txBody>
      </p:sp>
      <p:sp>
        <p:nvSpPr>
          <p:cNvPr id="23" name="Text Box 20"/>
          <p:cNvSpPr txBox="1">
            <a:spLocks noChangeAspect="1" noChangeArrowheads="1"/>
          </p:cNvSpPr>
          <p:nvPr/>
        </p:nvSpPr>
        <p:spPr bwMode="auto">
          <a:xfrm>
            <a:off x="2475847" y="4114173"/>
            <a:ext cx="371475" cy="292100"/>
          </a:xfrm>
          <a:prstGeom prst="rect">
            <a:avLst/>
          </a:prstGeom>
          <a:noFill/>
          <a:ln w="12700">
            <a:noFill/>
            <a:miter lim="800000"/>
            <a:headEnd type="none" w="sm" len="sm"/>
            <a:tailEnd type="none" w="sm" len="sm"/>
          </a:ln>
        </p:spPr>
        <p:txBody>
          <a:bodyPr wrap="none">
            <a:spAutoFit/>
          </a:bodyPr>
          <a:lstStyle/>
          <a:p>
            <a:pPr algn="ctr" eaLnBrk="0" hangingPunct="0">
              <a:spcBef>
                <a:spcPct val="0"/>
              </a:spcBef>
            </a:pPr>
            <a:r>
              <a:rPr lang="en-US" sz="1300">
                <a:solidFill>
                  <a:srgbClr val="000000"/>
                </a:solidFill>
                <a:latin typeface="Avenir Medium"/>
                <a:ea typeface="MS PGothic" pitchFamily="34" charset="-128"/>
                <a:cs typeface="Avenir Medium"/>
              </a:rPr>
              <a:t>1x</a:t>
            </a:r>
          </a:p>
        </p:txBody>
      </p:sp>
      <p:sp>
        <p:nvSpPr>
          <p:cNvPr id="24" name="AutoShape 21"/>
          <p:cNvSpPr>
            <a:spLocks noChangeAspect="1" noChangeArrowheads="1"/>
          </p:cNvSpPr>
          <p:nvPr/>
        </p:nvSpPr>
        <p:spPr bwMode="auto">
          <a:xfrm>
            <a:off x="1809097" y="4706310"/>
            <a:ext cx="812800" cy="812800"/>
          </a:xfrm>
          <a:prstGeom prst="cube">
            <a:avLst>
              <a:gd name="adj" fmla="val 25000"/>
            </a:avLst>
          </a:prstGeom>
          <a:solidFill>
            <a:srgbClr val="43569E"/>
          </a:solidFill>
          <a:ln w="12700">
            <a:solidFill>
              <a:schemeClr val="tx1"/>
            </a:solidFill>
            <a:prstDash val="dash"/>
            <a:miter lim="800000"/>
            <a:headEnd type="none" w="sm" len="sm"/>
            <a:tailEnd type="none" w="sm" len="sm"/>
          </a:ln>
          <a:effectLst>
            <a:outerShdw blurRad="50800" dist="38100" dir="2700000" algn="tl" rotWithShape="0">
              <a:srgbClr val="000000">
                <a:alpha val="43000"/>
              </a:srgbClr>
            </a:outerShdw>
          </a:effectLst>
        </p:spPr>
        <p:txBody>
          <a:bodyPr wrap="none" anchor="ctr"/>
          <a:lstStyle/>
          <a:p>
            <a:pPr algn="ctr" eaLnBrk="0" hangingPunct="0">
              <a:spcBef>
                <a:spcPct val="0"/>
              </a:spcBef>
            </a:pPr>
            <a:endParaRPr lang="en-US" sz="1000">
              <a:solidFill>
                <a:srgbClr val="000000"/>
              </a:solidFill>
              <a:latin typeface="Avenir Medium"/>
              <a:ea typeface="MS PGothic" pitchFamily="34" charset="-128"/>
              <a:cs typeface="Avenir Medium"/>
            </a:endParaRPr>
          </a:p>
        </p:txBody>
      </p:sp>
      <p:sp>
        <p:nvSpPr>
          <p:cNvPr id="25" name="Line 22"/>
          <p:cNvSpPr>
            <a:spLocks noChangeAspect="1" noChangeShapeType="1"/>
          </p:cNvSpPr>
          <p:nvPr/>
        </p:nvSpPr>
        <p:spPr bwMode="auto">
          <a:xfrm>
            <a:off x="1809091" y="3871297"/>
            <a:ext cx="0" cy="1660525"/>
          </a:xfrm>
          <a:prstGeom prst="line">
            <a:avLst/>
          </a:pr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26" name="Line 23"/>
          <p:cNvSpPr>
            <a:spLocks noChangeAspect="1" noChangeShapeType="1"/>
          </p:cNvSpPr>
          <p:nvPr/>
        </p:nvSpPr>
        <p:spPr bwMode="auto">
          <a:xfrm rot="5400000">
            <a:off x="2644117" y="4688859"/>
            <a:ext cx="0" cy="1660525"/>
          </a:xfrm>
          <a:prstGeom prst="line">
            <a:avLst/>
          </a:pr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27" name="Line 25"/>
          <p:cNvSpPr>
            <a:spLocks noChangeShapeType="1"/>
          </p:cNvSpPr>
          <p:nvPr/>
        </p:nvSpPr>
        <p:spPr bwMode="auto">
          <a:xfrm flipV="1">
            <a:off x="2159929" y="2128210"/>
            <a:ext cx="0" cy="2025650"/>
          </a:xfrm>
          <a:prstGeom prst="line">
            <a:avLst/>
          </a:prstGeom>
          <a:noFill/>
          <a:ln w="12700">
            <a:solidFill>
              <a:srgbClr val="B2B2B2"/>
            </a:solidFill>
            <a:prstDash val="dash"/>
            <a:round/>
            <a:headEnd type="none" w="sm" len="sm"/>
            <a:tailEnd type="none" w="sm" len="sm"/>
          </a:ln>
        </p:spPr>
        <p:txBody>
          <a:bodyPr wrap="none" anchor="ctr"/>
          <a:lstStyle/>
          <a:p>
            <a:endParaRPr lang="en-US">
              <a:latin typeface="Avenir Medium"/>
              <a:cs typeface="Avenir Medium"/>
            </a:endParaRPr>
          </a:p>
        </p:txBody>
      </p:sp>
      <p:sp>
        <p:nvSpPr>
          <p:cNvPr id="28" name="Line 26"/>
          <p:cNvSpPr>
            <a:spLocks noChangeShapeType="1"/>
          </p:cNvSpPr>
          <p:nvPr/>
        </p:nvSpPr>
        <p:spPr bwMode="auto">
          <a:xfrm>
            <a:off x="2067854" y="2132973"/>
            <a:ext cx="80962" cy="0"/>
          </a:xfrm>
          <a:prstGeom prst="line">
            <a:avLst/>
          </a:pr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29" name="Text Box 27"/>
          <p:cNvSpPr txBox="1">
            <a:spLocks noChangeArrowheads="1"/>
          </p:cNvSpPr>
          <p:nvPr/>
        </p:nvSpPr>
        <p:spPr bwMode="auto">
          <a:xfrm>
            <a:off x="1725571" y="2007562"/>
            <a:ext cx="362920" cy="246221"/>
          </a:xfrm>
          <a:prstGeom prst="rect">
            <a:avLst/>
          </a:prstGeom>
          <a:noFill/>
          <a:ln w="12700">
            <a:noFill/>
            <a:miter lim="800000"/>
            <a:headEnd type="none" w="sm" len="sm"/>
            <a:tailEnd type="none" w="sm" len="sm"/>
          </a:ln>
        </p:spPr>
        <p:txBody>
          <a:bodyPr wrap="none">
            <a:spAutoFit/>
          </a:bodyPr>
          <a:lstStyle/>
          <a:p>
            <a:pPr algn="r" eaLnBrk="0" hangingPunct="0">
              <a:spcBef>
                <a:spcPct val="0"/>
              </a:spcBef>
            </a:pPr>
            <a:r>
              <a:rPr lang="en-US" sz="1000">
                <a:solidFill>
                  <a:srgbClr val="000000"/>
                </a:solidFill>
                <a:latin typeface="Avenir Medium"/>
                <a:ea typeface="MS PGothic" pitchFamily="34" charset="-128"/>
                <a:cs typeface="Avenir Medium"/>
              </a:rPr>
              <a:t>1.0</a:t>
            </a:r>
          </a:p>
        </p:txBody>
      </p:sp>
      <p:sp>
        <p:nvSpPr>
          <p:cNvPr id="30" name="Text Box 28"/>
          <p:cNvSpPr txBox="1">
            <a:spLocks noChangeArrowheads="1"/>
          </p:cNvSpPr>
          <p:nvPr/>
        </p:nvSpPr>
        <p:spPr bwMode="auto">
          <a:xfrm>
            <a:off x="2298041" y="1340822"/>
            <a:ext cx="471488" cy="244475"/>
          </a:xfrm>
          <a:prstGeom prst="rect">
            <a:avLst/>
          </a:prstGeom>
          <a:noFill/>
          <a:ln w="12700">
            <a:noFill/>
            <a:miter lim="800000"/>
            <a:headEnd type="none" w="sm" len="sm"/>
            <a:tailEnd type="none" w="sm" len="sm"/>
          </a:ln>
        </p:spPr>
        <p:txBody>
          <a:bodyPr wrap="none">
            <a:spAutoFit/>
          </a:bodyPr>
          <a:lstStyle/>
          <a:p>
            <a:pPr algn="r" eaLnBrk="0" hangingPunct="0">
              <a:spcBef>
                <a:spcPct val="0"/>
              </a:spcBef>
            </a:pPr>
            <a:r>
              <a:rPr lang="en-US" sz="1000">
                <a:solidFill>
                  <a:srgbClr val="000000"/>
                </a:solidFill>
                <a:latin typeface="Avenir Medium"/>
                <a:ea typeface="MS PGothic" pitchFamily="34" charset="-128"/>
                <a:cs typeface="Avenir Medium"/>
              </a:rPr>
              <a:t>Ideal</a:t>
            </a:r>
          </a:p>
        </p:txBody>
      </p:sp>
      <p:sp>
        <p:nvSpPr>
          <p:cNvPr id="31" name="Line 29"/>
          <p:cNvSpPr>
            <a:spLocks noChangeShapeType="1"/>
          </p:cNvSpPr>
          <p:nvPr/>
        </p:nvSpPr>
        <p:spPr bwMode="auto">
          <a:xfrm>
            <a:off x="2729847" y="1466223"/>
            <a:ext cx="133350" cy="0"/>
          </a:xfrm>
          <a:prstGeom prst="line">
            <a:avLst/>
          </a:pr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32" name="Line 30"/>
          <p:cNvSpPr>
            <a:spLocks noChangeShapeType="1"/>
          </p:cNvSpPr>
          <p:nvPr/>
        </p:nvSpPr>
        <p:spPr bwMode="auto">
          <a:xfrm rot="16200000">
            <a:off x="2755241" y="5525460"/>
            <a:ext cx="133350" cy="0"/>
          </a:xfrm>
          <a:prstGeom prst="line">
            <a:avLst/>
          </a:pr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33" name="Text Box 31"/>
          <p:cNvSpPr txBox="1">
            <a:spLocks noChangeArrowheads="1"/>
          </p:cNvSpPr>
          <p:nvPr/>
        </p:nvSpPr>
        <p:spPr bwMode="auto">
          <a:xfrm>
            <a:off x="2636802" y="5608022"/>
            <a:ext cx="362920" cy="246221"/>
          </a:xfrm>
          <a:prstGeom prst="rect">
            <a:avLst/>
          </a:prstGeom>
          <a:noFill/>
          <a:ln w="12700">
            <a:noFill/>
            <a:miter lim="800000"/>
            <a:headEnd type="none" w="sm" len="sm"/>
            <a:tailEnd type="none" w="sm" len="sm"/>
          </a:ln>
        </p:spPr>
        <p:txBody>
          <a:bodyPr wrap="none">
            <a:spAutoFit/>
          </a:bodyPr>
          <a:lstStyle/>
          <a:p>
            <a:pPr algn="r" eaLnBrk="0" hangingPunct="0">
              <a:spcBef>
                <a:spcPct val="0"/>
              </a:spcBef>
            </a:pPr>
            <a:r>
              <a:rPr lang="en-US" sz="1000">
                <a:solidFill>
                  <a:srgbClr val="000000"/>
                </a:solidFill>
                <a:latin typeface="Avenir Medium"/>
                <a:ea typeface="MS PGothic" pitchFamily="34" charset="-128"/>
                <a:cs typeface="Avenir Medium"/>
              </a:rPr>
              <a:t>1.0</a:t>
            </a:r>
          </a:p>
        </p:txBody>
      </p:sp>
      <p:sp>
        <p:nvSpPr>
          <p:cNvPr id="34" name="Line 32"/>
          <p:cNvSpPr>
            <a:spLocks noChangeShapeType="1"/>
          </p:cNvSpPr>
          <p:nvPr/>
        </p:nvSpPr>
        <p:spPr bwMode="auto">
          <a:xfrm rot="16200000">
            <a:off x="4780891" y="5525460"/>
            <a:ext cx="133350" cy="0"/>
          </a:xfrm>
          <a:prstGeom prst="line">
            <a:avLst/>
          </a:prstGeom>
          <a:noFill/>
          <a:ln w="12700">
            <a:solidFill>
              <a:schemeClr val="tx1"/>
            </a:solidFill>
            <a:round/>
            <a:headEnd type="none" w="sm" len="sm"/>
            <a:tailEnd type="none" w="sm" len="sm"/>
          </a:ln>
        </p:spPr>
        <p:txBody>
          <a:bodyPr wrap="none" anchor="ctr"/>
          <a:lstStyle/>
          <a:p>
            <a:endParaRPr lang="en-US">
              <a:latin typeface="Avenir Medium"/>
              <a:cs typeface="Avenir Medium"/>
            </a:endParaRPr>
          </a:p>
        </p:txBody>
      </p:sp>
      <p:sp>
        <p:nvSpPr>
          <p:cNvPr id="35" name="Text Box 33"/>
          <p:cNvSpPr txBox="1">
            <a:spLocks noChangeArrowheads="1"/>
          </p:cNvSpPr>
          <p:nvPr/>
        </p:nvSpPr>
        <p:spPr bwMode="auto">
          <a:xfrm>
            <a:off x="4612616" y="5608022"/>
            <a:ext cx="471488" cy="244475"/>
          </a:xfrm>
          <a:prstGeom prst="rect">
            <a:avLst/>
          </a:prstGeom>
          <a:noFill/>
          <a:ln w="12700">
            <a:noFill/>
            <a:miter lim="800000"/>
            <a:headEnd type="none" w="sm" len="sm"/>
            <a:tailEnd type="none" w="sm" len="sm"/>
          </a:ln>
        </p:spPr>
        <p:txBody>
          <a:bodyPr wrap="none">
            <a:spAutoFit/>
          </a:bodyPr>
          <a:lstStyle/>
          <a:p>
            <a:pPr algn="ctr" eaLnBrk="0" hangingPunct="0">
              <a:spcBef>
                <a:spcPct val="0"/>
              </a:spcBef>
            </a:pPr>
            <a:r>
              <a:rPr lang="en-US" sz="1000">
                <a:solidFill>
                  <a:srgbClr val="000000"/>
                </a:solidFill>
                <a:latin typeface="Avenir Medium"/>
                <a:ea typeface="MS PGothic" pitchFamily="34" charset="-128"/>
                <a:cs typeface="Avenir Medium"/>
              </a:rPr>
              <a:t>Ideal</a:t>
            </a:r>
          </a:p>
        </p:txBody>
      </p:sp>
      <p:sp>
        <p:nvSpPr>
          <p:cNvPr id="40" name="Text Box 17"/>
          <p:cNvSpPr txBox="1">
            <a:spLocks noChangeAspect="1" noChangeArrowheads="1"/>
          </p:cNvSpPr>
          <p:nvPr/>
        </p:nvSpPr>
        <p:spPr bwMode="auto">
          <a:xfrm>
            <a:off x="335896" y="152400"/>
            <a:ext cx="6598303" cy="1194301"/>
          </a:xfrm>
          <a:prstGeom prst="rect">
            <a:avLst/>
          </a:prstGeom>
          <a:noFill/>
          <a:ln w="12700">
            <a:noFill/>
            <a:miter lim="800000"/>
            <a:headEnd type="none" w="sm" len="sm"/>
            <a:tailEnd type="none" w="sm" len="sm"/>
          </a:ln>
        </p:spPr>
        <p:txBody>
          <a:bodyPr wrap="square">
            <a:spAutoFit/>
          </a:bodyPr>
          <a:lstStyle/>
          <a:p>
            <a:pPr algn="ctr" eaLnBrk="0" hangingPunct="0">
              <a:lnSpc>
                <a:spcPct val="85000"/>
              </a:lnSpc>
              <a:spcBef>
                <a:spcPct val="0"/>
              </a:spcBef>
            </a:pPr>
            <a:r>
              <a:rPr lang="en-US" sz="2800" b="1" dirty="0">
                <a:solidFill>
                  <a:srgbClr val="000090"/>
                </a:solidFill>
                <a:latin typeface="Avenir Medium"/>
                <a:ea typeface="MS PGothic" pitchFamily="34" charset="-128"/>
                <a:cs typeface="Avenir Medium"/>
              </a:rPr>
              <a:t>End Game for our Performance Improvement Efforts—Growing Enterprise Value</a:t>
            </a:r>
          </a:p>
        </p:txBody>
      </p:sp>
      <p:sp>
        <p:nvSpPr>
          <p:cNvPr id="2" name="Rounded Rectangle 1"/>
          <p:cNvSpPr/>
          <p:nvPr/>
        </p:nvSpPr>
        <p:spPr bwMode="auto">
          <a:xfrm>
            <a:off x="4191001" y="1495195"/>
            <a:ext cx="1616348" cy="422265"/>
          </a:xfrm>
          <a:prstGeom prst="round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accent2">
                    <a:lumMod val="50000"/>
                  </a:schemeClr>
                </a:solidFill>
                <a:effectLst/>
                <a:latin typeface="Arial" charset="0"/>
              </a:rPr>
              <a:t>Full Potential</a:t>
            </a:r>
          </a:p>
        </p:txBody>
      </p:sp>
      <p:sp>
        <p:nvSpPr>
          <p:cNvPr id="4" name="Right Arrow 3"/>
          <p:cNvSpPr/>
          <p:nvPr/>
        </p:nvSpPr>
        <p:spPr bwMode="auto">
          <a:xfrm rot="19115562">
            <a:off x="2406019" y="3181986"/>
            <a:ext cx="3327038" cy="484632"/>
          </a:xfrm>
          <a:prstGeom prst="rightArrow">
            <a:avLst/>
          </a:prstGeom>
          <a:solidFill>
            <a:schemeClr val="tx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38" name="Picture 7" descr="full-logo">
            <a:extLst>
              <a:ext uri="{FF2B5EF4-FFF2-40B4-BE49-F238E27FC236}">
                <a16:creationId xmlns:a16="http://schemas.microsoft.com/office/drawing/2014/main" id="{AFC2011B-48E4-437E-BB64-10176F6D72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0" y="6054007"/>
            <a:ext cx="3551374" cy="801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714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MDS_PPt_Template">
  <a:themeElements>
    <a:clrScheme name="MDS_PPt_Template 15">
      <a:dk1>
        <a:srgbClr val="000000"/>
      </a:dk1>
      <a:lt1>
        <a:srgbClr val="FFFFFF"/>
      </a:lt1>
      <a:dk2>
        <a:srgbClr val="000000"/>
      </a:dk2>
      <a:lt2>
        <a:srgbClr val="E9D567"/>
      </a:lt2>
      <a:accent1>
        <a:srgbClr val="019069"/>
      </a:accent1>
      <a:accent2>
        <a:srgbClr val="29539B"/>
      </a:accent2>
      <a:accent3>
        <a:srgbClr val="FFFFFF"/>
      </a:accent3>
      <a:accent4>
        <a:srgbClr val="000000"/>
      </a:accent4>
      <a:accent5>
        <a:srgbClr val="AAC6B9"/>
      </a:accent5>
      <a:accent6>
        <a:srgbClr val="244A8C"/>
      </a:accent6>
      <a:hlink>
        <a:srgbClr val="E47F00"/>
      </a:hlink>
      <a:folHlink>
        <a:srgbClr val="689A0E"/>
      </a:folHlink>
    </a:clrScheme>
    <a:fontScheme name="MDS_PPt_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MDS_PPt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DS_PPt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DS_PPt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DS_PPt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DS_PPt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DS_PPt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DS_PPt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DS_PPt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DS_PPt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DS_PPt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DS_PPt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DS_PPt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DS_PPt_Template 13">
        <a:dk1>
          <a:srgbClr val="000000"/>
        </a:dk1>
        <a:lt1>
          <a:srgbClr val="FFFFFF"/>
        </a:lt1>
        <a:dk2>
          <a:srgbClr val="000000"/>
        </a:dk2>
        <a:lt2>
          <a:srgbClr val="E9D567"/>
        </a:lt2>
        <a:accent1>
          <a:srgbClr val="019069"/>
        </a:accent1>
        <a:accent2>
          <a:srgbClr val="003596"/>
        </a:accent2>
        <a:accent3>
          <a:srgbClr val="FFFFFF"/>
        </a:accent3>
        <a:accent4>
          <a:srgbClr val="000000"/>
        </a:accent4>
        <a:accent5>
          <a:srgbClr val="AAC6B9"/>
        </a:accent5>
        <a:accent6>
          <a:srgbClr val="002F87"/>
        </a:accent6>
        <a:hlink>
          <a:srgbClr val="CC7E50"/>
        </a:hlink>
        <a:folHlink>
          <a:srgbClr val="689A0E"/>
        </a:folHlink>
      </a:clrScheme>
      <a:clrMap bg1="lt1" tx1="dk1" bg2="lt2" tx2="dk2" accent1="accent1" accent2="accent2" accent3="accent3" accent4="accent4" accent5="accent5" accent6="accent6" hlink="hlink" folHlink="folHlink"/>
    </a:extraClrScheme>
    <a:extraClrScheme>
      <a:clrScheme name="MDS_PPt_Template 14">
        <a:dk1>
          <a:srgbClr val="000000"/>
        </a:dk1>
        <a:lt1>
          <a:srgbClr val="FFFFFF"/>
        </a:lt1>
        <a:dk2>
          <a:srgbClr val="000000"/>
        </a:dk2>
        <a:lt2>
          <a:srgbClr val="E9D567"/>
        </a:lt2>
        <a:accent1>
          <a:srgbClr val="019069"/>
        </a:accent1>
        <a:accent2>
          <a:srgbClr val="29539B"/>
        </a:accent2>
        <a:accent3>
          <a:srgbClr val="FFFFFF"/>
        </a:accent3>
        <a:accent4>
          <a:srgbClr val="000000"/>
        </a:accent4>
        <a:accent5>
          <a:srgbClr val="AAC6B9"/>
        </a:accent5>
        <a:accent6>
          <a:srgbClr val="244A8C"/>
        </a:accent6>
        <a:hlink>
          <a:srgbClr val="CC7E50"/>
        </a:hlink>
        <a:folHlink>
          <a:srgbClr val="689A0E"/>
        </a:folHlink>
      </a:clrScheme>
      <a:clrMap bg1="lt1" tx1="dk1" bg2="lt2" tx2="dk2" accent1="accent1" accent2="accent2" accent3="accent3" accent4="accent4" accent5="accent5" accent6="accent6" hlink="hlink" folHlink="folHlink"/>
    </a:extraClrScheme>
    <a:extraClrScheme>
      <a:clrScheme name="MDS_PPt_Template 15">
        <a:dk1>
          <a:srgbClr val="000000"/>
        </a:dk1>
        <a:lt1>
          <a:srgbClr val="FFFFFF"/>
        </a:lt1>
        <a:dk2>
          <a:srgbClr val="000000"/>
        </a:dk2>
        <a:lt2>
          <a:srgbClr val="E9D567"/>
        </a:lt2>
        <a:accent1>
          <a:srgbClr val="019069"/>
        </a:accent1>
        <a:accent2>
          <a:srgbClr val="29539B"/>
        </a:accent2>
        <a:accent3>
          <a:srgbClr val="FFFFFF"/>
        </a:accent3>
        <a:accent4>
          <a:srgbClr val="000000"/>
        </a:accent4>
        <a:accent5>
          <a:srgbClr val="AAC6B9"/>
        </a:accent5>
        <a:accent6>
          <a:srgbClr val="244A8C"/>
        </a:accent6>
        <a:hlink>
          <a:srgbClr val="E47F00"/>
        </a:hlink>
        <a:folHlink>
          <a:srgbClr val="689A0E"/>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Standarddesign">
  <a:themeElements>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fontScheme name="1_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Office Theme">
  <a:themeElements>
    <a:clrScheme name="The Poirier Group">
      <a:dk1>
        <a:sysClr val="windowText" lastClr="000000"/>
      </a:dk1>
      <a:lt1>
        <a:sysClr val="window" lastClr="FFFFFF"/>
      </a:lt1>
      <a:dk2>
        <a:srgbClr val="20212A"/>
      </a:dk2>
      <a:lt2>
        <a:srgbClr val="E7E6E6"/>
      </a:lt2>
      <a:accent1>
        <a:srgbClr val="267BAB"/>
      </a:accent1>
      <a:accent2>
        <a:srgbClr val="FD8300"/>
      </a:accent2>
      <a:accent3>
        <a:srgbClr val="0070C0"/>
      </a:accent3>
      <a:accent4>
        <a:srgbClr val="002060"/>
      </a:accent4>
      <a:accent5>
        <a:srgbClr val="B74919"/>
      </a:accent5>
      <a:accent6>
        <a:srgbClr val="00B0F0"/>
      </a:accent6>
      <a:hlink>
        <a:srgbClr val="0563C1"/>
      </a:hlink>
      <a:folHlink>
        <a:srgbClr val="0E4D3C"/>
      </a:folHlink>
    </a:clrScheme>
    <a:fontScheme name="Custom 2">
      <a:majorFont>
        <a:latin typeface="Open Sans"/>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2.xml><?xml version="1.0" encoding="utf-8"?>
<a:theme xmlns:a="http://schemas.openxmlformats.org/drawingml/2006/main" name="Office Theme">
  <a:themeElements>
    <a:clrScheme name="Custom 1">
      <a:dk1>
        <a:sysClr val="windowText" lastClr="000000"/>
      </a:dk1>
      <a:lt1>
        <a:sysClr val="window" lastClr="FFFFFF"/>
      </a:lt1>
      <a:dk2>
        <a:srgbClr val="144058"/>
      </a:dk2>
      <a:lt2>
        <a:srgbClr val="E7E6E6"/>
      </a:lt2>
      <a:accent1>
        <a:srgbClr val="267BAB"/>
      </a:accent1>
      <a:accent2>
        <a:srgbClr val="ED7D31"/>
      </a:accent2>
      <a:accent3>
        <a:srgbClr val="A5A5A5"/>
      </a:accent3>
      <a:accent4>
        <a:srgbClr val="84C2E4"/>
      </a:accent4>
      <a:accent5>
        <a:srgbClr val="5B9BD5"/>
      </a:accent5>
      <a:accent6>
        <a:srgbClr val="023160"/>
      </a:accent6>
      <a:hlink>
        <a:srgbClr val="0563C1"/>
      </a:hlink>
      <a:folHlink>
        <a:srgbClr val="F7CBAC"/>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UHN Data Analytics Slide Template">
  <a:themeElements>
    <a:clrScheme name="UHN Data Analytics Slide Template">
      <a:dk1>
        <a:srgbClr val="000000"/>
      </a:dk1>
      <a:lt1>
        <a:srgbClr val="FFFFFF"/>
      </a:lt1>
      <a:dk2>
        <a:srgbClr val="A7A7A7"/>
      </a:dk2>
      <a:lt2>
        <a:srgbClr val="535353"/>
      </a:lt2>
      <a:accent1>
        <a:srgbClr val="2A6EBB"/>
      </a:accent1>
      <a:accent2>
        <a:srgbClr val="B7A66D"/>
      </a:accent2>
      <a:accent3>
        <a:srgbClr val="A5A5A5"/>
      </a:accent3>
      <a:accent4>
        <a:srgbClr val="8DC6ED"/>
      </a:accent4>
      <a:accent5>
        <a:srgbClr val="00ADEF"/>
      </a:accent5>
      <a:accent6>
        <a:srgbClr val="FBC02D"/>
      </a:accent6>
      <a:hlink>
        <a:srgbClr val="0000FF"/>
      </a:hlink>
      <a:folHlink>
        <a:srgbClr val="FF00FF"/>
      </a:folHlink>
    </a:clrScheme>
    <a:fontScheme name="UHN Data Analytics Slide Template">
      <a:majorFont>
        <a:latin typeface="Calibri"/>
        <a:ea typeface="Calibri"/>
        <a:cs typeface="Calibri"/>
      </a:majorFont>
      <a:minorFont>
        <a:latin typeface="Helvetica"/>
        <a:ea typeface="Helvetica"/>
        <a:cs typeface="Helvetica"/>
      </a:minorFont>
    </a:fontScheme>
    <a:fmtScheme name="UHN Data Analytics Slide Templa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游ゴシック体 ミディアム"/>
            <a:ea typeface="游ゴシック体 ミディアム"/>
            <a:cs typeface="游ゴシック体 ミディアム"/>
            <a:sym typeface="游ゴシック体 ミディアム"/>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游ゴシック体 ミディアム"/>
            <a:ea typeface="游ゴシック体 ミディアム"/>
            <a:cs typeface="游ゴシック体 ミディアム"/>
            <a:sym typeface="游ゴシック体 ミディアム"/>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6.xml><?xml version="1.0" encoding="utf-8"?>
<a:theme xmlns:a="http://schemas.openxmlformats.org/drawingml/2006/main" name="View">
  <a:themeElements>
    <a:clrScheme name="View">
      <a:dk1>
        <a:srgbClr val="000000"/>
      </a:dk1>
      <a:lt1>
        <a:srgbClr val="FFFFFF"/>
      </a:lt1>
      <a:dk2>
        <a:srgbClr val="46464A"/>
      </a:dk2>
      <a:lt2>
        <a:srgbClr val="D6D3CC"/>
      </a:lt2>
      <a:accent1>
        <a:srgbClr val="6F6F74"/>
      </a:accent1>
      <a:accent2>
        <a:srgbClr val="92A9B9"/>
      </a:accent2>
      <a:accent3>
        <a:srgbClr val="A7B789"/>
      </a:accent3>
      <a:accent4>
        <a:srgbClr val="B9A489"/>
      </a:accent4>
      <a:accent5>
        <a:srgbClr val="8D6374"/>
      </a:accent5>
      <a:accent6>
        <a:srgbClr val="9B7362"/>
      </a:accent6>
      <a:hlink>
        <a:srgbClr val="67AABF"/>
      </a:hlink>
      <a:folHlink>
        <a:srgbClr val="ABAFA5"/>
      </a:folHlink>
    </a:clrScheme>
    <a:fontScheme name="View">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View">
      <a:fillStyleLst>
        <a:solidFill>
          <a:schemeClr val="phClr"/>
        </a:solidFill>
        <a:solidFill>
          <a:schemeClr val="phClr">
            <a:tint val="60000"/>
            <a:satMod val="120000"/>
          </a:schemeClr>
        </a:solidFill>
        <a:solidFill>
          <a:schemeClr val="phClr">
            <a:shade val="75000"/>
            <a:satMod val="160000"/>
          </a:schemeClr>
        </a:solidFill>
      </a:fillStyleLst>
      <a:lnStyleLst>
        <a:ln w="9525" cap="flat" cmpd="sng" algn="ctr">
          <a:solidFill>
            <a:schemeClr val="phClr"/>
          </a:solidFill>
          <a:prstDash val="solid"/>
        </a:ln>
        <a:ln w="13970" cap="flat" cmpd="sng" algn="ctr">
          <a:solidFill>
            <a:schemeClr val="phClr"/>
          </a:solidFill>
          <a:prstDash val="solid"/>
        </a:ln>
        <a:ln w="17145" cap="flat" cmpd="sng" algn="ctr">
          <a:solidFill>
            <a:schemeClr val="phClr">
              <a:shade val="95000"/>
              <a:alpha val="95000"/>
              <a:satMod val="150000"/>
            </a:schemeClr>
          </a:solidFill>
          <a:prstDash val="solid"/>
        </a:ln>
      </a:lnStyleLst>
      <a:effectStyleLst>
        <a:effectStyle>
          <a:effectLst/>
        </a:effectStyle>
        <a:effectStyle>
          <a:effectLst>
            <a:outerShdw blurRad="50800" dist="15240" dir="5400000" algn="tl" rotWithShape="0">
              <a:srgbClr val="000000">
                <a:alpha val="75000"/>
              </a:srgbClr>
            </a:outerShdw>
          </a:effectLst>
          <a:scene3d>
            <a:camera prst="orthographicFront">
              <a:rot lat="0" lon="0" rev="0"/>
            </a:camera>
            <a:lightRig rig="brightRoom" dir="tl"/>
          </a:scene3d>
          <a:sp3d contourW="9525" prstMaterial="flat">
            <a:bevelT w="0" h="0" prst="coolSlant"/>
            <a:contourClr>
              <a:schemeClr val="phClr">
                <a:shade val="35000"/>
                <a:satMod val="130000"/>
              </a:schemeClr>
            </a:contourClr>
          </a:sp3d>
        </a:effectStyle>
        <a:effectStyle>
          <a:effectLst>
            <a:outerShdw blurRad="76200" dist="25400" dir="5400000" algn="tl" rotWithShape="0">
              <a:srgbClr val="000000">
                <a:alpha val="55000"/>
              </a:srgbClr>
            </a:outerShdw>
          </a:effectLst>
          <a:scene3d>
            <a:camera prst="orthographicFront">
              <a:rot lat="0" lon="0" rev="0"/>
            </a:camera>
            <a:lightRig rig="brightRoom" dir="tl"/>
          </a:scene3d>
          <a:sp3d contourW="19050" prstMaterial="flat">
            <a:bevelT w="0" h="0" prst="coolSlant"/>
            <a:contourClr>
              <a:schemeClr val="phClr">
                <a:shade val="25000"/>
                <a:satMod val="140000"/>
              </a:schemeClr>
            </a:contourClr>
          </a:sp3d>
        </a:effectStyle>
      </a:effectStyleLst>
      <a:bgFillStyleLst>
        <a:solidFill>
          <a:schemeClr val="phClr"/>
        </a:solidFill>
        <a:solidFill>
          <a:schemeClr val="phClr">
            <a:tint val="95000"/>
            <a:satMod val="170000"/>
          </a:schemeClr>
        </a:solidFill>
        <a:gradFill rotWithShape="1">
          <a:gsLst>
            <a:gs pos="0">
              <a:schemeClr val="phClr">
                <a:tint val="94000"/>
                <a:shade val="98000"/>
                <a:satMod val="130000"/>
                <a:lumMod val="102000"/>
              </a:schemeClr>
            </a:gs>
            <a:gs pos="100000">
              <a:schemeClr val="phClr">
                <a:tint val="98000"/>
                <a:shade val="78000"/>
                <a:satMod val="140000"/>
              </a:schemeClr>
            </a:gs>
          </a:gsLst>
          <a:path path="circle">
            <a:fillToRect l="100000" t="100000" r="100000" b="100000"/>
          </a:path>
        </a:gradFill>
      </a:bgFillStyleLst>
    </a:fmtScheme>
  </a:themeElements>
  <a:objectDefaults/>
  <a:extraClrSchemeLst/>
  <a:extLst>
    <a:ext uri="{05A4C25C-085E-4340-85A3-A5531E510DB2}">
      <thm15:themeFamily xmlns:thm15="http://schemas.microsoft.com/office/thememl/2012/main" name="View" id="{BA0EB5A6-F2D4-4F82-977B-64ADEE4A2A69}" vid="{3969A8A2-35DB-4E3B-8885-16FD20568674}"/>
    </a:ext>
  </a:extLst>
</a:theme>
</file>

<file path=ppt/theme/theme17.xml><?xml version="1.0" encoding="utf-8"?>
<a:theme xmlns:a="http://schemas.openxmlformats.org/drawingml/2006/main" name="3_osu_white_template">
  <a:themeElements>
    <a:clrScheme name="osu_white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osu_white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pitchFamily="18" charset="0"/>
          </a:defRPr>
        </a:defPPr>
      </a:lstStyle>
    </a:lnDef>
  </a:objectDefaults>
  <a:extraClrSchemeLst>
    <a:extraClrScheme>
      <a:clrScheme name="osu_white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su_white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su_white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su_white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su_white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su_white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su_white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su_white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su_white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su_white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su_white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su_white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20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_Standarddesign">
  <a:themeElements>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fontScheme name="1_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Standarddesign 13">
        <a:dk1>
          <a:srgbClr val="000000"/>
        </a:dk1>
        <a:lt1>
          <a:srgbClr val="FFFFFF"/>
        </a:lt1>
        <a:dk2>
          <a:srgbClr val="000000"/>
        </a:dk2>
        <a:lt2>
          <a:srgbClr val="FFFFFF"/>
        </a:lt2>
        <a:accent1>
          <a:srgbClr val="EAEAEA"/>
        </a:accent1>
        <a:accent2>
          <a:srgbClr val="0066FF"/>
        </a:accent2>
        <a:accent3>
          <a:srgbClr val="FFFFFF"/>
        </a:accent3>
        <a:accent4>
          <a:srgbClr val="000000"/>
        </a:accent4>
        <a:accent5>
          <a:srgbClr val="F3F3F3"/>
        </a:accent5>
        <a:accent6>
          <a:srgbClr val="005CE7"/>
        </a:accent6>
        <a:hlink>
          <a:srgbClr val="000066"/>
        </a:hlink>
        <a:folHlink>
          <a:srgbClr val="0000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ustom 5">
      <a:dk1>
        <a:srgbClr val="000000"/>
      </a:dk1>
      <a:lt1>
        <a:srgbClr val="FFFFFF"/>
      </a:lt1>
      <a:dk2>
        <a:srgbClr val="1A0302"/>
      </a:dk2>
      <a:lt2>
        <a:srgbClr val="E7E6E6"/>
      </a:lt2>
      <a:accent1>
        <a:srgbClr val="00ACBF"/>
      </a:accent1>
      <a:accent2>
        <a:srgbClr val="FFB71B"/>
      </a:accent2>
      <a:accent3>
        <a:srgbClr val="F68E47"/>
      </a:accent3>
      <a:accent4>
        <a:srgbClr val="F16158"/>
      </a:accent4>
      <a:accent5>
        <a:srgbClr val="61CBE8"/>
      </a:accent5>
      <a:accent6>
        <a:srgbClr val="2B338C"/>
      </a:accent6>
      <a:hlink>
        <a:srgbClr val="D19385"/>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EDH_EHH_ELTAC_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ctr" anchorCtr="0">
        <a:noAutofit/>
      </a:bodyPr>
      <a:lstStyle>
        <a:defPPr algn="ctr">
          <a:defRPr sz="2800" dirty="0" smtClean="0">
            <a:solidFill>
              <a:srgbClr val="002060"/>
            </a:solidFill>
          </a:defRPr>
        </a:defPPr>
      </a:lstStyle>
    </a:txDef>
  </a:objectDefaults>
  <a:extraClrSchemeLst/>
  <a:extLst>
    <a:ext uri="{05A4C25C-085E-4340-85A3-A5531E510DB2}">
      <thm15:themeFamily xmlns:thm15="http://schemas.microsoft.com/office/thememl/2012/main" name="Presentation2" id="{BFFB6ACE-1E8B-4D4E-9A29-F1C765165CC7}" vid="{971444FA-620B-49A5-8F1C-4F79C5822A56}"/>
    </a:ext>
  </a:extLst>
</a:theme>
</file>

<file path=ppt/theme/theme22.xml><?xml version="1.0" encoding="utf-8"?>
<a:theme xmlns:a="http://schemas.openxmlformats.org/drawingml/2006/main" name="5_Office Theme">
  <a:themeElements>
    <a:clrScheme name="EHC">
      <a:dk1>
        <a:srgbClr val="363636"/>
      </a:dk1>
      <a:lt1>
        <a:srgbClr val="FFFFFF"/>
      </a:lt1>
      <a:dk2>
        <a:srgbClr val="2B142D"/>
      </a:dk2>
      <a:lt2>
        <a:srgbClr val="EEEEEE"/>
      </a:lt2>
      <a:accent1>
        <a:srgbClr val="002C71"/>
      </a:accent1>
      <a:accent2>
        <a:srgbClr val="A6C2CC"/>
      </a:accent2>
      <a:accent3>
        <a:srgbClr val="6B2E6E"/>
      </a:accent3>
      <a:accent4>
        <a:srgbClr val="F0E07D"/>
      </a:accent4>
      <a:accent5>
        <a:srgbClr val="002855"/>
      </a:accent5>
      <a:accent6>
        <a:srgbClr val="EEEEEE"/>
      </a:accent6>
      <a:hlink>
        <a:srgbClr val="0000FF"/>
      </a:hlink>
      <a:folHlink>
        <a:srgbClr val="9775A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5_osu_white_template">
  <a:themeElements>
    <a:clrScheme name="osu_white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osu_white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pitchFamily="18" charset="0"/>
          </a:defRPr>
        </a:defPPr>
      </a:lstStyle>
    </a:lnDef>
  </a:objectDefaults>
  <a:extraClrSchemeLst>
    <a:extraClrScheme>
      <a:clrScheme name="osu_white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su_white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su_white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su_white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su_white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su_white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su_white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su_white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su_white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su_white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su_white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su_white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Custom 1">
      <a:dk1>
        <a:sysClr val="windowText" lastClr="000000"/>
      </a:dk1>
      <a:lt1>
        <a:sysClr val="window" lastClr="FFFFFF"/>
      </a:lt1>
      <a:dk2>
        <a:srgbClr val="144058"/>
      </a:dk2>
      <a:lt2>
        <a:srgbClr val="E7E6E6"/>
      </a:lt2>
      <a:accent1>
        <a:srgbClr val="267BAB"/>
      </a:accent1>
      <a:accent2>
        <a:srgbClr val="ED7D31"/>
      </a:accent2>
      <a:accent3>
        <a:srgbClr val="A5A5A5"/>
      </a:accent3>
      <a:accent4>
        <a:srgbClr val="84C2E4"/>
      </a:accent4>
      <a:accent5>
        <a:srgbClr val="5B9BD5"/>
      </a:accent5>
      <a:accent6>
        <a:srgbClr val="023160"/>
      </a:accent6>
      <a:hlink>
        <a:srgbClr val="0563C1"/>
      </a:hlink>
      <a:folHlink>
        <a:srgbClr val="F7CBAC"/>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Custom 1">
      <a:dk1>
        <a:sysClr val="windowText" lastClr="000000"/>
      </a:dk1>
      <a:lt1>
        <a:sysClr val="window" lastClr="FFFFFF"/>
      </a:lt1>
      <a:dk2>
        <a:srgbClr val="144058"/>
      </a:dk2>
      <a:lt2>
        <a:srgbClr val="E7E6E6"/>
      </a:lt2>
      <a:accent1>
        <a:srgbClr val="267BAB"/>
      </a:accent1>
      <a:accent2>
        <a:srgbClr val="ED7D31"/>
      </a:accent2>
      <a:accent3>
        <a:srgbClr val="A5A5A5"/>
      </a:accent3>
      <a:accent4>
        <a:srgbClr val="84C2E4"/>
      </a:accent4>
      <a:accent5>
        <a:srgbClr val="5B9BD5"/>
      </a:accent5>
      <a:accent6>
        <a:srgbClr val="023160"/>
      </a:accent6>
      <a:hlink>
        <a:srgbClr val="0563C1"/>
      </a:hlink>
      <a:folHlink>
        <a:srgbClr val="F7CBAC"/>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1FE3F185438748969FAB3087351A2B" ma:contentTypeVersion="20" ma:contentTypeDescription="Create a new document." ma:contentTypeScope="" ma:versionID="bd4a7ad99e597ad21a64d507706b7009">
  <xsd:schema xmlns:xsd="http://www.w3.org/2001/XMLSchema" xmlns:xs="http://www.w3.org/2001/XMLSchema" xmlns:p="http://schemas.microsoft.com/office/2006/metadata/properties" xmlns:ns2="70faa38d-1fab-410c-bd7a-f43f9c437b0f" xmlns:ns3="f76185a4-6fb9-419f-8cbf-5f235545f7bc" targetNamespace="http://schemas.microsoft.com/office/2006/metadata/properties" ma:root="true" ma:fieldsID="b8da7faa0d2c7db14968caa1f4c5d13a" ns2:_="" ns3:_="">
    <xsd:import namespace="70faa38d-1fab-410c-bd7a-f43f9c437b0f"/>
    <xsd:import namespace="f76185a4-6fb9-419f-8cbf-5f235545f7bc"/>
    <xsd:element name="properties">
      <xsd:complexType>
        <xsd:sequence>
          <xsd:element name="documentManagement">
            <xsd:complexType>
              <xsd:all>
                <xsd:element ref="ns2:Tags" minOccurs="0"/>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Industry" minOccurs="0"/>
                <xsd:element ref="ns2:ServiceOffering" minOccurs="0"/>
                <xsd:element ref="ns2:MediaServiceOCR" minOccurs="0"/>
                <xsd:element ref="ns2:MediaServiceLocation" minOccurs="0"/>
                <xsd:element ref="ns2:KOOwner"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faa38d-1fab-410c-bd7a-f43f9c437b0f" elementFormDefault="qualified">
    <xsd:import namespace="http://schemas.microsoft.com/office/2006/documentManagement/types"/>
    <xsd:import namespace="http://schemas.microsoft.com/office/infopath/2007/PartnerControls"/>
    <xsd:element name="Tags" ma:index="1" nillable="true" ma:displayName="Doc type" ma:format="Dropdown" ma:internalName="Tags">
      <xsd:simpleType>
        <xsd:restriction base="dms:Choice">
          <xsd:enumeration value="White Paper"/>
          <xsd:enumeration value="Case Study"/>
          <xsd:enumeration value="Webinar PPT"/>
          <xsd:enumeration value="SOP"/>
          <xsd:enumeration value="Project Document"/>
          <xsd:enumeration value="Example"/>
          <xsd:enumeration value="Template"/>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83e2768-36df-4830-82bf-a273863e873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Industry" ma:index="20" nillable="true" ma:displayName="Industry" ma:format="Dropdown" ma:internalName="Industry">
      <xsd:complexType>
        <xsd:complexContent>
          <xsd:extension base="dms:MultiChoice">
            <xsd:sequence>
              <xsd:element name="Value" maxOccurs="unbounded" minOccurs="0" nillable="true">
                <xsd:simpleType>
                  <xsd:restriction base="dms:Choice">
                    <xsd:enumeration value="Retail"/>
                    <xsd:enumeration value="Grocery"/>
                    <xsd:enumeration value="Aerospace &amp; Defense"/>
                    <xsd:enumeration value="Industrials"/>
                    <xsd:enumeration value="Manufacturing"/>
                    <xsd:enumeration value="Pharmaceuticals"/>
                    <xsd:enumeration value="Transportation"/>
                    <xsd:enumeration value="Private Equity"/>
                    <xsd:enumeration value="Real Estate"/>
                    <xsd:enumeration value="Financial Services"/>
                    <xsd:enumeration value="Govt &amp; Public Sector"/>
                    <xsd:enumeration value="Health &amp; Life Sciences"/>
                    <xsd:enumeration value="IT Services"/>
                    <xsd:enumeration value="Food &amp; Beverage"/>
                    <xsd:enumeration value="Oil &amp; Gas"/>
                    <xsd:enumeration value="SaaS"/>
                    <xsd:enumeration value="Furniture"/>
                    <xsd:enumeration value="Construction"/>
                    <xsd:enumeration value="e-commerce"/>
                  </xsd:restriction>
                </xsd:simpleType>
              </xsd:element>
            </xsd:sequence>
          </xsd:extension>
        </xsd:complexContent>
      </xsd:complexType>
    </xsd:element>
    <xsd:element name="ServiceOffering" ma:index="21" nillable="true" ma:displayName="Service Offering" ma:format="Dropdown" ma:internalName="ServiceOffering">
      <xsd:complexType>
        <xsd:complexContent>
          <xsd:extension base="dms:MultiChoice">
            <xsd:sequence>
              <xsd:element name="Value" maxOccurs="unbounded" minOccurs="0" nillable="true">
                <xsd:simpleType>
                  <xsd:restriction base="dms:Choice">
                    <xsd:enumeration value="Initiation Study"/>
                    <xsd:enumeration value="Business Process Rengineering"/>
                    <xsd:enumeration value="Org Design and R&amp;R"/>
                    <xsd:enumeration value="Change Management"/>
                    <xsd:enumeration value="Supply Chain &amp; Inventory Mgmt"/>
                    <xsd:enumeration value="Warehouse Optimization"/>
                    <xsd:enumeration value="Lead Time Reduction"/>
                    <xsd:enumeration value="Strategy Deployment"/>
                    <xsd:enumeration value="Leadership Training"/>
                    <xsd:enumeration value="Performance Mgmt"/>
                    <xsd:enumeration value="Vendor Mgmt"/>
                    <xsd:enumeration value="IT Assessment"/>
                    <xsd:enumeration value="Operational Due-Diligence"/>
                    <xsd:enumeration value="Culture, Values &amp; Operating Principles"/>
                    <xsd:enumeration value="Manufacturing Optimization"/>
                    <xsd:enumeration value="IT Strategy"/>
                    <xsd:enumeration value="SOP &amp; Process Controls"/>
                    <xsd:enumeration value="Customer Experience"/>
                    <xsd:enumeration value="Process Automation"/>
                  </xsd:restriction>
                </xsd:simpleType>
              </xsd:element>
            </xsd:sequence>
          </xsd:extension>
        </xsd:complexContent>
      </xsd:complexType>
    </xsd:element>
    <xsd:element name="MediaServiceOCR" ma:index="22" nillable="true" ma:displayName="Extracted Text" ma:internalName="MediaServiceOCR" ma:readOnly="true">
      <xsd:simpleType>
        <xsd:restriction base="dms:Note">
          <xsd:maxLength value="255"/>
        </xsd:restriction>
      </xsd:simpleType>
    </xsd:element>
    <xsd:element name="MediaServiceLocation" ma:index="23" nillable="true" ma:displayName="Location" ma:indexed="true" ma:internalName="MediaServiceLocation" ma:readOnly="true">
      <xsd:simpleType>
        <xsd:restriction base="dms:Text"/>
      </xsd:simpleType>
    </xsd:element>
    <xsd:element name="KOOwner" ma:index="24" nillable="true" ma:displayName="KO Owner" ma:description="Here you find the Knowledge Object (KO) Owner for each of these solution offering Knowledge Objects. This Person is " ma:format="Dropdown" ma:list="UserInfo" ma:SharePointGroup="0" ma:internalName="KOOwn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76185a4-6fb9-419f-8cbf-5f235545f7b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63d4afd-7e87-4b81-843c-c07287542a1f}" ma:internalName="TaxCatchAll" ma:readOnly="false" ma:showField="CatchAllData" ma:web="f76185a4-6fb9-419f-8cbf-5f235545f7bc">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f76185a4-6fb9-419f-8cbf-5f235545f7bc" xsi:nil="true"/>
    <KOOwner xmlns="70faa38d-1fab-410c-bd7a-f43f9c437b0f">
      <UserInfo>
        <DisplayName/>
        <AccountId xsi:nil="true"/>
        <AccountType/>
      </UserInfo>
    </KOOwner>
    <lcf76f155ced4ddcb4097134ff3c332f xmlns="70faa38d-1fab-410c-bd7a-f43f9c437b0f">
      <Terms xmlns="http://schemas.microsoft.com/office/infopath/2007/PartnerControls"/>
    </lcf76f155ced4ddcb4097134ff3c332f>
    <Tags xmlns="70faa38d-1fab-410c-bd7a-f43f9c437b0f" xsi:nil="true"/>
    <Industry xmlns="70faa38d-1fab-410c-bd7a-f43f9c437b0f" xsi:nil="true"/>
    <ServiceOffering xmlns="70faa38d-1fab-410c-bd7a-f43f9c437b0f" xsi:nil="true"/>
  </documentManagement>
</p:properties>
</file>

<file path=customXml/itemProps1.xml><?xml version="1.0" encoding="utf-8"?>
<ds:datastoreItem xmlns:ds="http://schemas.openxmlformats.org/officeDocument/2006/customXml" ds:itemID="{6DBC86A6-1EA6-4579-8EC4-AC037D27F622}"/>
</file>

<file path=customXml/itemProps2.xml><?xml version="1.0" encoding="utf-8"?>
<ds:datastoreItem xmlns:ds="http://schemas.openxmlformats.org/officeDocument/2006/customXml" ds:itemID="{0B944460-EBED-413F-B466-B6AE49CA1EE6}"/>
</file>

<file path=customXml/itemProps3.xml><?xml version="1.0" encoding="utf-8"?>
<ds:datastoreItem xmlns:ds="http://schemas.openxmlformats.org/officeDocument/2006/customXml" ds:itemID="{DDF15DBF-C98D-4544-BCA1-34DCD0E4893E}"/>
</file>

<file path=docProps/app.xml><?xml version="1.0" encoding="utf-8"?>
<Properties xmlns="http://schemas.openxmlformats.org/officeDocument/2006/extended-properties" xmlns:vt="http://schemas.openxmlformats.org/officeDocument/2006/docPropsVTypes">
  <Template/>
  <TotalTime>151893</TotalTime>
  <Words>6779</Words>
  <Application>Microsoft Office PowerPoint</Application>
  <PresentationFormat>On-screen Show (4:3)</PresentationFormat>
  <Paragraphs>979</Paragraphs>
  <Slides>70</Slides>
  <Notes>19</Notes>
  <HiddenSlides>0</HiddenSlides>
  <MMClips>0</MMClips>
  <ScaleCrop>false</ScaleCrop>
  <HeadingPairs>
    <vt:vector size="8" baseType="variant">
      <vt:variant>
        <vt:lpstr>Fonts Used</vt:lpstr>
      </vt:variant>
      <vt:variant>
        <vt:i4>30</vt:i4>
      </vt:variant>
      <vt:variant>
        <vt:lpstr>Theme</vt:lpstr>
      </vt:variant>
      <vt:variant>
        <vt:i4>23</vt:i4>
      </vt:variant>
      <vt:variant>
        <vt:lpstr>Embedded OLE Servers</vt:lpstr>
      </vt:variant>
      <vt:variant>
        <vt:i4>1</vt:i4>
      </vt:variant>
      <vt:variant>
        <vt:lpstr>Slide Titles</vt:lpstr>
      </vt:variant>
      <vt:variant>
        <vt:i4>70</vt:i4>
      </vt:variant>
    </vt:vector>
  </HeadingPairs>
  <TitlesOfParts>
    <vt:vector size="124" baseType="lpstr">
      <vt:lpstr>Apercu Pro Light</vt:lpstr>
      <vt:lpstr>Apercu Pro Medium</vt:lpstr>
      <vt:lpstr>Arial</vt:lpstr>
      <vt:lpstr>Arial Black</vt:lpstr>
      <vt:lpstr>Avenir Medium</vt:lpstr>
      <vt:lpstr>Avenir Next Regular</vt:lpstr>
      <vt:lpstr>Baskerville Old Face</vt:lpstr>
      <vt:lpstr>Calibri</vt:lpstr>
      <vt:lpstr>Calibri Light</vt:lpstr>
      <vt:lpstr>Century Gothic</vt:lpstr>
      <vt:lpstr>Century Schoolbook</vt:lpstr>
      <vt:lpstr>Courier New</vt:lpstr>
      <vt:lpstr>Garamond</vt:lpstr>
      <vt:lpstr>Georgia</vt:lpstr>
      <vt:lpstr>Graphik</vt:lpstr>
      <vt:lpstr>Helvetica</vt:lpstr>
      <vt:lpstr>Helvetica Neue</vt:lpstr>
      <vt:lpstr>Helvetica Neue Medium</vt:lpstr>
      <vt:lpstr>Microsoft Sans Serif</vt:lpstr>
      <vt:lpstr>Open Sans</vt:lpstr>
      <vt:lpstr>Palatino Linotype</vt:lpstr>
      <vt:lpstr>Roboto</vt:lpstr>
      <vt:lpstr>Tahoma</vt:lpstr>
      <vt:lpstr>Times</vt:lpstr>
      <vt:lpstr>Times New Roman</vt:lpstr>
      <vt:lpstr>Verdana</vt:lpstr>
      <vt:lpstr>Wingdings</vt:lpstr>
      <vt:lpstr>Wingdings 2</vt:lpstr>
      <vt:lpstr>游ゴシック体 ボールド</vt:lpstr>
      <vt:lpstr>游ゴシック体 ミディアム</vt:lpstr>
      <vt:lpstr>MDS_PPt_Template</vt:lpstr>
      <vt:lpstr>Custom Design</vt:lpstr>
      <vt:lpstr>Office Theme</vt:lpstr>
      <vt:lpstr>Office Theme</vt:lpstr>
      <vt:lpstr>2_Office Theme</vt:lpstr>
      <vt:lpstr>Office Theme</vt:lpstr>
      <vt:lpstr>Office Theme</vt:lpstr>
      <vt:lpstr>2_Office Theme</vt:lpstr>
      <vt:lpstr>Office Theme</vt:lpstr>
      <vt:lpstr>1_Standarddesign</vt:lpstr>
      <vt:lpstr>1_Office Theme</vt:lpstr>
      <vt:lpstr>Office Theme</vt:lpstr>
      <vt:lpstr>Office Theme</vt:lpstr>
      <vt:lpstr>Office Theme</vt:lpstr>
      <vt:lpstr>UHN Data Analytics Slide Template</vt:lpstr>
      <vt:lpstr>View</vt:lpstr>
      <vt:lpstr>3_osu_white_template</vt:lpstr>
      <vt:lpstr>20_Default Design</vt:lpstr>
      <vt:lpstr>1_Standarddesign</vt:lpstr>
      <vt:lpstr>1_Office Theme</vt:lpstr>
      <vt:lpstr>EDH_EHH_ELTAC_Theme</vt:lpstr>
      <vt:lpstr>5_Office Theme</vt:lpstr>
      <vt:lpstr>5_osu_white_template</vt:lpstr>
      <vt:lpstr>think-cell Slide</vt:lpstr>
      <vt:lpstr>PowerPoint Presentation</vt:lpstr>
      <vt:lpstr>Agenda</vt:lpstr>
      <vt:lpstr>Housekeeping</vt:lpstr>
      <vt:lpstr>PowerPoint Presentation</vt:lpstr>
      <vt:lpstr>   </vt:lpstr>
      <vt:lpstr>PowerPoint Presentation</vt:lpstr>
      <vt:lpstr>100+ Timely Webinars on a full spectrum of Performance Excellence topics with an Integrated Systems Engineering Perspective and Point of View.  Available on-demand for IISE members.    Clustered into packages of webinars to provide tailored Certificate opportunities for our Members.    1--Operational Excellence 2--Integrated LeanSigma 3--Operational Analytics 4--Change Leadership &amp;  Management</vt:lpstr>
      <vt:lpstr>How do we design, develop, build and execute better ‘B’ Management Systems</vt:lpstr>
      <vt:lpstr>PowerPoint Presentation</vt:lpstr>
      <vt:lpstr>END GAME:  Grow Enterprise Value</vt:lpstr>
      <vt:lpstr>Building Management Systems to Optimize “B”</vt:lpstr>
      <vt:lpstr>Context – The Purpose of Operational Analytics</vt:lpstr>
      <vt:lpstr>Succeeding at Operational Excellence and Analytics—why it’s a big deal</vt:lpstr>
      <vt:lpstr>PowerPoint Presentation</vt:lpstr>
      <vt:lpstr>How do we design, develop, build and execute better ‘B’ Management Systems</vt:lpstr>
      <vt:lpstr>Design for… approach to Management Systems Engineering</vt:lpstr>
      <vt:lpstr>Design for… approach to Management Systems Engineering</vt:lpstr>
      <vt:lpstr>PowerPoint Presentation</vt:lpstr>
      <vt:lpstr>Organizational Systems, Extended Enterprises down to the smallest process is this happening..</vt:lpstr>
      <vt:lpstr>How to Build Better ‘Dials’ on your ‘Dashboards’ and ‘Scorecards </vt:lpstr>
      <vt:lpstr>Rounding the Corner on the Model is a Critical to Success Skillset for the Analyst</vt:lpstr>
      <vt:lpstr>Objective:  build out the capability to do the top half of the Op Analytics Process DO-TRAIN/COACH Approach)</vt:lpstr>
      <vt:lpstr>Getting to Visualizations that create insights (aha moments) that provoke timely decisions and actions and improvements is the key</vt:lpstr>
      <vt:lpstr>How do we design, develop, build and execute better ‘B’ Management Systems</vt:lpstr>
      <vt:lpstr>What are the components of the ‘Management System’ (‘B’)</vt:lpstr>
      <vt:lpstr>BPI Contributions to MDS Pursuit of Full Potential Performance</vt:lpstr>
      <vt:lpstr>Simpler Version of Essential Components (top 5)</vt:lpstr>
      <vt:lpstr>Leadership Alignment &amp; Support Infrastructure was a Critical Early Factor</vt:lpstr>
      <vt:lpstr>We’ve done several webinars on Strategic Performance Improvement Planning</vt:lpstr>
      <vt:lpstr>Simpler Version of Essential Components</vt:lpstr>
      <vt:lpstr>IISE Best Practice Case Studies in Analytics:</vt:lpstr>
      <vt:lpstr>PowerPoint Presentation</vt:lpstr>
      <vt:lpstr>PowerPoint Presentation</vt:lpstr>
      <vt:lpstr>Simpler Version of Essential Components</vt:lpstr>
      <vt:lpstr>NEED….</vt:lpstr>
      <vt:lpstr> Lean Operational Stability A tiered huddle approach to engage staff, solve problems and always be prepared for patient care, even through disruption  Victoria Jordan, PhD, MS, MBA Vice President – Quality and Patient Safety </vt:lpstr>
      <vt:lpstr>Why does EHC need a lean operating system?</vt:lpstr>
      <vt:lpstr>Mindset: Lean Operating System Value Proposition</vt:lpstr>
      <vt:lpstr>Lean Operating System</vt:lpstr>
      <vt:lpstr>EmPower: Defining the Journey Level 1 - Foundation</vt:lpstr>
      <vt:lpstr>PowerPoint Presentation</vt:lpstr>
      <vt:lpstr>Simpler Version of Essential Components</vt:lpstr>
      <vt:lpstr>How can you do this really fast?  </vt:lpstr>
      <vt:lpstr>Context – The Purpose of Operational Analytics</vt:lpstr>
      <vt:lpstr>Steps in the “Build” of better PDSA systems</vt:lpstr>
      <vt:lpstr>Moving from Big Data to Operational Analytics</vt:lpstr>
      <vt:lpstr>Strategy to migrate Current System to what you want</vt:lpstr>
      <vt:lpstr>Objective 1:  build out the capability to do the top half of the Op Analytics Process DO-TRAIN/COACH Approach)</vt:lpstr>
      <vt:lpstr>How to Build Better ‘Dials’ on your ‘Dashboards’ and ‘Scorecards </vt:lpstr>
      <vt:lpstr>Getting to Visualizations that create insights (aha moments) that provoke timely decisions and actions and improvements is the key</vt:lpstr>
      <vt:lpstr>Example of data integration—hard work but rewards are worth it</vt:lpstr>
      <vt:lpstr>More detailed look </vt:lpstr>
      <vt:lpstr>How do we design, develop, build and execute better ‘B’ Management Systems</vt:lpstr>
      <vt:lpstr>Pragmatic first steps, baby steps…</vt:lpstr>
      <vt:lpstr>I was recruited to lead the Operational Excellence ‘Plank’ in the MDS Enterprise Transformation in 2004 (reported to President of Enterprise Services)</vt:lpstr>
      <vt:lpstr>PowerPoint Presentation</vt:lpstr>
      <vt:lpstr>PowerPoint Presentation</vt:lpstr>
      <vt:lpstr>PowerPoint Presentation</vt:lpstr>
      <vt:lpstr>PowerPoint Presentation</vt:lpstr>
      <vt:lpstr>OMIX-H Components</vt:lpstr>
      <vt:lpstr>OMIX-H Interactions</vt:lpstr>
      <vt:lpstr>PowerPoint Presentation</vt:lpstr>
      <vt:lpstr>PowerPoint Presentation</vt:lpstr>
      <vt:lpstr>PowerPoint Presentation</vt:lpstr>
      <vt:lpstr>How do we design, develop, build and execute better ‘B’ Management Systems</vt:lpstr>
      <vt:lpstr>PowerPoint Presentation</vt:lpstr>
      <vt:lpstr>The Purpose of our upcoming AI Miniseries</vt:lpstr>
      <vt:lpstr>Op Analytics Development Options</vt:lpstr>
      <vt:lpstr>Op Analytics represents huge opportunity for ISE’s</vt:lpstr>
      <vt:lpstr>10 fundamental modules make up the certificate program.  On-demand Learning Management System.  Chat Coaching and periodic ‘huddle’ coaching included.  Approximately 120 hours of studying designed to be completed in 6 months or less. </vt:lpstr>
    </vt:vector>
  </TitlesOfParts>
  <Company>M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Name, Arial Regular 38 pt.</dc:title>
  <dc:creator>jmaciel</dc:creator>
  <cp:lastModifiedBy>Scott Sink</cp:lastModifiedBy>
  <cp:revision>991</cp:revision>
  <cp:lastPrinted>2018-05-15T12:24:10Z</cp:lastPrinted>
  <dcterms:created xsi:type="dcterms:W3CDTF">2006-07-11T14:49:13Z</dcterms:created>
  <dcterms:modified xsi:type="dcterms:W3CDTF">2023-07-18T14:3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1FE3F185438748969FAB3087351A2B</vt:lpwstr>
  </property>
</Properties>
</file>